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tags/tag22.xml" ContentType="application/vnd.openxmlformats-officedocument.presentationml.tags+xml"/>
  <Override PartName="/ppt/notesSlides/notesSlide3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4.xml" ContentType="application/vnd.openxmlformats-officedocument.presentationml.notesSlide+xml"/>
  <Override PartName="/ppt/tags/tag38.xml" ContentType="application/vnd.openxmlformats-officedocument.presentationml.tags+xml"/>
  <Override PartName="/ppt/notesSlides/notesSlide5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6.xml" ContentType="application/vnd.openxmlformats-officedocument.presentationml.notesSlide+xml"/>
  <Override PartName="/ppt/tags/tag54.xml" ContentType="application/vnd.openxmlformats-officedocument.presentationml.tags+xml"/>
  <Override PartName="/ppt/notesSlides/notesSlide7.xml" ContentType="application/vnd.openxmlformats-officedocument.presentationml.notesSl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notesSlides/notesSlide8.xml" ContentType="application/vnd.openxmlformats-officedocument.presentationml.notesSlide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notesSlides/notesSlide9.xml" ContentType="application/vnd.openxmlformats-officedocument.presentationml.notesSlide+xml"/>
  <Override PartName="/ppt/tags/tag218.xml" ContentType="application/vnd.openxmlformats-officedocument.presentationml.tags+xml"/>
  <Override PartName="/ppt/notesSlides/notesSlide10.xml" ContentType="application/vnd.openxmlformats-officedocument.presentationml.notesSlide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notesSlides/notesSlide11.xml" ContentType="application/vnd.openxmlformats-officedocument.presentationml.notesSlide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notesSlides/notesSlide12.xml" ContentType="application/vnd.openxmlformats-officedocument.presentationml.notesSlide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notesSlides/notesSlide13.xml" ContentType="application/vnd.openxmlformats-officedocument.presentationml.notesSlide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notesSlides/notesSlide14.xml" ContentType="application/vnd.openxmlformats-officedocument.presentationml.notesSlide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notesSlides/notesSlide15.xml" ContentType="application/vnd.openxmlformats-officedocument.presentationml.notesSlide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tags/tag1069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tags/tag1130.xml" ContentType="application/vnd.openxmlformats-officedocument.presentationml.tags+xml"/>
  <Override PartName="/ppt/notesSlides/notesSlide16.xml" ContentType="application/vnd.openxmlformats-officedocument.presentationml.notesSlide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tags/tag1142.xml" ContentType="application/vnd.openxmlformats-officedocument.presentationml.tags+xml"/>
  <Override PartName="/ppt/tags/tag1143.xml" ContentType="application/vnd.openxmlformats-officedocument.presentationml.tags+xml"/>
  <Override PartName="/ppt/tags/tag1144.xml" ContentType="application/vnd.openxmlformats-officedocument.presentationml.tags+xml"/>
  <Override PartName="/ppt/tags/tag1145.xml" ContentType="application/vnd.openxmlformats-officedocument.presentationml.tags+xml"/>
  <Override PartName="/ppt/tags/tag1146.xml" ContentType="application/vnd.openxmlformats-officedocument.presentationml.tags+xml"/>
  <Override PartName="/ppt/tags/tag1147.xml" ContentType="application/vnd.openxmlformats-officedocument.presentationml.tags+xml"/>
  <Override PartName="/ppt/tags/tag1148.xml" ContentType="application/vnd.openxmlformats-officedocument.presentationml.tags+xml"/>
  <Override PartName="/ppt/tags/tag1149.xml" ContentType="application/vnd.openxmlformats-officedocument.presentationml.tags+xml"/>
  <Override PartName="/ppt/tags/tag1150.xml" ContentType="application/vnd.openxmlformats-officedocument.presentationml.tags+xml"/>
  <Override PartName="/ppt/tags/tag1151.xml" ContentType="application/vnd.openxmlformats-officedocument.presentationml.tags+xml"/>
  <Override PartName="/ppt/tags/tag1152.xml" ContentType="application/vnd.openxmlformats-officedocument.presentationml.tags+xml"/>
  <Override PartName="/ppt/tags/tag1153.xml" ContentType="application/vnd.openxmlformats-officedocument.presentationml.tags+xml"/>
  <Override PartName="/ppt/tags/tag1154.xml" ContentType="application/vnd.openxmlformats-officedocument.presentationml.tags+xml"/>
  <Override PartName="/ppt/tags/tag1155.xml" ContentType="application/vnd.openxmlformats-officedocument.presentationml.tags+xml"/>
  <Override PartName="/ppt/tags/tag1156.xml" ContentType="application/vnd.openxmlformats-officedocument.presentationml.tags+xml"/>
  <Override PartName="/ppt/tags/tag1157.xml" ContentType="application/vnd.openxmlformats-officedocument.presentationml.tags+xml"/>
  <Override PartName="/ppt/tags/tag1158.xml" ContentType="application/vnd.openxmlformats-officedocument.presentationml.tags+xml"/>
  <Override PartName="/ppt/tags/tag1159.xml" ContentType="application/vnd.openxmlformats-officedocument.presentationml.tags+xml"/>
  <Override PartName="/ppt/tags/tag1160.xml" ContentType="application/vnd.openxmlformats-officedocument.presentationml.tags+xml"/>
  <Override PartName="/ppt/tags/tag1161.xml" ContentType="application/vnd.openxmlformats-officedocument.presentationml.tags+xml"/>
  <Override PartName="/ppt/tags/tag1162.xml" ContentType="application/vnd.openxmlformats-officedocument.presentationml.tags+xml"/>
  <Override PartName="/ppt/tags/tag1163.xml" ContentType="application/vnd.openxmlformats-officedocument.presentationml.tags+xml"/>
  <Override PartName="/ppt/tags/tag1164.xml" ContentType="application/vnd.openxmlformats-officedocument.presentationml.tags+xml"/>
  <Override PartName="/ppt/tags/tag1165.xml" ContentType="application/vnd.openxmlformats-officedocument.presentationml.tags+xml"/>
  <Override PartName="/ppt/tags/tag1166.xml" ContentType="application/vnd.openxmlformats-officedocument.presentationml.tags+xml"/>
  <Override PartName="/ppt/tags/tag1167.xml" ContentType="application/vnd.openxmlformats-officedocument.presentationml.tags+xml"/>
  <Override PartName="/ppt/tags/tag1168.xml" ContentType="application/vnd.openxmlformats-officedocument.presentationml.tags+xml"/>
  <Override PartName="/ppt/tags/tag1169.xml" ContentType="application/vnd.openxmlformats-officedocument.presentationml.tags+xml"/>
  <Override PartName="/ppt/tags/tag1170.xml" ContentType="application/vnd.openxmlformats-officedocument.presentationml.tags+xml"/>
  <Override PartName="/ppt/tags/tag1171.xml" ContentType="application/vnd.openxmlformats-officedocument.presentationml.tags+xml"/>
  <Override PartName="/ppt/tags/tag1172.xml" ContentType="application/vnd.openxmlformats-officedocument.presentationml.tags+xml"/>
  <Override PartName="/ppt/tags/tag1173.xml" ContentType="application/vnd.openxmlformats-officedocument.presentationml.tags+xml"/>
  <Override PartName="/ppt/tags/tag1174.xml" ContentType="application/vnd.openxmlformats-officedocument.presentationml.tags+xml"/>
  <Override PartName="/ppt/tags/tag1175.xml" ContentType="application/vnd.openxmlformats-officedocument.presentationml.tags+xml"/>
  <Override PartName="/ppt/tags/tag1176.xml" ContentType="application/vnd.openxmlformats-officedocument.presentationml.tags+xml"/>
  <Override PartName="/ppt/tags/tag1177.xml" ContentType="application/vnd.openxmlformats-officedocument.presentationml.tags+xml"/>
  <Override PartName="/ppt/tags/tag1178.xml" ContentType="application/vnd.openxmlformats-officedocument.presentationml.tags+xml"/>
  <Override PartName="/ppt/tags/tag1179.xml" ContentType="application/vnd.openxmlformats-officedocument.presentationml.tags+xml"/>
  <Override PartName="/ppt/tags/tag1180.xml" ContentType="application/vnd.openxmlformats-officedocument.presentationml.tags+xml"/>
  <Override PartName="/ppt/tags/tag1181.xml" ContentType="application/vnd.openxmlformats-officedocument.presentationml.tags+xml"/>
  <Override PartName="/ppt/tags/tag1182.xml" ContentType="application/vnd.openxmlformats-officedocument.presentationml.tags+xml"/>
  <Override PartName="/ppt/tags/tag1183.xml" ContentType="application/vnd.openxmlformats-officedocument.presentationml.tags+xml"/>
  <Override PartName="/ppt/tags/tag1184.xml" ContentType="application/vnd.openxmlformats-officedocument.presentationml.tags+xml"/>
  <Override PartName="/ppt/tags/tag1185.xml" ContentType="application/vnd.openxmlformats-officedocument.presentationml.tags+xml"/>
  <Override PartName="/ppt/tags/tag1186.xml" ContentType="application/vnd.openxmlformats-officedocument.presentationml.tags+xml"/>
  <Override PartName="/ppt/tags/tag1187.xml" ContentType="application/vnd.openxmlformats-officedocument.presentationml.tags+xml"/>
  <Override PartName="/ppt/tags/tag1188.xml" ContentType="application/vnd.openxmlformats-officedocument.presentationml.tags+xml"/>
  <Override PartName="/ppt/tags/tag1189.xml" ContentType="application/vnd.openxmlformats-officedocument.presentationml.tags+xml"/>
  <Override PartName="/ppt/tags/tag1190.xml" ContentType="application/vnd.openxmlformats-officedocument.presentationml.tags+xml"/>
  <Override PartName="/ppt/tags/tag1191.xml" ContentType="application/vnd.openxmlformats-officedocument.presentationml.tags+xml"/>
  <Override PartName="/ppt/tags/tag1192.xml" ContentType="application/vnd.openxmlformats-officedocument.presentationml.tags+xml"/>
  <Override PartName="/ppt/tags/tag1193.xml" ContentType="application/vnd.openxmlformats-officedocument.presentationml.tags+xml"/>
  <Override PartName="/ppt/tags/tag1194.xml" ContentType="application/vnd.openxmlformats-officedocument.presentationml.tags+xml"/>
  <Override PartName="/ppt/tags/tag1195.xml" ContentType="application/vnd.openxmlformats-officedocument.presentationml.tags+xml"/>
  <Override PartName="/ppt/tags/tag1196.xml" ContentType="application/vnd.openxmlformats-officedocument.presentationml.tags+xml"/>
  <Override PartName="/ppt/tags/tag1197.xml" ContentType="application/vnd.openxmlformats-officedocument.presentationml.tags+xml"/>
  <Override PartName="/ppt/tags/tag1198.xml" ContentType="application/vnd.openxmlformats-officedocument.presentationml.tags+xml"/>
  <Override PartName="/ppt/tags/tag1199.xml" ContentType="application/vnd.openxmlformats-officedocument.presentationml.tags+xml"/>
  <Override PartName="/ppt/tags/tag1200.xml" ContentType="application/vnd.openxmlformats-officedocument.presentationml.tags+xml"/>
  <Override PartName="/ppt/tags/tag1201.xml" ContentType="application/vnd.openxmlformats-officedocument.presentationml.tags+xml"/>
  <Override PartName="/ppt/tags/tag1202.xml" ContentType="application/vnd.openxmlformats-officedocument.presentationml.tags+xml"/>
  <Override PartName="/ppt/tags/tag1203.xml" ContentType="application/vnd.openxmlformats-officedocument.presentationml.tags+xml"/>
  <Override PartName="/ppt/tags/tag1204.xml" ContentType="application/vnd.openxmlformats-officedocument.presentationml.tags+xml"/>
  <Override PartName="/ppt/tags/tag1205.xml" ContentType="application/vnd.openxmlformats-officedocument.presentationml.tags+xml"/>
  <Override PartName="/ppt/tags/tag1206.xml" ContentType="application/vnd.openxmlformats-officedocument.presentationml.tags+xml"/>
  <Override PartName="/ppt/tags/tag1207.xml" ContentType="application/vnd.openxmlformats-officedocument.presentationml.tags+xml"/>
  <Override PartName="/ppt/tags/tag1208.xml" ContentType="application/vnd.openxmlformats-officedocument.presentationml.tags+xml"/>
  <Override PartName="/ppt/tags/tag1209.xml" ContentType="application/vnd.openxmlformats-officedocument.presentationml.tags+xml"/>
  <Override PartName="/ppt/tags/tag1210.xml" ContentType="application/vnd.openxmlformats-officedocument.presentationml.tags+xml"/>
  <Override PartName="/ppt/tags/tag1211.xml" ContentType="application/vnd.openxmlformats-officedocument.presentationml.tags+xml"/>
  <Override PartName="/ppt/tags/tag1212.xml" ContentType="application/vnd.openxmlformats-officedocument.presentationml.tags+xml"/>
  <Override PartName="/ppt/tags/tag1213.xml" ContentType="application/vnd.openxmlformats-officedocument.presentationml.tags+xml"/>
  <Override PartName="/ppt/tags/tag1214.xml" ContentType="application/vnd.openxmlformats-officedocument.presentationml.tags+xml"/>
  <Override PartName="/ppt/tags/tag1215.xml" ContentType="application/vnd.openxmlformats-officedocument.presentationml.tags+xml"/>
  <Override PartName="/ppt/tags/tag1216.xml" ContentType="application/vnd.openxmlformats-officedocument.presentationml.tags+xml"/>
  <Override PartName="/ppt/tags/tag1217.xml" ContentType="application/vnd.openxmlformats-officedocument.presentationml.tags+xml"/>
  <Override PartName="/ppt/tags/tag1218.xml" ContentType="application/vnd.openxmlformats-officedocument.presentationml.tags+xml"/>
  <Override PartName="/ppt/tags/tag1219.xml" ContentType="application/vnd.openxmlformats-officedocument.presentationml.tags+xml"/>
  <Override PartName="/ppt/tags/tag1220.xml" ContentType="application/vnd.openxmlformats-officedocument.presentationml.tags+xml"/>
  <Override PartName="/ppt/tags/tag1221.xml" ContentType="application/vnd.openxmlformats-officedocument.presentationml.tags+xml"/>
  <Override PartName="/ppt/tags/tag1222.xml" ContentType="application/vnd.openxmlformats-officedocument.presentationml.tags+xml"/>
  <Override PartName="/ppt/tags/tag1223.xml" ContentType="application/vnd.openxmlformats-officedocument.presentationml.tags+xml"/>
  <Override PartName="/ppt/tags/tag1224.xml" ContentType="application/vnd.openxmlformats-officedocument.presentationml.tags+xml"/>
  <Override PartName="/ppt/tags/tag1225.xml" ContentType="application/vnd.openxmlformats-officedocument.presentationml.tags+xml"/>
  <Override PartName="/ppt/tags/tag1226.xml" ContentType="application/vnd.openxmlformats-officedocument.presentationml.tags+xml"/>
  <Override PartName="/ppt/tags/tag1227.xml" ContentType="application/vnd.openxmlformats-officedocument.presentationml.tags+xml"/>
  <Override PartName="/ppt/tags/tag1228.xml" ContentType="application/vnd.openxmlformats-officedocument.presentationml.tags+xml"/>
  <Override PartName="/ppt/tags/tag1229.xml" ContentType="application/vnd.openxmlformats-officedocument.presentationml.tags+xml"/>
  <Override PartName="/ppt/tags/tag1230.xml" ContentType="application/vnd.openxmlformats-officedocument.presentationml.tags+xml"/>
  <Override PartName="/ppt/tags/tag1231.xml" ContentType="application/vnd.openxmlformats-officedocument.presentationml.tags+xml"/>
  <Override PartName="/ppt/tags/tag1232.xml" ContentType="application/vnd.openxmlformats-officedocument.presentationml.tags+xml"/>
  <Override PartName="/ppt/tags/tag1233.xml" ContentType="application/vnd.openxmlformats-officedocument.presentationml.tags+xml"/>
  <Override PartName="/ppt/tags/tag1234.xml" ContentType="application/vnd.openxmlformats-officedocument.presentationml.tags+xml"/>
  <Override PartName="/ppt/tags/tag1235.xml" ContentType="application/vnd.openxmlformats-officedocument.presentationml.tags+xml"/>
  <Override PartName="/ppt/tags/tag1236.xml" ContentType="application/vnd.openxmlformats-officedocument.presentationml.tags+xml"/>
  <Override PartName="/ppt/tags/tag1237.xml" ContentType="application/vnd.openxmlformats-officedocument.presentationml.tags+xml"/>
  <Override PartName="/ppt/tags/tag1238.xml" ContentType="application/vnd.openxmlformats-officedocument.presentationml.tags+xml"/>
  <Override PartName="/ppt/tags/tag1239.xml" ContentType="application/vnd.openxmlformats-officedocument.presentationml.tags+xml"/>
  <Override PartName="/ppt/tags/tag1240.xml" ContentType="application/vnd.openxmlformats-officedocument.presentationml.tags+xml"/>
  <Override PartName="/ppt/tags/tag1241.xml" ContentType="application/vnd.openxmlformats-officedocument.presentationml.tags+xml"/>
  <Override PartName="/ppt/tags/tag1242.xml" ContentType="application/vnd.openxmlformats-officedocument.presentationml.tags+xml"/>
  <Override PartName="/ppt/tags/tag1243.xml" ContentType="application/vnd.openxmlformats-officedocument.presentationml.tags+xml"/>
  <Override PartName="/ppt/tags/tag1244.xml" ContentType="application/vnd.openxmlformats-officedocument.presentationml.tags+xml"/>
  <Override PartName="/ppt/tags/tag1245.xml" ContentType="application/vnd.openxmlformats-officedocument.presentationml.tags+xml"/>
  <Override PartName="/ppt/tags/tag1246.xml" ContentType="application/vnd.openxmlformats-officedocument.presentationml.tags+xml"/>
  <Override PartName="/ppt/tags/tag1247.xml" ContentType="application/vnd.openxmlformats-officedocument.presentationml.tags+xml"/>
  <Override PartName="/ppt/tags/tag1248.xml" ContentType="application/vnd.openxmlformats-officedocument.presentationml.tags+xml"/>
  <Override PartName="/ppt/tags/tag1249.xml" ContentType="application/vnd.openxmlformats-officedocument.presentationml.tags+xml"/>
  <Override PartName="/ppt/tags/tag1250.xml" ContentType="application/vnd.openxmlformats-officedocument.presentationml.tags+xml"/>
  <Override PartName="/ppt/tags/tag1251.xml" ContentType="application/vnd.openxmlformats-officedocument.presentationml.tags+xml"/>
  <Override PartName="/ppt/tags/tag1252.xml" ContentType="application/vnd.openxmlformats-officedocument.presentationml.tags+xml"/>
  <Override PartName="/ppt/tags/tag1253.xml" ContentType="application/vnd.openxmlformats-officedocument.presentationml.tags+xml"/>
  <Override PartName="/ppt/tags/tag1254.xml" ContentType="application/vnd.openxmlformats-officedocument.presentationml.tags+xml"/>
  <Override PartName="/ppt/tags/tag1255.xml" ContentType="application/vnd.openxmlformats-officedocument.presentationml.tags+xml"/>
  <Override PartName="/ppt/tags/tag1256.xml" ContentType="application/vnd.openxmlformats-officedocument.presentationml.tags+xml"/>
  <Override PartName="/ppt/tags/tag1257.xml" ContentType="application/vnd.openxmlformats-officedocument.presentationml.tags+xml"/>
  <Override PartName="/ppt/tags/tag1258.xml" ContentType="application/vnd.openxmlformats-officedocument.presentationml.tags+xml"/>
  <Override PartName="/ppt/tags/tag1259.xml" ContentType="application/vnd.openxmlformats-officedocument.presentationml.tags+xml"/>
  <Override PartName="/ppt/tags/tag1260.xml" ContentType="application/vnd.openxmlformats-officedocument.presentationml.tags+xml"/>
  <Override PartName="/ppt/tags/tag1261.xml" ContentType="application/vnd.openxmlformats-officedocument.presentationml.tags+xml"/>
  <Override PartName="/ppt/tags/tag1262.xml" ContentType="application/vnd.openxmlformats-officedocument.presentationml.tags+xml"/>
  <Override PartName="/ppt/tags/tag1263.xml" ContentType="application/vnd.openxmlformats-officedocument.presentationml.tags+xml"/>
  <Override PartName="/ppt/tags/tag1264.xml" ContentType="application/vnd.openxmlformats-officedocument.presentationml.tags+xml"/>
  <Override PartName="/ppt/tags/tag1265.xml" ContentType="application/vnd.openxmlformats-officedocument.presentationml.tags+xml"/>
  <Override PartName="/ppt/tags/tag1266.xml" ContentType="application/vnd.openxmlformats-officedocument.presentationml.tags+xml"/>
  <Override PartName="/ppt/tags/tag1267.xml" ContentType="application/vnd.openxmlformats-officedocument.presentationml.tags+xml"/>
  <Override PartName="/ppt/tags/tag1268.xml" ContentType="application/vnd.openxmlformats-officedocument.presentationml.tags+xml"/>
  <Override PartName="/ppt/tags/tag1269.xml" ContentType="application/vnd.openxmlformats-officedocument.presentationml.tags+xml"/>
  <Override PartName="/ppt/tags/tag1270.xml" ContentType="application/vnd.openxmlformats-officedocument.presentationml.tags+xml"/>
  <Override PartName="/ppt/tags/tag1271.xml" ContentType="application/vnd.openxmlformats-officedocument.presentationml.tags+xml"/>
  <Override PartName="/ppt/tags/tag1272.xml" ContentType="application/vnd.openxmlformats-officedocument.presentationml.tags+xml"/>
  <Override PartName="/ppt/tags/tag1273.xml" ContentType="application/vnd.openxmlformats-officedocument.presentationml.tags+xml"/>
  <Override PartName="/ppt/tags/tag1274.xml" ContentType="application/vnd.openxmlformats-officedocument.presentationml.tags+xml"/>
  <Override PartName="/ppt/tags/tag1275.xml" ContentType="application/vnd.openxmlformats-officedocument.presentationml.tags+xml"/>
  <Override PartName="/ppt/tags/tag1276.xml" ContentType="application/vnd.openxmlformats-officedocument.presentationml.tags+xml"/>
  <Override PartName="/ppt/tags/tag1277.xml" ContentType="application/vnd.openxmlformats-officedocument.presentationml.tags+xml"/>
  <Override PartName="/ppt/tags/tag1278.xml" ContentType="application/vnd.openxmlformats-officedocument.presentationml.tags+xml"/>
  <Override PartName="/ppt/tags/tag1279.xml" ContentType="application/vnd.openxmlformats-officedocument.presentationml.tags+xml"/>
  <Override PartName="/ppt/tags/tag1280.xml" ContentType="application/vnd.openxmlformats-officedocument.presentationml.tags+xml"/>
  <Override PartName="/ppt/tags/tag1281.xml" ContentType="application/vnd.openxmlformats-officedocument.presentationml.tags+xml"/>
  <Override PartName="/ppt/tags/tag1282.xml" ContentType="application/vnd.openxmlformats-officedocument.presentationml.tags+xml"/>
  <Override PartName="/ppt/tags/tag1283.xml" ContentType="application/vnd.openxmlformats-officedocument.presentationml.tags+xml"/>
  <Override PartName="/ppt/tags/tag1284.xml" ContentType="application/vnd.openxmlformats-officedocument.presentationml.tags+xml"/>
  <Override PartName="/ppt/tags/tag1285.xml" ContentType="application/vnd.openxmlformats-officedocument.presentationml.tags+xml"/>
  <Override PartName="/ppt/tags/tag1286.xml" ContentType="application/vnd.openxmlformats-officedocument.presentationml.tags+xml"/>
  <Override PartName="/ppt/tags/tag1287.xml" ContentType="application/vnd.openxmlformats-officedocument.presentationml.tags+xml"/>
  <Override PartName="/ppt/tags/tag1288.xml" ContentType="application/vnd.openxmlformats-officedocument.presentationml.tags+xml"/>
  <Override PartName="/ppt/tags/tag1289.xml" ContentType="application/vnd.openxmlformats-officedocument.presentationml.tags+xml"/>
  <Override PartName="/ppt/tags/tag1290.xml" ContentType="application/vnd.openxmlformats-officedocument.presentationml.tags+xml"/>
  <Override PartName="/ppt/tags/tag1291.xml" ContentType="application/vnd.openxmlformats-officedocument.presentationml.tags+xml"/>
  <Override PartName="/ppt/tags/tag1292.xml" ContentType="application/vnd.openxmlformats-officedocument.presentationml.tags+xml"/>
  <Override PartName="/ppt/tags/tag1293.xml" ContentType="application/vnd.openxmlformats-officedocument.presentationml.tags+xml"/>
  <Override PartName="/ppt/tags/tag1294.xml" ContentType="application/vnd.openxmlformats-officedocument.presentationml.tags+xml"/>
  <Override PartName="/ppt/tags/tag1295.xml" ContentType="application/vnd.openxmlformats-officedocument.presentationml.tags+xml"/>
  <Override PartName="/ppt/tags/tag1296.xml" ContentType="application/vnd.openxmlformats-officedocument.presentationml.tags+xml"/>
  <Override PartName="/ppt/tags/tag1297.xml" ContentType="application/vnd.openxmlformats-officedocument.presentationml.tags+xml"/>
  <Override PartName="/ppt/tags/tag1298.xml" ContentType="application/vnd.openxmlformats-officedocument.presentationml.tags+xml"/>
  <Override PartName="/ppt/tags/tag1299.xml" ContentType="application/vnd.openxmlformats-officedocument.presentationml.tags+xml"/>
  <Override PartName="/ppt/tags/tag1300.xml" ContentType="application/vnd.openxmlformats-officedocument.presentationml.tags+xml"/>
  <Override PartName="/ppt/tags/tag1301.xml" ContentType="application/vnd.openxmlformats-officedocument.presentationml.tags+xml"/>
  <Override PartName="/ppt/tags/tag1302.xml" ContentType="application/vnd.openxmlformats-officedocument.presentationml.tags+xml"/>
  <Override PartName="/ppt/tags/tag1303.xml" ContentType="application/vnd.openxmlformats-officedocument.presentationml.tags+xml"/>
  <Override PartName="/ppt/tags/tag1304.xml" ContentType="application/vnd.openxmlformats-officedocument.presentationml.tags+xml"/>
  <Override PartName="/ppt/tags/tag1305.xml" ContentType="application/vnd.openxmlformats-officedocument.presentationml.tags+xml"/>
  <Override PartName="/ppt/tags/tag1306.xml" ContentType="application/vnd.openxmlformats-officedocument.presentationml.tags+xml"/>
  <Override PartName="/ppt/tags/tag1307.xml" ContentType="application/vnd.openxmlformats-officedocument.presentationml.tags+xml"/>
  <Override PartName="/ppt/tags/tag1308.xml" ContentType="application/vnd.openxmlformats-officedocument.presentationml.tags+xml"/>
  <Override PartName="/ppt/tags/tag1309.xml" ContentType="application/vnd.openxmlformats-officedocument.presentationml.tags+xml"/>
  <Override PartName="/ppt/notesSlides/notesSlide17.xml" ContentType="application/vnd.openxmlformats-officedocument.presentationml.notesSlide+xml"/>
  <Override PartName="/ppt/tags/tag1310.xml" ContentType="application/vnd.openxmlformats-officedocument.presentationml.tags+xml"/>
  <Override PartName="/ppt/tags/tag1311.xml" ContentType="application/vnd.openxmlformats-officedocument.presentationml.tags+xml"/>
  <Override PartName="/ppt/tags/tag1312.xml" ContentType="application/vnd.openxmlformats-officedocument.presentationml.tags+xml"/>
  <Override PartName="/ppt/tags/tag1313.xml" ContentType="application/vnd.openxmlformats-officedocument.presentationml.tags+xml"/>
  <Override PartName="/ppt/tags/tag1314.xml" ContentType="application/vnd.openxmlformats-officedocument.presentationml.tags+xml"/>
  <Override PartName="/ppt/tags/tag1315.xml" ContentType="application/vnd.openxmlformats-officedocument.presentationml.tags+xml"/>
  <Override PartName="/ppt/tags/tag1316.xml" ContentType="application/vnd.openxmlformats-officedocument.presentationml.tags+xml"/>
  <Override PartName="/ppt/tags/tag1317.xml" ContentType="application/vnd.openxmlformats-officedocument.presentationml.tags+xml"/>
  <Override PartName="/ppt/tags/tag1318.xml" ContentType="application/vnd.openxmlformats-officedocument.presentationml.tags+xml"/>
  <Override PartName="/ppt/tags/tag1319.xml" ContentType="application/vnd.openxmlformats-officedocument.presentationml.tags+xml"/>
  <Override PartName="/ppt/tags/tag1320.xml" ContentType="application/vnd.openxmlformats-officedocument.presentationml.tags+xml"/>
  <Override PartName="/ppt/tags/tag1321.xml" ContentType="application/vnd.openxmlformats-officedocument.presentationml.tags+xml"/>
  <Override PartName="/ppt/tags/tag1322.xml" ContentType="application/vnd.openxmlformats-officedocument.presentationml.tags+xml"/>
  <Override PartName="/ppt/tags/tag1323.xml" ContentType="application/vnd.openxmlformats-officedocument.presentationml.tags+xml"/>
  <Override PartName="/ppt/tags/tag1324.xml" ContentType="application/vnd.openxmlformats-officedocument.presentationml.tags+xml"/>
  <Override PartName="/ppt/tags/tag1325.xml" ContentType="application/vnd.openxmlformats-officedocument.presentationml.tags+xml"/>
  <Override PartName="/ppt/tags/tag1326.xml" ContentType="application/vnd.openxmlformats-officedocument.presentationml.tags+xml"/>
  <Override PartName="/ppt/tags/tag1327.xml" ContentType="application/vnd.openxmlformats-officedocument.presentationml.tags+xml"/>
  <Override PartName="/ppt/tags/tag1328.xml" ContentType="application/vnd.openxmlformats-officedocument.presentationml.tags+xml"/>
  <Override PartName="/ppt/tags/tag1329.xml" ContentType="application/vnd.openxmlformats-officedocument.presentationml.tags+xml"/>
  <Override PartName="/ppt/tags/tag1330.xml" ContentType="application/vnd.openxmlformats-officedocument.presentationml.tags+xml"/>
  <Override PartName="/ppt/tags/tag1331.xml" ContentType="application/vnd.openxmlformats-officedocument.presentationml.tags+xml"/>
  <Override PartName="/ppt/tags/tag1332.xml" ContentType="application/vnd.openxmlformats-officedocument.presentationml.tags+xml"/>
  <Override PartName="/ppt/tags/tag1333.xml" ContentType="application/vnd.openxmlformats-officedocument.presentationml.tags+xml"/>
  <Override PartName="/ppt/tags/tag1334.xml" ContentType="application/vnd.openxmlformats-officedocument.presentationml.tags+xml"/>
  <Override PartName="/ppt/tags/tag1335.xml" ContentType="application/vnd.openxmlformats-officedocument.presentationml.tags+xml"/>
  <Override PartName="/ppt/tags/tag1336.xml" ContentType="application/vnd.openxmlformats-officedocument.presentationml.tags+xml"/>
  <Override PartName="/ppt/tags/tag1337.xml" ContentType="application/vnd.openxmlformats-officedocument.presentationml.tags+xml"/>
  <Override PartName="/ppt/tags/tag1338.xml" ContentType="application/vnd.openxmlformats-officedocument.presentationml.tags+xml"/>
  <Override PartName="/ppt/tags/tag1339.xml" ContentType="application/vnd.openxmlformats-officedocument.presentationml.tags+xml"/>
  <Override PartName="/ppt/tags/tag1340.xml" ContentType="application/vnd.openxmlformats-officedocument.presentationml.tags+xml"/>
  <Override PartName="/ppt/tags/tag1341.xml" ContentType="application/vnd.openxmlformats-officedocument.presentationml.tags+xml"/>
  <Override PartName="/ppt/tags/tag1342.xml" ContentType="application/vnd.openxmlformats-officedocument.presentationml.tags+xml"/>
  <Override PartName="/ppt/tags/tag1343.xml" ContentType="application/vnd.openxmlformats-officedocument.presentationml.tags+xml"/>
  <Override PartName="/ppt/tags/tag1344.xml" ContentType="application/vnd.openxmlformats-officedocument.presentationml.tags+xml"/>
  <Override PartName="/ppt/tags/tag1345.xml" ContentType="application/vnd.openxmlformats-officedocument.presentationml.tags+xml"/>
  <Override PartName="/ppt/tags/tag1346.xml" ContentType="application/vnd.openxmlformats-officedocument.presentationml.tags+xml"/>
  <Override PartName="/ppt/tags/tag1347.xml" ContentType="application/vnd.openxmlformats-officedocument.presentationml.tags+xml"/>
  <Override PartName="/ppt/tags/tag1348.xml" ContentType="application/vnd.openxmlformats-officedocument.presentationml.tags+xml"/>
  <Override PartName="/ppt/tags/tag1349.xml" ContentType="application/vnd.openxmlformats-officedocument.presentationml.tags+xml"/>
  <Override PartName="/ppt/tags/tag1350.xml" ContentType="application/vnd.openxmlformats-officedocument.presentationml.tags+xml"/>
  <Override PartName="/ppt/tags/tag1351.xml" ContentType="application/vnd.openxmlformats-officedocument.presentationml.tags+xml"/>
  <Override PartName="/ppt/tags/tag1352.xml" ContentType="application/vnd.openxmlformats-officedocument.presentationml.tags+xml"/>
  <Override PartName="/ppt/tags/tag1353.xml" ContentType="application/vnd.openxmlformats-officedocument.presentationml.tags+xml"/>
  <Override PartName="/ppt/tags/tag1354.xml" ContentType="application/vnd.openxmlformats-officedocument.presentationml.tags+xml"/>
  <Override PartName="/ppt/tags/tag1355.xml" ContentType="application/vnd.openxmlformats-officedocument.presentationml.tags+xml"/>
  <Override PartName="/ppt/tags/tag1356.xml" ContentType="application/vnd.openxmlformats-officedocument.presentationml.tags+xml"/>
  <Override PartName="/ppt/tags/tag1357.xml" ContentType="application/vnd.openxmlformats-officedocument.presentationml.tags+xml"/>
  <Override PartName="/ppt/tags/tag1358.xml" ContentType="application/vnd.openxmlformats-officedocument.presentationml.tags+xml"/>
  <Override PartName="/ppt/tags/tag1359.xml" ContentType="application/vnd.openxmlformats-officedocument.presentationml.tags+xml"/>
  <Override PartName="/ppt/tags/tag1360.xml" ContentType="application/vnd.openxmlformats-officedocument.presentationml.tags+xml"/>
  <Override PartName="/ppt/tags/tag1361.xml" ContentType="application/vnd.openxmlformats-officedocument.presentationml.tags+xml"/>
  <Override PartName="/ppt/tags/tag1362.xml" ContentType="application/vnd.openxmlformats-officedocument.presentationml.tags+xml"/>
  <Override PartName="/ppt/tags/tag1363.xml" ContentType="application/vnd.openxmlformats-officedocument.presentationml.tags+xml"/>
  <Override PartName="/ppt/tags/tag1364.xml" ContentType="application/vnd.openxmlformats-officedocument.presentationml.tags+xml"/>
  <Override PartName="/ppt/tags/tag1365.xml" ContentType="application/vnd.openxmlformats-officedocument.presentationml.tags+xml"/>
  <Override PartName="/ppt/tags/tag1366.xml" ContentType="application/vnd.openxmlformats-officedocument.presentationml.tags+xml"/>
  <Override PartName="/ppt/tags/tag1367.xml" ContentType="application/vnd.openxmlformats-officedocument.presentationml.tags+xml"/>
  <Override PartName="/ppt/tags/tag1368.xml" ContentType="application/vnd.openxmlformats-officedocument.presentationml.tags+xml"/>
  <Override PartName="/ppt/tags/tag1369.xml" ContentType="application/vnd.openxmlformats-officedocument.presentationml.tags+xml"/>
  <Override PartName="/ppt/tags/tag1370.xml" ContentType="application/vnd.openxmlformats-officedocument.presentationml.tags+xml"/>
  <Override PartName="/ppt/tags/tag1371.xml" ContentType="application/vnd.openxmlformats-officedocument.presentationml.tags+xml"/>
  <Override PartName="/ppt/tags/tag1372.xml" ContentType="application/vnd.openxmlformats-officedocument.presentationml.tags+xml"/>
  <Override PartName="/ppt/tags/tag1373.xml" ContentType="application/vnd.openxmlformats-officedocument.presentationml.tags+xml"/>
  <Override PartName="/ppt/tags/tag1374.xml" ContentType="application/vnd.openxmlformats-officedocument.presentationml.tags+xml"/>
  <Override PartName="/ppt/tags/tag1375.xml" ContentType="application/vnd.openxmlformats-officedocument.presentationml.tags+xml"/>
  <Override PartName="/ppt/tags/tag1376.xml" ContentType="application/vnd.openxmlformats-officedocument.presentationml.tags+xml"/>
  <Override PartName="/ppt/tags/tag1377.xml" ContentType="application/vnd.openxmlformats-officedocument.presentationml.tags+xml"/>
  <Override PartName="/ppt/tags/tag1378.xml" ContentType="application/vnd.openxmlformats-officedocument.presentationml.tags+xml"/>
  <Override PartName="/ppt/tags/tag1379.xml" ContentType="application/vnd.openxmlformats-officedocument.presentationml.tags+xml"/>
  <Override PartName="/ppt/tags/tag1380.xml" ContentType="application/vnd.openxmlformats-officedocument.presentationml.tags+xml"/>
  <Override PartName="/ppt/tags/tag1381.xml" ContentType="application/vnd.openxmlformats-officedocument.presentationml.tags+xml"/>
  <Override PartName="/ppt/tags/tag1382.xml" ContentType="application/vnd.openxmlformats-officedocument.presentationml.tags+xml"/>
  <Override PartName="/ppt/tags/tag1383.xml" ContentType="application/vnd.openxmlformats-officedocument.presentationml.tags+xml"/>
  <Override PartName="/ppt/tags/tag1384.xml" ContentType="application/vnd.openxmlformats-officedocument.presentationml.tags+xml"/>
  <Override PartName="/ppt/tags/tag1385.xml" ContentType="application/vnd.openxmlformats-officedocument.presentationml.tags+xml"/>
  <Override PartName="/ppt/tags/tag1386.xml" ContentType="application/vnd.openxmlformats-officedocument.presentationml.tags+xml"/>
  <Override PartName="/ppt/tags/tag1387.xml" ContentType="application/vnd.openxmlformats-officedocument.presentationml.tags+xml"/>
  <Override PartName="/ppt/tags/tag1388.xml" ContentType="application/vnd.openxmlformats-officedocument.presentationml.tags+xml"/>
  <Override PartName="/ppt/tags/tag1389.xml" ContentType="application/vnd.openxmlformats-officedocument.presentationml.tags+xml"/>
  <Override PartName="/ppt/tags/tag1390.xml" ContentType="application/vnd.openxmlformats-officedocument.presentationml.tags+xml"/>
  <Override PartName="/ppt/tags/tag1391.xml" ContentType="application/vnd.openxmlformats-officedocument.presentationml.tags+xml"/>
  <Override PartName="/ppt/tags/tag1392.xml" ContentType="application/vnd.openxmlformats-officedocument.presentationml.tags+xml"/>
  <Override PartName="/ppt/tags/tag1393.xml" ContentType="application/vnd.openxmlformats-officedocument.presentationml.tags+xml"/>
  <Override PartName="/ppt/tags/tag1394.xml" ContentType="application/vnd.openxmlformats-officedocument.presentationml.tags+xml"/>
  <Override PartName="/ppt/tags/tag1395.xml" ContentType="application/vnd.openxmlformats-officedocument.presentationml.tags+xml"/>
  <Override PartName="/ppt/tags/tag1396.xml" ContentType="application/vnd.openxmlformats-officedocument.presentationml.tags+xml"/>
  <Override PartName="/ppt/tags/tag1397.xml" ContentType="application/vnd.openxmlformats-officedocument.presentationml.tags+xml"/>
  <Override PartName="/ppt/tags/tag1398.xml" ContentType="application/vnd.openxmlformats-officedocument.presentationml.tags+xml"/>
  <Override PartName="/ppt/tags/tag1399.xml" ContentType="application/vnd.openxmlformats-officedocument.presentationml.tags+xml"/>
  <Override PartName="/ppt/tags/tag1400.xml" ContentType="application/vnd.openxmlformats-officedocument.presentationml.tags+xml"/>
  <Override PartName="/ppt/tags/tag1401.xml" ContentType="application/vnd.openxmlformats-officedocument.presentationml.tags+xml"/>
  <Override PartName="/ppt/tags/tag1402.xml" ContentType="application/vnd.openxmlformats-officedocument.presentationml.tags+xml"/>
  <Override PartName="/ppt/tags/tag1403.xml" ContentType="application/vnd.openxmlformats-officedocument.presentationml.tags+xml"/>
  <Override PartName="/ppt/tags/tag1404.xml" ContentType="application/vnd.openxmlformats-officedocument.presentationml.tags+xml"/>
  <Override PartName="/ppt/tags/tag1405.xml" ContentType="application/vnd.openxmlformats-officedocument.presentationml.tags+xml"/>
  <Override PartName="/ppt/tags/tag1406.xml" ContentType="application/vnd.openxmlformats-officedocument.presentationml.tags+xml"/>
  <Override PartName="/ppt/tags/tag1407.xml" ContentType="application/vnd.openxmlformats-officedocument.presentationml.tags+xml"/>
  <Override PartName="/ppt/tags/tag1408.xml" ContentType="application/vnd.openxmlformats-officedocument.presentationml.tags+xml"/>
  <Override PartName="/ppt/tags/tag1409.xml" ContentType="application/vnd.openxmlformats-officedocument.presentationml.tags+xml"/>
  <Override PartName="/ppt/tags/tag1410.xml" ContentType="application/vnd.openxmlformats-officedocument.presentationml.tags+xml"/>
  <Override PartName="/ppt/tags/tag1411.xml" ContentType="application/vnd.openxmlformats-officedocument.presentationml.tags+xml"/>
  <Override PartName="/ppt/tags/tag1412.xml" ContentType="application/vnd.openxmlformats-officedocument.presentationml.tags+xml"/>
  <Override PartName="/ppt/tags/tag1413.xml" ContentType="application/vnd.openxmlformats-officedocument.presentationml.tags+xml"/>
  <Override PartName="/ppt/tags/tag1414.xml" ContentType="application/vnd.openxmlformats-officedocument.presentationml.tags+xml"/>
  <Override PartName="/ppt/tags/tag1415.xml" ContentType="application/vnd.openxmlformats-officedocument.presentationml.tags+xml"/>
  <Override PartName="/ppt/tags/tag1416.xml" ContentType="application/vnd.openxmlformats-officedocument.presentationml.tags+xml"/>
  <Override PartName="/ppt/tags/tag1417.xml" ContentType="application/vnd.openxmlformats-officedocument.presentationml.tags+xml"/>
  <Override PartName="/ppt/tags/tag1418.xml" ContentType="application/vnd.openxmlformats-officedocument.presentationml.tags+xml"/>
  <Override PartName="/ppt/tags/tag1419.xml" ContentType="application/vnd.openxmlformats-officedocument.presentationml.tags+xml"/>
  <Override PartName="/ppt/tags/tag1420.xml" ContentType="application/vnd.openxmlformats-officedocument.presentationml.tags+xml"/>
  <Override PartName="/ppt/tags/tag1421.xml" ContentType="application/vnd.openxmlformats-officedocument.presentationml.tags+xml"/>
  <Override PartName="/ppt/tags/tag1422.xml" ContentType="application/vnd.openxmlformats-officedocument.presentationml.tags+xml"/>
  <Override PartName="/ppt/tags/tag1423.xml" ContentType="application/vnd.openxmlformats-officedocument.presentationml.tags+xml"/>
  <Override PartName="/ppt/tags/tag1424.xml" ContentType="application/vnd.openxmlformats-officedocument.presentationml.tags+xml"/>
  <Override PartName="/ppt/tags/tag1425.xml" ContentType="application/vnd.openxmlformats-officedocument.presentationml.tags+xml"/>
  <Override PartName="/ppt/tags/tag1426.xml" ContentType="application/vnd.openxmlformats-officedocument.presentationml.tags+xml"/>
  <Override PartName="/ppt/tags/tag1427.xml" ContentType="application/vnd.openxmlformats-officedocument.presentationml.tags+xml"/>
  <Override PartName="/ppt/tags/tag1428.xml" ContentType="application/vnd.openxmlformats-officedocument.presentationml.tags+xml"/>
  <Override PartName="/ppt/tags/tag1429.xml" ContentType="application/vnd.openxmlformats-officedocument.presentationml.tags+xml"/>
  <Override PartName="/ppt/tags/tag1430.xml" ContentType="application/vnd.openxmlformats-officedocument.presentationml.tags+xml"/>
  <Override PartName="/ppt/tags/tag1431.xml" ContentType="application/vnd.openxmlformats-officedocument.presentationml.tags+xml"/>
  <Override PartName="/ppt/tags/tag1432.xml" ContentType="application/vnd.openxmlformats-officedocument.presentationml.tags+xml"/>
  <Override PartName="/ppt/tags/tag1433.xml" ContentType="application/vnd.openxmlformats-officedocument.presentationml.tags+xml"/>
  <Override PartName="/ppt/tags/tag1434.xml" ContentType="application/vnd.openxmlformats-officedocument.presentationml.tags+xml"/>
  <Override PartName="/ppt/tags/tag1435.xml" ContentType="application/vnd.openxmlformats-officedocument.presentationml.tags+xml"/>
  <Override PartName="/ppt/tags/tag1436.xml" ContentType="application/vnd.openxmlformats-officedocument.presentationml.tags+xml"/>
  <Override PartName="/ppt/tags/tag1437.xml" ContentType="application/vnd.openxmlformats-officedocument.presentationml.tags+xml"/>
  <Override PartName="/ppt/tags/tag1438.xml" ContentType="application/vnd.openxmlformats-officedocument.presentationml.tags+xml"/>
  <Override PartName="/ppt/tags/tag1439.xml" ContentType="application/vnd.openxmlformats-officedocument.presentationml.tags+xml"/>
  <Override PartName="/ppt/tags/tag1440.xml" ContentType="application/vnd.openxmlformats-officedocument.presentationml.tags+xml"/>
  <Override PartName="/ppt/tags/tag1441.xml" ContentType="application/vnd.openxmlformats-officedocument.presentationml.tags+xml"/>
  <Override PartName="/ppt/tags/tag1442.xml" ContentType="application/vnd.openxmlformats-officedocument.presentationml.tags+xml"/>
  <Override PartName="/ppt/tags/tag1443.xml" ContentType="application/vnd.openxmlformats-officedocument.presentationml.tags+xml"/>
  <Override PartName="/ppt/tags/tag1444.xml" ContentType="application/vnd.openxmlformats-officedocument.presentationml.tags+xml"/>
  <Override PartName="/ppt/tags/tag1445.xml" ContentType="application/vnd.openxmlformats-officedocument.presentationml.tags+xml"/>
  <Override PartName="/ppt/tags/tag1446.xml" ContentType="application/vnd.openxmlformats-officedocument.presentationml.tags+xml"/>
  <Override PartName="/ppt/tags/tag1447.xml" ContentType="application/vnd.openxmlformats-officedocument.presentationml.tags+xml"/>
  <Override PartName="/ppt/tags/tag1448.xml" ContentType="application/vnd.openxmlformats-officedocument.presentationml.tags+xml"/>
  <Override PartName="/ppt/tags/tag1449.xml" ContentType="application/vnd.openxmlformats-officedocument.presentationml.tags+xml"/>
  <Override PartName="/ppt/tags/tag1450.xml" ContentType="application/vnd.openxmlformats-officedocument.presentationml.tags+xml"/>
  <Override PartName="/ppt/tags/tag1451.xml" ContentType="application/vnd.openxmlformats-officedocument.presentationml.tags+xml"/>
  <Override PartName="/ppt/tags/tag1452.xml" ContentType="application/vnd.openxmlformats-officedocument.presentationml.tags+xml"/>
  <Override PartName="/ppt/tags/tag1453.xml" ContentType="application/vnd.openxmlformats-officedocument.presentationml.tags+xml"/>
  <Override PartName="/ppt/tags/tag1454.xml" ContentType="application/vnd.openxmlformats-officedocument.presentationml.tags+xml"/>
  <Override PartName="/ppt/tags/tag1455.xml" ContentType="application/vnd.openxmlformats-officedocument.presentationml.tags+xml"/>
  <Override PartName="/ppt/tags/tag1456.xml" ContentType="application/vnd.openxmlformats-officedocument.presentationml.tags+xml"/>
  <Override PartName="/ppt/tags/tag1457.xml" ContentType="application/vnd.openxmlformats-officedocument.presentationml.tags+xml"/>
  <Override PartName="/ppt/tags/tag1458.xml" ContentType="application/vnd.openxmlformats-officedocument.presentationml.tags+xml"/>
  <Override PartName="/ppt/tags/tag1459.xml" ContentType="application/vnd.openxmlformats-officedocument.presentationml.tags+xml"/>
  <Override PartName="/ppt/tags/tag1460.xml" ContentType="application/vnd.openxmlformats-officedocument.presentationml.tags+xml"/>
  <Override PartName="/ppt/tags/tag1461.xml" ContentType="application/vnd.openxmlformats-officedocument.presentationml.tags+xml"/>
  <Override PartName="/ppt/tags/tag1462.xml" ContentType="application/vnd.openxmlformats-officedocument.presentationml.tags+xml"/>
  <Override PartName="/ppt/tags/tag1463.xml" ContentType="application/vnd.openxmlformats-officedocument.presentationml.tags+xml"/>
  <Override PartName="/ppt/tags/tag1464.xml" ContentType="application/vnd.openxmlformats-officedocument.presentationml.tags+xml"/>
  <Override PartName="/ppt/tags/tag1465.xml" ContentType="application/vnd.openxmlformats-officedocument.presentationml.tags+xml"/>
  <Override PartName="/ppt/tags/tag1466.xml" ContentType="application/vnd.openxmlformats-officedocument.presentationml.tags+xml"/>
  <Override PartName="/ppt/tags/tag1467.xml" ContentType="application/vnd.openxmlformats-officedocument.presentationml.tags+xml"/>
  <Override PartName="/ppt/tags/tag1468.xml" ContentType="application/vnd.openxmlformats-officedocument.presentationml.tags+xml"/>
  <Override PartName="/ppt/tags/tag1469.xml" ContentType="application/vnd.openxmlformats-officedocument.presentationml.tags+xml"/>
  <Override PartName="/ppt/tags/tag1470.xml" ContentType="application/vnd.openxmlformats-officedocument.presentationml.tags+xml"/>
  <Override PartName="/ppt/tags/tag1471.xml" ContentType="application/vnd.openxmlformats-officedocument.presentationml.tags+xml"/>
  <Override PartName="/ppt/tags/tag1472.xml" ContentType="application/vnd.openxmlformats-officedocument.presentationml.tags+xml"/>
  <Override PartName="/ppt/tags/tag1473.xml" ContentType="application/vnd.openxmlformats-officedocument.presentationml.tags+xml"/>
  <Override PartName="/ppt/tags/tag1474.xml" ContentType="application/vnd.openxmlformats-officedocument.presentationml.tags+xml"/>
  <Override PartName="/ppt/tags/tag1475.xml" ContentType="application/vnd.openxmlformats-officedocument.presentationml.tags+xml"/>
  <Override PartName="/ppt/tags/tag1476.xml" ContentType="application/vnd.openxmlformats-officedocument.presentationml.tags+xml"/>
  <Override PartName="/ppt/tags/tag1477.xml" ContentType="application/vnd.openxmlformats-officedocument.presentationml.tags+xml"/>
  <Override PartName="/ppt/tags/tag1478.xml" ContentType="application/vnd.openxmlformats-officedocument.presentationml.tags+xml"/>
  <Override PartName="/ppt/tags/tag1479.xml" ContentType="application/vnd.openxmlformats-officedocument.presentationml.tags+xml"/>
  <Override PartName="/ppt/tags/tag1480.xml" ContentType="application/vnd.openxmlformats-officedocument.presentationml.tags+xml"/>
  <Override PartName="/ppt/tags/tag1481.xml" ContentType="application/vnd.openxmlformats-officedocument.presentationml.tags+xml"/>
  <Override PartName="/ppt/tags/tag1482.xml" ContentType="application/vnd.openxmlformats-officedocument.presentationml.tags+xml"/>
  <Override PartName="/ppt/tags/tag1483.xml" ContentType="application/vnd.openxmlformats-officedocument.presentationml.tags+xml"/>
  <Override PartName="/ppt/tags/tag1484.xml" ContentType="application/vnd.openxmlformats-officedocument.presentationml.tags+xml"/>
  <Override PartName="/ppt/tags/tag1485.xml" ContentType="application/vnd.openxmlformats-officedocument.presentationml.tags+xml"/>
  <Override PartName="/ppt/tags/tag1486.xml" ContentType="application/vnd.openxmlformats-officedocument.presentationml.tags+xml"/>
  <Override PartName="/ppt/tags/tag1487.xml" ContentType="application/vnd.openxmlformats-officedocument.presentationml.tags+xml"/>
  <Override PartName="/ppt/tags/tag1488.xml" ContentType="application/vnd.openxmlformats-officedocument.presentationml.tags+xml"/>
  <Override PartName="/ppt/notesSlides/notesSlide18.xml" ContentType="application/vnd.openxmlformats-officedocument.presentationml.notesSlide+xml"/>
  <Override PartName="/ppt/tags/tag1489.xml" ContentType="application/vnd.openxmlformats-officedocument.presentationml.tags+xml"/>
  <Override PartName="/ppt/tags/tag1490.xml" ContentType="application/vnd.openxmlformats-officedocument.presentationml.tags+xml"/>
  <Override PartName="/ppt/tags/tag1491.xml" ContentType="application/vnd.openxmlformats-officedocument.presentationml.tags+xml"/>
  <Override PartName="/ppt/tags/tag1492.xml" ContentType="application/vnd.openxmlformats-officedocument.presentationml.tags+xml"/>
  <Override PartName="/ppt/tags/tag1493.xml" ContentType="application/vnd.openxmlformats-officedocument.presentationml.tags+xml"/>
  <Override PartName="/ppt/tags/tag1494.xml" ContentType="application/vnd.openxmlformats-officedocument.presentationml.tags+xml"/>
  <Override PartName="/ppt/tags/tag1495.xml" ContentType="application/vnd.openxmlformats-officedocument.presentationml.tags+xml"/>
  <Override PartName="/ppt/tags/tag1496.xml" ContentType="application/vnd.openxmlformats-officedocument.presentationml.tags+xml"/>
  <Override PartName="/ppt/tags/tag1497.xml" ContentType="application/vnd.openxmlformats-officedocument.presentationml.tags+xml"/>
  <Override PartName="/ppt/tags/tag1498.xml" ContentType="application/vnd.openxmlformats-officedocument.presentationml.tags+xml"/>
  <Override PartName="/ppt/tags/tag1499.xml" ContentType="application/vnd.openxmlformats-officedocument.presentationml.tags+xml"/>
  <Override PartName="/ppt/tags/tag1500.xml" ContentType="application/vnd.openxmlformats-officedocument.presentationml.tags+xml"/>
  <Override PartName="/ppt/tags/tag1501.xml" ContentType="application/vnd.openxmlformats-officedocument.presentationml.tags+xml"/>
  <Override PartName="/ppt/tags/tag1502.xml" ContentType="application/vnd.openxmlformats-officedocument.presentationml.tags+xml"/>
  <Override PartName="/ppt/tags/tag1503.xml" ContentType="application/vnd.openxmlformats-officedocument.presentationml.tags+xml"/>
  <Override PartName="/ppt/tags/tag1504.xml" ContentType="application/vnd.openxmlformats-officedocument.presentationml.tags+xml"/>
  <Override PartName="/ppt/tags/tag1505.xml" ContentType="application/vnd.openxmlformats-officedocument.presentationml.tags+xml"/>
  <Override PartName="/ppt/tags/tag1506.xml" ContentType="application/vnd.openxmlformats-officedocument.presentationml.tags+xml"/>
  <Override PartName="/ppt/tags/tag1507.xml" ContentType="application/vnd.openxmlformats-officedocument.presentationml.tags+xml"/>
  <Override PartName="/ppt/tags/tag1508.xml" ContentType="application/vnd.openxmlformats-officedocument.presentationml.tags+xml"/>
  <Override PartName="/ppt/tags/tag1509.xml" ContentType="application/vnd.openxmlformats-officedocument.presentationml.tags+xml"/>
  <Override PartName="/ppt/tags/tag1510.xml" ContentType="application/vnd.openxmlformats-officedocument.presentationml.tags+xml"/>
  <Override PartName="/ppt/tags/tag1511.xml" ContentType="application/vnd.openxmlformats-officedocument.presentationml.tags+xml"/>
  <Override PartName="/ppt/tags/tag1512.xml" ContentType="application/vnd.openxmlformats-officedocument.presentationml.tags+xml"/>
  <Override PartName="/ppt/tags/tag1513.xml" ContentType="application/vnd.openxmlformats-officedocument.presentationml.tags+xml"/>
  <Override PartName="/ppt/tags/tag1514.xml" ContentType="application/vnd.openxmlformats-officedocument.presentationml.tags+xml"/>
  <Override PartName="/ppt/tags/tag1515.xml" ContentType="application/vnd.openxmlformats-officedocument.presentationml.tags+xml"/>
  <Override PartName="/ppt/tags/tag1516.xml" ContentType="application/vnd.openxmlformats-officedocument.presentationml.tags+xml"/>
  <Override PartName="/ppt/tags/tag1517.xml" ContentType="application/vnd.openxmlformats-officedocument.presentationml.tags+xml"/>
  <Override PartName="/ppt/tags/tag1518.xml" ContentType="application/vnd.openxmlformats-officedocument.presentationml.tags+xml"/>
  <Override PartName="/ppt/tags/tag1519.xml" ContentType="application/vnd.openxmlformats-officedocument.presentationml.tags+xml"/>
  <Override PartName="/ppt/tags/tag1520.xml" ContentType="application/vnd.openxmlformats-officedocument.presentationml.tags+xml"/>
  <Override PartName="/ppt/tags/tag1521.xml" ContentType="application/vnd.openxmlformats-officedocument.presentationml.tags+xml"/>
  <Override PartName="/ppt/tags/tag1522.xml" ContentType="application/vnd.openxmlformats-officedocument.presentationml.tags+xml"/>
  <Override PartName="/ppt/tags/tag1523.xml" ContentType="application/vnd.openxmlformats-officedocument.presentationml.tags+xml"/>
  <Override PartName="/ppt/tags/tag1524.xml" ContentType="application/vnd.openxmlformats-officedocument.presentationml.tags+xml"/>
  <Override PartName="/ppt/tags/tag1525.xml" ContentType="application/vnd.openxmlformats-officedocument.presentationml.tags+xml"/>
  <Override PartName="/ppt/tags/tag1526.xml" ContentType="application/vnd.openxmlformats-officedocument.presentationml.tags+xml"/>
  <Override PartName="/ppt/tags/tag1527.xml" ContentType="application/vnd.openxmlformats-officedocument.presentationml.tags+xml"/>
  <Override PartName="/ppt/tags/tag1528.xml" ContentType="application/vnd.openxmlformats-officedocument.presentationml.tags+xml"/>
  <Override PartName="/ppt/tags/tag1529.xml" ContentType="application/vnd.openxmlformats-officedocument.presentationml.tags+xml"/>
  <Override PartName="/ppt/tags/tag1530.xml" ContentType="application/vnd.openxmlformats-officedocument.presentationml.tags+xml"/>
  <Override PartName="/ppt/tags/tag1531.xml" ContentType="application/vnd.openxmlformats-officedocument.presentationml.tags+xml"/>
  <Override PartName="/ppt/tags/tag1532.xml" ContentType="application/vnd.openxmlformats-officedocument.presentationml.tags+xml"/>
  <Override PartName="/ppt/tags/tag1533.xml" ContentType="application/vnd.openxmlformats-officedocument.presentationml.tags+xml"/>
  <Override PartName="/ppt/tags/tag1534.xml" ContentType="application/vnd.openxmlformats-officedocument.presentationml.tags+xml"/>
  <Override PartName="/ppt/tags/tag1535.xml" ContentType="application/vnd.openxmlformats-officedocument.presentationml.tags+xml"/>
  <Override PartName="/ppt/tags/tag1536.xml" ContentType="application/vnd.openxmlformats-officedocument.presentationml.tags+xml"/>
  <Override PartName="/ppt/tags/tag1537.xml" ContentType="application/vnd.openxmlformats-officedocument.presentationml.tags+xml"/>
  <Override PartName="/ppt/tags/tag1538.xml" ContentType="application/vnd.openxmlformats-officedocument.presentationml.tags+xml"/>
  <Override PartName="/ppt/tags/tag1539.xml" ContentType="application/vnd.openxmlformats-officedocument.presentationml.tags+xml"/>
  <Override PartName="/ppt/tags/tag1540.xml" ContentType="application/vnd.openxmlformats-officedocument.presentationml.tags+xml"/>
  <Override PartName="/ppt/tags/tag1541.xml" ContentType="application/vnd.openxmlformats-officedocument.presentationml.tags+xml"/>
  <Override PartName="/ppt/tags/tag1542.xml" ContentType="application/vnd.openxmlformats-officedocument.presentationml.tags+xml"/>
  <Override PartName="/ppt/tags/tag1543.xml" ContentType="application/vnd.openxmlformats-officedocument.presentationml.tags+xml"/>
  <Override PartName="/ppt/tags/tag1544.xml" ContentType="application/vnd.openxmlformats-officedocument.presentationml.tags+xml"/>
  <Override PartName="/ppt/tags/tag1545.xml" ContentType="application/vnd.openxmlformats-officedocument.presentationml.tags+xml"/>
  <Override PartName="/ppt/tags/tag1546.xml" ContentType="application/vnd.openxmlformats-officedocument.presentationml.tags+xml"/>
  <Override PartName="/ppt/tags/tag1547.xml" ContentType="application/vnd.openxmlformats-officedocument.presentationml.tags+xml"/>
  <Override PartName="/ppt/tags/tag1548.xml" ContentType="application/vnd.openxmlformats-officedocument.presentationml.tags+xml"/>
  <Override PartName="/ppt/tags/tag1549.xml" ContentType="application/vnd.openxmlformats-officedocument.presentationml.tags+xml"/>
  <Override PartName="/ppt/tags/tag1550.xml" ContentType="application/vnd.openxmlformats-officedocument.presentationml.tags+xml"/>
  <Override PartName="/ppt/tags/tag1551.xml" ContentType="application/vnd.openxmlformats-officedocument.presentationml.tags+xml"/>
  <Override PartName="/ppt/tags/tag1552.xml" ContentType="application/vnd.openxmlformats-officedocument.presentationml.tags+xml"/>
  <Override PartName="/ppt/tags/tag1553.xml" ContentType="application/vnd.openxmlformats-officedocument.presentationml.tags+xml"/>
  <Override PartName="/ppt/tags/tag1554.xml" ContentType="application/vnd.openxmlformats-officedocument.presentationml.tags+xml"/>
  <Override PartName="/ppt/tags/tag1555.xml" ContentType="application/vnd.openxmlformats-officedocument.presentationml.tags+xml"/>
  <Override PartName="/ppt/tags/tag1556.xml" ContentType="application/vnd.openxmlformats-officedocument.presentationml.tags+xml"/>
  <Override PartName="/ppt/tags/tag1557.xml" ContentType="application/vnd.openxmlformats-officedocument.presentationml.tags+xml"/>
  <Override PartName="/ppt/tags/tag1558.xml" ContentType="application/vnd.openxmlformats-officedocument.presentationml.tags+xml"/>
  <Override PartName="/ppt/tags/tag1559.xml" ContentType="application/vnd.openxmlformats-officedocument.presentationml.tags+xml"/>
  <Override PartName="/ppt/tags/tag1560.xml" ContentType="application/vnd.openxmlformats-officedocument.presentationml.tags+xml"/>
  <Override PartName="/ppt/tags/tag1561.xml" ContentType="application/vnd.openxmlformats-officedocument.presentationml.tags+xml"/>
  <Override PartName="/ppt/tags/tag1562.xml" ContentType="application/vnd.openxmlformats-officedocument.presentationml.tags+xml"/>
  <Override PartName="/ppt/tags/tag1563.xml" ContentType="application/vnd.openxmlformats-officedocument.presentationml.tags+xml"/>
  <Override PartName="/ppt/tags/tag1564.xml" ContentType="application/vnd.openxmlformats-officedocument.presentationml.tags+xml"/>
  <Override PartName="/ppt/tags/tag1565.xml" ContentType="application/vnd.openxmlformats-officedocument.presentationml.tags+xml"/>
  <Override PartName="/ppt/tags/tag1566.xml" ContentType="application/vnd.openxmlformats-officedocument.presentationml.tags+xml"/>
  <Override PartName="/ppt/tags/tag1567.xml" ContentType="application/vnd.openxmlformats-officedocument.presentationml.tags+xml"/>
  <Override PartName="/ppt/tags/tag1568.xml" ContentType="application/vnd.openxmlformats-officedocument.presentationml.tags+xml"/>
  <Override PartName="/ppt/tags/tag1569.xml" ContentType="application/vnd.openxmlformats-officedocument.presentationml.tags+xml"/>
  <Override PartName="/ppt/tags/tag1570.xml" ContentType="application/vnd.openxmlformats-officedocument.presentationml.tags+xml"/>
  <Override PartName="/ppt/tags/tag1571.xml" ContentType="application/vnd.openxmlformats-officedocument.presentationml.tags+xml"/>
  <Override PartName="/ppt/tags/tag1572.xml" ContentType="application/vnd.openxmlformats-officedocument.presentationml.tags+xml"/>
  <Override PartName="/ppt/tags/tag1573.xml" ContentType="application/vnd.openxmlformats-officedocument.presentationml.tags+xml"/>
  <Override PartName="/ppt/tags/tag1574.xml" ContentType="application/vnd.openxmlformats-officedocument.presentationml.tags+xml"/>
  <Override PartName="/ppt/tags/tag1575.xml" ContentType="application/vnd.openxmlformats-officedocument.presentationml.tags+xml"/>
  <Override PartName="/ppt/tags/tag1576.xml" ContentType="application/vnd.openxmlformats-officedocument.presentationml.tags+xml"/>
  <Override PartName="/ppt/tags/tag1577.xml" ContentType="application/vnd.openxmlformats-officedocument.presentationml.tags+xml"/>
  <Override PartName="/ppt/tags/tag1578.xml" ContentType="application/vnd.openxmlformats-officedocument.presentationml.tags+xml"/>
  <Override PartName="/ppt/tags/tag1579.xml" ContentType="application/vnd.openxmlformats-officedocument.presentationml.tags+xml"/>
  <Override PartName="/ppt/tags/tag1580.xml" ContentType="application/vnd.openxmlformats-officedocument.presentationml.tags+xml"/>
  <Override PartName="/ppt/tags/tag1581.xml" ContentType="application/vnd.openxmlformats-officedocument.presentationml.tags+xml"/>
  <Override PartName="/ppt/tags/tag1582.xml" ContentType="application/vnd.openxmlformats-officedocument.presentationml.tags+xml"/>
  <Override PartName="/ppt/tags/tag1583.xml" ContentType="application/vnd.openxmlformats-officedocument.presentationml.tags+xml"/>
  <Override PartName="/ppt/tags/tag1584.xml" ContentType="application/vnd.openxmlformats-officedocument.presentationml.tags+xml"/>
  <Override PartName="/ppt/tags/tag1585.xml" ContentType="application/vnd.openxmlformats-officedocument.presentationml.tags+xml"/>
  <Override PartName="/ppt/tags/tag1586.xml" ContentType="application/vnd.openxmlformats-officedocument.presentationml.tags+xml"/>
  <Override PartName="/ppt/tags/tag1587.xml" ContentType="application/vnd.openxmlformats-officedocument.presentationml.tags+xml"/>
  <Override PartName="/ppt/tags/tag1588.xml" ContentType="application/vnd.openxmlformats-officedocument.presentationml.tags+xml"/>
  <Override PartName="/ppt/tags/tag1589.xml" ContentType="application/vnd.openxmlformats-officedocument.presentationml.tags+xml"/>
  <Override PartName="/ppt/tags/tag1590.xml" ContentType="application/vnd.openxmlformats-officedocument.presentationml.tags+xml"/>
  <Override PartName="/ppt/tags/tag1591.xml" ContentType="application/vnd.openxmlformats-officedocument.presentationml.tags+xml"/>
  <Override PartName="/ppt/tags/tag1592.xml" ContentType="application/vnd.openxmlformats-officedocument.presentationml.tags+xml"/>
  <Override PartName="/ppt/tags/tag1593.xml" ContentType="application/vnd.openxmlformats-officedocument.presentationml.tags+xml"/>
  <Override PartName="/ppt/tags/tag1594.xml" ContentType="application/vnd.openxmlformats-officedocument.presentationml.tags+xml"/>
  <Override PartName="/ppt/tags/tag1595.xml" ContentType="application/vnd.openxmlformats-officedocument.presentationml.tags+xml"/>
  <Override PartName="/ppt/tags/tag1596.xml" ContentType="application/vnd.openxmlformats-officedocument.presentationml.tags+xml"/>
  <Override PartName="/ppt/tags/tag1597.xml" ContentType="application/vnd.openxmlformats-officedocument.presentationml.tags+xml"/>
  <Override PartName="/ppt/tags/tag1598.xml" ContentType="application/vnd.openxmlformats-officedocument.presentationml.tags+xml"/>
  <Override PartName="/ppt/tags/tag1599.xml" ContentType="application/vnd.openxmlformats-officedocument.presentationml.tags+xml"/>
  <Override PartName="/ppt/tags/tag1600.xml" ContentType="application/vnd.openxmlformats-officedocument.presentationml.tags+xml"/>
  <Override PartName="/ppt/tags/tag1601.xml" ContentType="application/vnd.openxmlformats-officedocument.presentationml.tags+xml"/>
  <Override PartName="/ppt/tags/tag1602.xml" ContentType="application/vnd.openxmlformats-officedocument.presentationml.tags+xml"/>
  <Override PartName="/ppt/tags/tag1603.xml" ContentType="application/vnd.openxmlformats-officedocument.presentationml.tags+xml"/>
  <Override PartName="/ppt/tags/tag1604.xml" ContentType="application/vnd.openxmlformats-officedocument.presentationml.tags+xml"/>
  <Override PartName="/ppt/tags/tag1605.xml" ContentType="application/vnd.openxmlformats-officedocument.presentationml.tags+xml"/>
  <Override PartName="/ppt/tags/tag1606.xml" ContentType="application/vnd.openxmlformats-officedocument.presentationml.tags+xml"/>
  <Override PartName="/ppt/tags/tag1607.xml" ContentType="application/vnd.openxmlformats-officedocument.presentationml.tags+xml"/>
  <Override PartName="/ppt/tags/tag1608.xml" ContentType="application/vnd.openxmlformats-officedocument.presentationml.tags+xml"/>
  <Override PartName="/ppt/tags/tag1609.xml" ContentType="application/vnd.openxmlformats-officedocument.presentationml.tags+xml"/>
  <Override PartName="/ppt/tags/tag1610.xml" ContentType="application/vnd.openxmlformats-officedocument.presentationml.tags+xml"/>
  <Override PartName="/ppt/tags/tag1611.xml" ContentType="application/vnd.openxmlformats-officedocument.presentationml.tags+xml"/>
  <Override PartName="/ppt/tags/tag1612.xml" ContentType="application/vnd.openxmlformats-officedocument.presentationml.tags+xml"/>
  <Override PartName="/ppt/tags/tag1613.xml" ContentType="application/vnd.openxmlformats-officedocument.presentationml.tags+xml"/>
  <Override PartName="/ppt/tags/tag1614.xml" ContentType="application/vnd.openxmlformats-officedocument.presentationml.tags+xml"/>
  <Override PartName="/ppt/tags/tag1615.xml" ContentType="application/vnd.openxmlformats-officedocument.presentationml.tags+xml"/>
  <Override PartName="/ppt/tags/tag1616.xml" ContentType="application/vnd.openxmlformats-officedocument.presentationml.tags+xml"/>
  <Override PartName="/ppt/tags/tag1617.xml" ContentType="application/vnd.openxmlformats-officedocument.presentationml.tags+xml"/>
  <Override PartName="/ppt/tags/tag1618.xml" ContentType="application/vnd.openxmlformats-officedocument.presentationml.tags+xml"/>
  <Override PartName="/ppt/tags/tag1619.xml" ContentType="application/vnd.openxmlformats-officedocument.presentationml.tags+xml"/>
  <Override PartName="/ppt/tags/tag1620.xml" ContentType="application/vnd.openxmlformats-officedocument.presentationml.tags+xml"/>
  <Override PartName="/ppt/tags/tag1621.xml" ContentType="application/vnd.openxmlformats-officedocument.presentationml.tags+xml"/>
  <Override PartName="/ppt/tags/tag1622.xml" ContentType="application/vnd.openxmlformats-officedocument.presentationml.tags+xml"/>
  <Override PartName="/ppt/tags/tag1623.xml" ContentType="application/vnd.openxmlformats-officedocument.presentationml.tags+xml"/>
  <Override PartName="/ppt/tags/tag1624.xml" ContentType="application/vnd.openxmlformats-officedocument.presentationml.tags+xml"/>
  <Override PartName="/ppt/tags/tag1625.xml" ContentType="application/vnd.openxmlformats-officedocument.presentationml.tags+xml"/>
  <Override PartName="/ppt/tags/tag1626.xml" ContentType="application/vnd.openxmlformats-officedocument.presentationml.tags+xml"/>
  <Override PartName="/ppt/tags/tag1627.xml" ContentType="application/vnd.openxmlformats-officedocument.presentationml.tags+xml"/>
  <Override PartName="/ppt/tags/tag1628.xml" ContentType="application/vnd.openxmlformats-officedocument.presentationml.tags+xml"/>
  <Override PartName="/ppt/tags/tag1629.xml" ContentType="application/vnd.openxmlformats-officedocument.presentationml.tags+xml"/>
  <Override PartName="/ppt/tags/tag1630.xml" ContentType="application/vnd.openxmlformats-officedocument.presentationml.tags+xml"/>
  <Override PartName="/ppt/tags/tag1631.xml" ContentType="application/vnd.openxmlformats-officedocument.presentationml.tags+xml"/>
  <Override PartName="/ppt/tags/tag1632.xml" ContentType="application/vnd.openxmlformats-officedocument.presentationml.tags+xml"/>
  <Override PartName="/ppt/tags/tag1633.xml" ContentType="application/vnd.openxmlformats-officedocument.presentationml.tags+xml"/>
  <Override PartName="/ppt/tags/tag1634.xml" ContentType="application/vnd.openxmlformats-officedocument.presentationml.tags+xml"/>
  <Override PartName="/ppt/tags/tag1635.xml" ContentType="application/vnd.openxmlformats-officedocument.presentationml.tags+xml"/>
  <Override PartName="/ppt/tags/tag1636.xml" ContentType="application/vnd.openxmlformats-officedocument.presentationml.tags+xml"/>
  <Override PartName="/ppt/tags/tag1637.xml" ContentType="application/vnd.openxmlformats-officedocument.presentationml.tags+xml"/>
  <Override PartName="/ppt/tags/tag1638.xml" ContentType="application/vnd.openxmlformats-officedocument.presentationml.tags+xml"/>
  <Override PartName="/ppt/tags/tag1639.xml" ContentType="application/vnd.openxmlformats-officedocument.presentationml.tags+xml"/>
  <Override PartName="/ppt/tags/tag1640.xml" ContentType="application/vnd.openxmlformats-officedocument.presentationml.tags+xml"/>
  <Override PartName="/ppt/tags/tag1641.xml" ContentType="application/vnd.openxmlformats-officedocument.presentationml.tags+xml"/>
  <Override PartName="/ppt/tags/tag1642.xml" ContentType="application/vnd.openxmlformats-officedocument.presentationml.tags+xml"/>
  <Override PartName="/ppt/tags/tag1643.xml" ContentType="application/vnd.openxmlformats-officedocument.presentationml.tags+xml"/>
  <Override PartName="/ppt/tags/tag1644.xml" ContentType="application/vnd.openxmlformats-officedocument.presentationml.tags+xml"/>
  <Override PartName="/ppt/tags/tag1645.xml" ContentType="application/vnd.openxmlformats-officedocument.presentationml.tags+xml"/>
  <Override PartName="/ppt/tags/tag1646.xml" ContentType="application/vnd.openxmlformats-officedocument.presentationml.tags+xml"/>
  <Override PartName="/ppt/tags/tag1647.xml" ContentType="application/vnd.openxmlformats-officedocument.presentationml.tags+xml"/>
  <Override PartName="/ppt/tags/tag1648.xml" ContentType="application/vnd.openxmlformats-officedocument.presentationml.tags+xml"/>
  <Override PartName="/ppt/tags/tag1649.xml" ContentType="application/vnd.openxmlformats-officedocument.presentationml.tags+xml"/>
  <Override PartName="/ppt/tags/tag1650.xml" ContentType="application/vnd.openxmlformats-officedocument.presentationml.tags+xml"/>
  <Override PartName="/ppt/tags/tag1651.xml" ContentType="application/vnd.openxmlformats-officedocument.presentationml.tags+xml"/>
  <Override PartName="/ppt/tags/tag1652.xml" ContentType="application/vnd.openxmlformats-officedocument.presentationml.tags+xml"/>
  <Override PartName="/ppt/tags/tag1653.xml" ContentType="application/vnd.openxmlformats-officedocument.presentationml.tags+xml"/>
  <Override PartName="/ppt/tags/tag1654.xml" ContentType="application/vnd.openxmlformats-officedocument.presentationml.tags+xml"/>
  <Override PartName="/ppt/tags/tag1655.xml" ContentType="application/vnd.openxmlformats-officedocument.presentationml.tags+xml"/>
  <Override PartName="/ppt/tags/tag1656.xml" ContentType="application/vnd.openxmlformats-officedocument.presentationml.tags+xml"/>
  <Override PartName="/ppt/tags/tag1657.xml" ContentType="application/vnd.openxmlformats-officedocument.presentationml.tags+xml"/>
  <Override PartName="/ppt/tags/tag1658.xml" ContentType="application/vnd.openxmlformats-officedocument.presentationml.tags+xml"/>
  <Override PartName="/ppt/tags/tag1659.xml" ContentType="application/vnd.openxmlformats-officedocument.presentationml.tags+xml"/>
  <Override PartName="/ppt/tags/tag1660.xml" ContentType="application/vnd.openxmlformats-officedocument.presentationml.tags+xml"/>
  <Override PartName="/ppt/tags/tag1661.xml" ContentType="application/vnd.openxmlformats-officedocument.presentationml.tags+xml"/>
  <Override PartName="/ppt/tags/tag1662.xml" ContentType="application/vnd.openxmlformats-officedocument.presentationml.tags+xml"/>
  <Override PartName="/ppt/tags/tag1663.xml" ContentType="application/vnd.openxmlformats-officedocument.presentationml.tags+xml"/>
  <Override PartName="/ppt/tags/tag1664.xml" ContentType="application/vnd.openxmlformats-officedocument.presentationml.tags+xml"/>
  <Override PartName="/ppt/tags/tag1665.xml" ContentType="application/vnd.openxmlformats-officedocument.presentationml.tags+xml"/>
  <Override PartName="/ppt/tags/tag1666.xml" ContentType="application/vnd.openxmlformats-officedocument.presentationml.tags+xml"/>
  <Override PartName="/ppt/tags/tag1667.xml" ContentType="application/vnd.openxmlformats-officedocument.presentationml.tags+xml"/>
  <Override PartName="/ppt/notesSlides/notesSlide19.xml" ContentType="application/vnd.openxmlformats-officedocument.presentationml.notesSlide+xml"/>
  <Override PartName="/ppt/tags/tag1668.xml" ContentType="application/vnd.openxmlformats-officedocument.presentationml.tags+xml"/>
  <Override PartName="/ppt/tags/tag1669.xml" ContentType="application/vnd.openxmlformats-officedocument.presentationml.tags+xml"/>
  <Override PartName="/ppt/tags/tag1670.xml" ContentType="application/vnd.openxmlformats-officedocument.presentationml.tags+xml"/>
  <Override PartName="/ppt/tags/tag1671.xml" ContentType="application/vnd.openxmlformats-officedocument.presentationml.tags+xml"/>
  <Override PartName="/ppt/tags/tag1672.xml" ContentType="application/vnd.openxmlformats-officedocument.presentationml.tags+xml"/>
  <Override PartName="/ppt/tags/tag1673.xml" ContentType="application/vnd.openxmlformats-officedocument.presentationml.tags+xml"/>
  <Override PartName="/ppt/tags/tag1674.xml" ContentType="application/vnd.openxmlformats-officedocument.presentationml.tags+xml"/>
  <Override PartName="/ppt/tags/tag1675.xml" ContentType="application/vnd.openxmlformats-officedocument.presentationml.tags+xml"/>
  <Override PartName="/ppt/tags/tag1676.xml" ContentType="application/vnd.openxmlformats-officedocument.presentationml.tags+xml"/>
  <Override PartName="/ppt/tags/tag1677.xml" ContentType="application/vnd.openxmlformats-officedocument.presentationml.tags+xml"/>
  <Override PartName="/ppt/tags/tag1678.xml" ContentType="application/vnd.openxmlformats-officedocument.presentationml.tags+xml"/>
  <Override PartName="/ppt/tags/tag1679.xml" ContentType="application/vnd.openxmlformats-officedocument.presentationml.tags+xml"/>
  <Override PartName="/ppt/tags/tag1680.xml" ContentType="application/vnd.openxmlformats-officedocument.presentationml.tags+xml"/>
  <Override PartName="/ppt/tags/tag1681.xml" ContentType="application/vnd.openxmlformats-officedocument.presentationml.tags+xml"/>
  <Override PartName="/ppt/tags/tag1682.xml" ContentType="application/vnd.openxmlformats-officedocument.presentationml.tags+xml"/>
  <Override PartName="/ppt/notesSlides/notesSlide20.xml" ContentType="application/vnd.openxmlformats-officedocument.presentationml.notesSlide+xml"/>
  <Override PartName="/ppt/tags/tag1683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892" r:id="rId4"/>
  </p:sldMasterIdLst>
  <p:notesMasterIdLst>
    <p:notesMasterId r:id="rId27"/>
  </p:notesMasterIdLst>
  <p:sldIdLst>
    <p:sldId id="10902" r:id="rId5"/>
    <p:sldId id="11451" r:id="rId6"/>
    <p:sldId id="11450" r:id="rId7"/>
    <p:sldId id="11452" r:id="rId8"/>
    <p:sldId id="10936" r:id="rId9"/>
    <p:sldId id="11453" r:id="rId10"/>
    <p:sldId id="11457" r:id="rId11"/>
    <p:sldId id="11460" r:id="rId12"/>
    <p:sldId id="11454" r:id="rId13"/>
    <p:sldId id="11433" r:id="rId14"/>
    <p:sldId id="11458" r:id="rId15"/>
    <p:sldId id="11436" r:id="rId16"/>
    <p:sldId id="11455" r:id="rId17"/>
    <p:sldId id="11446" r:id="rId18"/>
    <p:sldId id="11443" r:id="rId19"/>
    <p:sldId id="11445" r:id="rId20"/>
    <p:sldId id="11444" r:id="rId21"/>
    <p:sldId id="11447" r:id="rId22"/>
    <p:sldId id="11448" r:id="rId23"/>
    <p:sldId id="11456" r:id="rId24"/>
    <p:sldId id="11449" r:id="rId25"/>
    <p:sldId id="10904" r:id="rId26"/>
  </p:sldIdLst>
  <p:sldSz cx="12192000" cy="6858000"/>
  <p:notesSz cx="6858000" cy="9144000"/>
  <p:custDataLst>
    <p:tags r:id="rId2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965"/>
    <a:srgbClr val="CDCDCD"/>
    <a:srgbClr val="000000"/>
    <a:srgbClr val="93D3EB"/>
    <a:srgbClr val="FFFFFF"/>
    <a:srgbClr val="26BAED"/>
    <a:srgbClr val="009FE3"/>
    <a:srgbClr val="001F53"/>
    <a:srgbClr val="7BCDEB"/>
    <a:srgbClr val="FF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99D9B15-32E0-4875-B344-162DF445BEF9}" v="661" dt="2025-09-22T13:08:20.08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93" autoAdjust="0"/>
    <p:restoredTop sz="87980" autoAdjust="0"/>
  </p:normalViewPr>
  <p:slideViewPr>
    <p:cSldViewPr snapToGrid="0">
      <p:cViewPr varScale="1">
        <p:scale>
          <a:sx n="79" d="100"/>
          <a:sy n="79" d="100"/>
        </p:scale>
        <p:origin x="1104" y="27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öcker, Hans Jürgen" userId="a72664b4-e718-48b1-8ea3-32df7930c927" providerId="ADAL" clId="{691E497B-67F2-4C1B-BACD-4E89E36B9237}"/>
    <pc:docChg chg="custSel addSld delSld modSld">
      <pc:chgData name="Löcker, Hans Jürgen" userId="a72664b4-e718-48b1-8ea3-32df7930c927" providerId="ADAL" clId="{691E497B-67F2-4C1B-BACD-4E89E36B9237}" dt="2025-09-22T13:11:49.466" v="1747" actId="403"/>
      <pc:docMkLst>
        <pc:docMk/>
      </pc:docMkLst>
      <pc:sldChg chg="del">
        <pc:chgData name="Löcker, Hans Jürgen" userId="a72664b4-e718-48b1-8ea3-32df7930c927" providerId="ADAL" clId="{691E497B-67F2-4C1B-BACD-4E89E36B9237}" dt="2025-09-22T06:18:19.400" v="758" actId="47"/>
        <pc:sldMkLst>
          <pc:docMk/>
          <pc:sldMk cId="2548038862" sldId="10910"/>
        </pc:sldMkLst>
      </pc:sldChg>
      <pc:sldChg chg="del">
        <pc:chgData name="Löcker, Hans Jürgen" userId="a72664b4-e718-48b1-8ea3-32df7930c927" providerId="ADAL" clId="{691E497B-67F2-4C1B-BACD-4E89E36B9237}" dt="2025-09-22T06:18:19.400" v="758" actId="47"/>
        <pc:sldMkLst>
          <pc:docMk/>
          <pc:sldMk cId="3877199872" sldId="10917"/>
        </pc:sldMkLst>
      </pc:sldChg>
      <pc:sldChg chg="del">
        <pc:chgData name="Löcker, Hans Jürgen" userId="a72664b4-e718-48b1-8ea3-32df7930c927" providerId="ADAL" clId="{691E497B-67F2-4C1B-BACD-4E89E36B9237}" dt="2025-09-22T06:18:19.400" v="758" actId="47"/>
        <pc:sldMkLst>
          <pc:docMk/>
          <pc:sldMk cId="636937589" sldId="11404"/>
        </pc:sldMkLst>
      </pc:sldChg>
      <pc:sldChg chg="addSp modSp mod">
        <pc:chgData name="Löcker, Hans Jürgen" userId="a72664b4-e718-48b1-8ea3-32df7930c927" providerId="ADAL" clId="{691E497B-67F2-4C1B-BACD-4E89E36B9237}" dt="2025-09-22T06:30:25.216" v="1531" actId="14100"/>
        <pc:sldMkLst>
          <pc:docMk/>
          <pc:sldMk cId="738759288" sldId="11433"/>
        </pc:sldMkLst>
        <pc:spChg chg="mod">
          <ac:chgData name="Löcker, Hans Jürgen" userId="a72664b4-e718-48b1-8ea3-32df7930c927" providerId="ADAL" clId="{691E497B-67F2-4C1B-BACD-4E89E36B9237}" dt="2025-09-22T06:30:25.216" v="1531" actId="14100"/>
          <ac:spMkLst>
            <pc:docMk/>
            <pc:sldMk cId="738759288" sldId="11433"/>
            <ac:spMk id="3" creationId="{48383A0E-355D-5048-AF49-91F4D07E0E5B}"/>
          </ac:spMkLst>
        </pc:spChg>
        <pc:picChg chg="add mod">
          <ac:chgData name="Löcker, Hans Jürgen" userId="a72664b4-e718-48b1-8ea3-32df7930c927" providerId="ADAL" clId="{691E497B-67F2-4C1B-BACD-4E89E36B9237}" dt="2025-09-22T06:30:19.418" v="1530" actId="1076"/>
          <ac:picMkLst>
            <pc:docMk/>
            <pc:sldMk cId="738759288" sldId="11433"/>
            <ac:picMk id="6" creationId="{046B7197-6DE2-0B8F-5C5C-4FCC10CFAEDD}"/>
          </ac:picMkLst>
        </pc:picChg>
        <pc:picChg chg="add mod">
          <ac:chgData name="Löcker, Hans Jürgen" userId="a72664b4-e718-48b1-8ea3-32df7930c927" providerId="ADAL" clId="{691E497B-67F2-4C1B-BACD-4E89E36B9237}" dt="2025-09-22T06:30:19.418" v="1530" actId="1076"/>
          <ac:picMkLst>
            <pc:docMk/>
            <pc:sldMk cId="738759288" sldId="11433"/>
            <ac:picMk id="8" creationId="{FE048E2C-024C-D957-D869-03C4A09C58CE}"/>
          </ac:picMkLst>
        </pc:picChg>
        <pc:picChg chg="add mod">
          <ac:chgData name="Löcker, Hans Jürgen" userId="a72664b4-e718-48b1-8ea3-32df7930c927" providerId="ADAL" clId="{691E497B-67F2-4C1B-BACD-4E89E36B9237}" dt="2025-09-22T06:30:19.418" v="1530" actId="1076"/>
          <ac:picMkLst>
            <pc:docMk/>
            <pc:sldMk cId="738759288" sldId="11433"/>
            <ac:picMk id="10" creationId="{93E2AA33-7EFE-2F8B-A104-3D742E4FC402}"/>
          </ac:picMkLst>
        </pc:picChg>
      </pc:sldChg>
      <pc:sldChg chg="modSp del mod">
        <pc:chgData name="Löcker, Hans Jürgen" userId="a72664b4-e718-48b1-8ea3-32df7930c927" providerId="ADAL" clId="{691E497B-67F2-4C1B-BACD-4E89E36B9237}" dt="2025-09-21T14:33:06.072" v="491" actId="47"/>
        <pc:sldMkLst>
          <pc:docMk/>
          <pc:sldMk cId="1169234355" sldId="11434"/>
        </pc:sldMkLst>
        <pc:spChg chg="mod">
          <ac:chgData name="Löcker, Hans Jürgen" userId="a72664b4-e718-48b1-8ea3-32df7930c927" providerId="ADAL" clId="{691E497B-67F2-4C1B-BACD-4E89E36B9237}" dt="2025-09-21T14:26:20.074" v="2" actId="207"/>
          <ac:spMkLst>
            <pc:docMk/>
            <pc:sldMk cId="1169234355" sldId="11434"/>
            <ac:spMk id="18" creationId="{F2B4DB5F-93A9-F795-D783-95262C4C9139}"/>
          </ac:spMkLst>
        </pc:spChg>
        <pc:spChg chg="mod">
          <ac:chgData name="Löcker, Hans Jürgen" userId="a72664b4-e718-48b1-8ea3-32df7930c927" providerId="ADAL" clId="{691E497B-67F2-4C1B-BACD-4E89E36B9237}" dt="2025-09-21T14:26:20.075" v="4" actId="207"/>
          <ac:spMkLst>
            <pc:docMk/>
            <pc:sldMk cId="1169234355" sldId="11434"/>
            <ac:spMk id="26" creationId="{0CE6C9C1-CFC3-D506-5873-F8B499DF35AA}"/>
          </ac:spMkLst>
        </pc:spChg>
        <pc:spChg chg="mod">
          <ac:chgData name="Löcker, Hans Jürgen" userId="a72664b4-e718-48b1-8ea3-32df7930c927" providerId="ADAL" clId="{691E497B-67F2-4C1B-BACD-4E89E36B9237}" dt="2025-09-21T14:26:20.076" v="6" actId="207"/>
          <ac:spMkLst>
            <pc:docMk/>
            <pc:sldMk cId="1169234355" sldId="11434"/>
            <ac:spMk id="32" creationId="{E045C1A5-354C-1CFA-EC61-D4B245BC691D}"/>
          </ac:spMkLst>
        </pc:spChg>
        <pc:graphicFrameChg chg="mod">
          <ac:chgData name="Löcker, Hans Jürgen" userId="a72664b4-e718-48b1-8ea3-32df7930c927" providerId="ADAL" clId="{691E497B-67F2-4C1B-BACD-4E89E36B9237}" dt="2025-09-21T14:26:20.097" v="8"/>
          <ac:graphicFrameMkLst>
            <pc:docMk/>
            <pc:sldMk cId="1169234355" sldId="11434"/>
            <ac:graphicFrameMk id="66" creationId="{B79C1E49-5670-324A-C1C3-4C2BA38C5813}"/>
          </ac:graphicFrameMkLst>
        </pc:graphicFrameChg>
      </pc:sldChg>
      <pc:sldChg chg="addSp delSp modSp del mod">
        <pc:chgData name="Löcker, Hans Jürgen" userId="a72664b4-e718-48b1-8ea3-32df7930c927" providerId="ADAL" clId="{691E497B-67F2-4C1B-BACD-4E89E36B9237}" dt="2025-09-22T06:18:29.734" v="759" actId="2696"/>
        <pc:sldMkLst>
          <pc:docMk/>
          <pc:sldMk cId="1445516947" sldId="11435"/>
        </pc:sldMkLst>
        <pc:spChg chg="mod">
          <ac:chgData name="Löcker, Hans Jürgen" userId="a72664b4-e718-48b1-8ea3-32df7930c927" providerId="ADAL" clId="{691E497B-67F2-4C1B-BACD-4E89E36B9237}" dt="2025-09-21T14:36:33.930" v="757" actId="20577"/>
          <ac:spMkLst>
            <pc:docMk/>
            <pc:sldMk cId="1445516947" sldId="11435"/>
            <ac:spMk id="4" creationId="{7DB6EB76-BD05-ED8E-7231-DDC9CCAAF5B8}"/>
          </ac:spMkLst>
        </pc:spChg>
        <pc:spChg chg="del">
          <ac:chgData name="Löcker, Hans Jürgen" userId="a72664b4-e718-48b1-8ea3-32df7930c927" providerId="ADAL" clId="{691E497B-67F2-4C1B-BACD-4E89E36B9237}" dt="2025-09-21T14:36:25.596" v="636"/>
          <ac:spMkLst>
            <pc:docMk/>
            <pc:sldMk cId="1445516947" sldId="11435"/>
            <ac:spMk id="6" creationId="{0C21CDB7-F3B0-A37D-D7E4-94C453C2A627}"/>
          </ac:spMkLst>
        </pc:spChg>
        <pc:spChg chg="del">
          <ac:chgData name="Löcker, Hans Jürgen" userId="a72664b4-e718-48b1-8ea3-32df7930c927" providerId="ADAL" clId="{691E497B-67F2-4C1B-BACD-4E89E36B9237}" dt="2025-09-21T14:36:25.589" v="630"/>
          <ac:spMkLst>
            <pc:docMk/>
            <pc:sldMk cId="1445516947" sldId="11435"/>
            <ac:spMk id="8" creationId="{0D0868A4-1EDA-C2C7-03AC-24C15BEC640D}"/>
          </ac:spMkLst>
        </pc:spChg>
        <pc:spChg chg="del">
          <ac:chgData name="Löcker, Hans Jürgen" userId="a72664b4-e718-48b1-8ea3-32df7930c927" providerId="ADAL" clId="{691E497B-67F2-4C1B-BACD-4E89E36B9237}" dt="2025-09-21T14:36:25.584" v="626"/>
          <ac:spMkLst>
            <pc:docMk/>
            <pc:sldMk cId="1445516947" sldId="11435"/>
            <ac:spMk id="10" creationId="{0DF36F14-CF92-4CAC-7D01-777FDA27854A}"/>
          </ac:spMkLst>
        </pc:spChg>
        <pc:spChg chg="del">
          <ac:chgData name="Löcker, Hans Jürgen" userId="a72664b4-e718-48b1-8ea3-32df7930c927" providerId="ADAL" clId="{691E497B-67F2-4C1B-BACD-4E89E36B9237}" dt="2025-09-21T14:36:25.566" v="612"/>
          <ac:spMkLst>
            <pc:docMk/>
            <pc:sldMk cId="1445516947" sldId="11435"/>
            <ac:spMk id="11" creationId="{A9E72CE3-279F-6114-249E-B18BC11AA6DF}"/>
          </ac:spMkLst>
        </pc:spChg>
        <pc:spChg chg="del">
          <ac:chgData name="Löcker, Hans Jürgen" userId="a72664b4-e718-48b1-8ea3-32df7930c927" providerId="ADAL" clId="{691E497B-67F2-4C1B-BACD-4E89E36B9237}" dt="2025-09-21T14:36:25.509" v="572"/>
          <ac:spMkLst>
            <pc:docMk/>
            <pc:sldMk cId="1445516947" sldId="11435"/>
            <ac:spMk id="12" creationId="{D278E843-4D53-BF9B-A720-CCF30B5C8B1E}"/>
          </ac:spMkLst>
        </pc:spChg>
        <pc:spChg chg="del">
          <ac:chgData name="Löcker, Hans Jürgen" userId="a72664b4-e718-48b1-8ea3-32df7930c927" providerId="ADAL" clId="{691E497B-67F2-4C1B-BACD-4E89E36B9237}" dt="2025-09-21T14:36:25.497" v="564"/>
          <ac:spMkLst>
            <pc:docMk/>
            <pc:sldMk cId="1445516947" sldId="11435"/>
            <ac:spMk id="13" creationId="{CDFD7C76-3098-DBB2-DC12-4B3937CCE4B9}"/>
          </ac:spMkLst>
        </pc:spChg>
        <pc:spChg chg="del">
          <ac:chgData name="Löcker, Hans Jürgen" userId="a72664b4-e718-48b1-8ea3-32df7930c927" providerId="ADAL" clId="{691E497B-67F2-4C1B-BACD-4E89E36B9237}" dt="2025-09-21T14:36:25.606" v="643"/>
          <ac:spMkLst>
            <pc:docMk/>
            <pc:sldMk cId="1445516947" sldId="11435"/>
            <ac:spMk id="14" creationId="{02B9B39E-8BDB-DD91-00E2-4D23146C3399}"/>
          </ac:spMkLst>
        </pc:spChg>
        <pc:spChg chg="del">
          <ac:chgData name="Löcker, Hans Jürgen" userId="a72664b4-e718-48b1-8ea3-32df7930c927" providerId="ADAL" clId="{691E497B-67F2-4C1B-BACD-4E89E36B9237}" dt="2025-09-21T14:36:25.592" v="632"/>
          <ac:spMkLst>
            <pc:docMk/>
            <pc:sldMk cId="1445516947" sldId="11435"/>
            <ac:spMk id="15" creationId="{63D43C97-0A03-ACB3-1A3C-0B7128E9133C}"/>
          </ac:spMkLst>
        </pc:spChg>
        <pc:spChg chg="del">
          <ac:chgData name="Löcker, Hans Jürgen" userId="a72664b4-e718-48b1-8ea3-32df7930c927" providerId="ADAL" clId="{691E497B-67F2-4C1B-BACD-4E89E36B9237}" dt="2025-09-21T14:36:25.589" v="628"/>
          <ac:spMkLst>
            <pc:docMk/>
            <pc:sldMk cId="1445516947" sldId="11435"/>
            <ac:spMk id="16" creationId="{A8F67199-7911-EEED-076C-B26D587FA883}"/>
          </ac:spMkLst>
        </pc:spChg>
        <pc:spChg chg="del">
          <ac:chgData name="Löcker, Hans Jürgen" userId="a72664b4-e718-48b1-8ea3-32df7930c927" providerId="ADAL" clId="{691E497B-67F2-4C1B-BACD-4E89E36B9237}" dt="2025-09-21T14:36:25.569" v="614"/>
          <ac:spMkLst>
            <pc:docMk/>
            <pc:sldMk cId="1445516947" sldId="11435"/>
            <ac:spMk id="17" creationId="{AECC8492-3023-7807-B8AB-CA387F366618}"/>
          </ac:spMkLst>
        </pc:spChg>
        <pc:spChg chg="del">
          <ac:chgData name="Löcker, Hans Jürgen" userId="a72664b4-e718-48b1-8ea3-32df7930c927" providerId="ADAL" clId="{691E497B-67F2-4C1B-BACD-4E89E36B9237}" dt="2025-09-21T14:36:25.543" v="596"/>
          <ac:spMkLst>
            <pc:docMk/>
            <pc:sldMk cId="1445516947" sldId="11435"/>
            <ac:spMk id="18" creationId="{9D39CF7C-E0A3-0F9E-F878-CA8017EF88A8}"/>
          </ac:spMkLst>
        </pc:spChg>
        <pc:spChg chg="del">
          <ac:chgData name="Löcker, Hans Jürgen" userId="a72664b4-e718-48b1-8ea3-32df7930c927" providerId="ADAL" clId="{691E497B-67F2-4C1B-BACD-4E89E36B9237}" dt="2025-09-21T14:36:25.397" v="500"/>
          <ac:spMkLst>
            <pc:docMk/>
            <pc:sldMk cId="1445516947" sldId="11435"/>
            <ac:spMk id="23" creationId="{D9A7F747-30C8-ED0C-9388-C5DB8835FA54}"/>
          </ac:spMkLst>
        </pc:spChg>
        <pc:spChg chg="del">
          <ac:chgData name="Löcker, Hans Jürgen" userId="a72664b4-e718-48b1-8ea3-32df7930c927" providerId="ADAL" clId="{691E497B-67F2-4C1B-BACD-4E89E36B9237}" dt="2025-09-21T14:36:25.402" v="502"/>
          <ac:spMkLst>
            <pc:docMk/>
            <pc:sldMk cId="1445516947" sldId="11435"/>
            <ac:spMk id="31" creationId="{3E60CD69-39F7-7E8F-83EC-C75B0C9E2B3B}"/>
          </ac:spMkLst>
        </pc:spChg>
        <pc:spChg chg="del">
          <ac:chgData name="Löcker, Hans Jürgen" userId="a72664b4-e718-48b1-8ea3-32df7930c927" providerId="ADAL" clId="{691E497B-67F2-4C1B-BACD-4E89E36B9237}" dt="2025-09-21T14:36:25.624" v="684"/>
          <ac:spMkLst>
            <pc:docMk/>
            <pc:sldMk cId="1445516947" sldId="11435"/>
            <ac:spMk id="38" creationId="{6AAE6832-71C0-8E91-40F5-2C5C0A8952E1}"/>
          </ac:spMkLst>
        </pc:spChg>
        <pc:spChg chg="del">
          <ac:chgData name="Löcker, Hans Jürgen" userId="a72664b4-e718-48b1-8ea3-32df7930c927" providerId="ADAL" clId="{691E497B-67F2-4C1B-BACD-4E89E36B9237}" dt="2025-09-21T14:36:25.623" v="683"/>
          <ac:spMkLst>
            <pc:docMk/>
            <pc:sldMk cId="1445516947" sldId="11435"/>
            <ac:spMk id="39" creationId="{4A0BE22B-1895-B8AE-C0F2-86C8FCF6DABC}"/>
          </ac:spMkLst>
        </pc:spChg>
        <pc:spChg chg="del">
          <ac:chgData name="Löcker, Hans Jürgen" userId="a72664b4-e718-48b1-8ea3-32df7930c927" providerId="ADAL" clId="{691E497B-67F2-4C1B-BACD-4E89E36B9237}" dt="2025-09-21T14:36:25.623" v="682"/>
          <ac:spMkLst>
            <pc:docMk/>
            <pc:sldMk cId="1445516947" sldId="11435"/>
            <ac:spMk id="40" creationId="{09321D70-601A-8846-6473-0773D70C1435}"/>
          </ac:spMkLst>
        </pc:spChg>
        <pc:spChg chg="del">
          <ac:chgData name="Löcker, Hans Jürgen" userId="a72664b4-e718-48b1-8ea3-32df7930c927" providerId="ADAL" clId="{691E497B-67F2-4C1B-BACD-4E89E36B9237}" dt="2025-09-21T14:36:25.604" v="641"/>
          <ac:spMkLst>
            <pc:docMk/>
            <pc:sldMk cId="1445516947" sldId="11435"/>
            <ac:spMk id="41" creationId="{7DA3E8DC-A993-A757-5BE0-9DB66E5BEBBC}"/>
          </ac:spMkLst>
        </pc:spChg>
        <pc:spChg chg="del">
          <ac:chgData name="Löcker, Hans Jürgen" userId="a72664b4-e718-48b1-8ea3-32df7930c927" providerId="ADAL" clId="{691E497B-67F2-4C1B-BACD-4E89E36B9237}" dt="2025-09-21T14:36:25.603" v="640"/>
          <ac:spMkLst>
            <pc:docMk/>
            <pc:sldMk cId="1445516947" sldId="11435"/>
            <ac:spMk id="42" creationId="{DD3AF7F6-E5EA-C2A0-BA90-8AB430D05CC2}"/>
          </ac:spMkLst>
        </pc:spChg>
        <pc:spChg chg="del">
          <ac:chgData name="Löcker, Hans Jürgen" userId="a72664b4-e718-48b1-8ea3-32df7930c927" providerId="ADAL" clId="{691E497B-67F2-4C1B-BACD-4E89E36B9237}" dt="2025-09-21T14:36:25.392" v="498"/>
          <ac:spMkLst>
            <pc:docMk/>
            <pc:sldMk cId="1445516947" sldId="11435"/>
            <ac:spMk id="45" creationId="{18C4F91B-F403-1A17-AFA6-3A91BEEC5BC9}"/>
          </ac:spMkLst>
        </pc:spChg>
        <pc:spChg chg="del">
          <ac:chgData name="Löcker, Hans Jürgen" userId="a72664b4-e718-48b1-8ea3-32df7930c927" providerId="ADAL" clId="{691E497B-67F2-4C1B-BACD-4E89E36B9237}" dt="2025-09-21T14:36:25.625" v="686"/>
          <ac:spMkLst>
            <pc:docMk/>
            <pc:sldMk cId="1445516947" sldId="11435"/>
            <ac:spMk id="52" creationId="{C77EC091-D90B-F0FF-75E5-3596730C954A}"/>
          </ac:spMkLst>
        </pc:spChg>
        <pc:spChg chg="del">
          <ac:chgData name="Löcker, Hans Jürgen" userId="a72664b4-e718-48b1-8ea3-32df7930c927" providerId="ADAL" clId="{691E497B-67F2-4C1B-BACD-4E89E36B9237}" dt="2025-09-21T14:36:25.624" v="685"/>
          <ac:spMkLst>
            <pc:docMk/>
            <pc:sldMk cId="1445516947" sldId="11435"/>
            <ac:spMk id="54" creationId="{3B46CDB4-8582-C9B5-9254-612B6CA7C3D7}"/>
          </ac:spMkLst>
        </pc:spChg>
        <pc:spChg chg="del">
          <ac:chgData name="Löcker, Hans Jürgen" userId="a72664b4-e718-48b1-8ea3-32df7930c927" providerId="ADAL" clId="{691E497B-67F2-4C1B-BACD-4E89E36B9237}" dt="2025-09-21T14:36:25.584" v="624"/>
          <ac:spMkLst>
            <pc:docMk/>
            <pc:sldMk cId="1445516947" sldId="11435"/>
            <ac:spMk id="55" creationId="{D3237924-63A1-366B-84F1-FB78B54C3ABC}"/>
          </ac:spMkLst>
        </pc:spChg>
        <pc:spChg chg="del">
          <ac:chgData name="Löcker, Hans Jürgen" userId="a72664b4-e718-48b1-8ea3-32df7930c927" providerId="ADAL" clId="{691E497B-67F2-4C1B-BACD-4E89E36B9237}" dt="2025-09-21T14:36:25.387" v="496"/>
          <ac:spMkLst>
            <pc:docMk/>
            <pc:sldMk cId="1445516947" sldId="11435"/>
            <ac:spMk id="58" creationId="{097B57B1-2A25-06FB-43A2-A1CB8F43D892}"/>
          </ac:spMkLst>
        </pc:spChg>
        <pc:spChg chg="del">
          <ac:chgData name="Löcker, Hans Jürgen" userId="a72664b4-e718-48b1-8ea3-32df7930c927" providerId="ADAL" clId="{691E497B-67F2-4C1B-BACD-4E89E36B9237}" dt="2025-09-21T14:36:25.486" v="556"/>
          <ac:spMkLst>
            <pc:docMk/>
            <pc:sldMk cId="1445516947" sldId="11435"/>
            <ac:spMk id="67" creationId="{8360F35C-B56A-2EFD-6363-6A876A597AA5}"/>
          </ac:spMkLst>
        </pc:spChg>
        <pc:spChg chg="del">
          <ac:chgData name="Löcker, Hans Jürgen" userId="a72664b4-e718-48b1-8ea3-32df7930c927" providerId="ADAL" clId="{691E497B-67F2-4C1B-BACD-4E89E36B9237}" dt="2025-09-21T14:36:25.537" v="592"/>
          <ac:spMkLst>
            <pc:docMk/>
            <pc:sldMk cId="1445516947" sldId="11435"/>
            <ac:spMk id="69" creationId="{DD17F438-974C-33F2-6DEA-0035221A58EB}"/>
          </ac:spMkLst>
        </pc:spChg>
        <pc:spChg chg="del">
          <ac:chgData name="Löcker, Hans Jürgen" userId="a72664b4-e718-48b1-8ea3-32df7930c927" providerId="ADAL" clId="{691E497B-67F2-4C1B-BACD-4E89E36B9237}" dt="2025-09-21T14:36:25.605" v="642"/>
          <ac:spMkLst>
            <pc:docMk/>
            <pc:sldMk cId="1445516947" sldId="11435"/>
            <ac:spMk id="71" creationId="{8EEDB1EF-4084-BD63-303C-892BC01AB467}"/>
          </ac:spMkLst>
        </pc:spChg>
        <pc:spChg chg="del">
          <ac:chgData name="Löcker, Hans Jürgen" userId="a72664b4-e718-48b1-8ea3-32df7930c927" providerId="ADAL" clId="{691E497B-67F2-4C1B-BACD-4E89E36B9237}" dt="2025-09-21T14:36:25.596" v="635"/>
          <ac:spMkLst>
            <pc:docMk/>
            <pc:sldMk cId="1445516947" sldId="11435"/>
            <ac:spMk id="74" creationId="{A0BE33D3-CBF8-8EC8-B661-C8AD68496ED2}"/>
          </ac:spMkLst>
        </pc:spChg>
        <pc:spChg chg="del">
          <ac:chgData name="Löcker, Hans Jürgen" userId="a72664b4-e718-48b1-8ea3-32df7930c927" providerId="ADAL" clId="{691E497B-67F2-4C1B-BACD-4E89E36B9237}" dt="2025-09-21T14:36:25.589" v="629"/>
          <ac:spMkLst>
            <pc:docMk/>
            <pc:sldMk cId="1445516947" sldId="11435"/>
            <ac:spMk id="76" creationId="{86E03A45-4816-2CDA-AE15-24D91FF504D1}"/>
          </ac:spMkLst>
        </pc:spChg>
        <pc:spChg chg="del">
          <ac:chgData name="Löcker, Hans Jürgen" userId="a72664b4-e718-48b1-8ea3-32df7930c927" providerId="ADAL" clId="{691E497B-67F2-4C1B-BACD-4E89E36B9237}" dt="2025-09-21T14:36:25.584" v="625"/>
          <ac:spMkLst>
            <pc:docMk/>
            <pc:sldMk cId="1445516947" sldId="11435"/>
            <ac:spMk id="78" creationId="{0BCE301F-D486-2080-DE2E-38C9A8C07810}"/>
          </ac:spMkLst>
        </pc:spChg>
        <pc:spChg chg="del">
          <ac:chgData name="Löcker, Hans Jürgen" userId="a72664b4-e718-48b1-8ea3-32df7930c927" providerId="ADAL" clId="{691E497B-67F2-4C1B-BACD-4E89E36B9237}" dt="2025-09-21T14:36:25.566" v="611"/>
          <ac:spMkLst>
            <pc:docMk/>
            <pc:sldMk cId="1445516947" sldId="11435"/>
            <ac:spMk id="80" creationId="{DB375E28-A7C9-3EC9-C6FB-366C99AB6B10}"/>
          </ac:spMkLst>
        </pc:spChg>
        <pc:spChg chg="del">
          <ac:chgData name="Löcker, Hans Jürgen" userId="a72664b4-e718-48b1-8ea3-32df7930c927" providerId="ADAL" clId="{691E497B-67F2-4C1B-BACD-4E89E36B9237}" dt="2025-09-21T14:36:25.486" v="555"/>
          <ac:spMkLst>
            <pc:docMk/>
            <pc:sldMk cId="1445516947" sldId="11435"/>
            <ac:spMk id="82" creationId="{3A9C896C-C1E2-08E8-604C-70532C67A6D0}"/>
          </ac:spMkLst>
        </pc:spChg>
        <pc:spChg chg="del">
          <ac:chgData name="Löcker, Hans Jürgen" userId="a72664b4-e718-48b1-8ea3-32df7930c927" providerId="ADAL" clId="{691E497B-67F2-4C1B-BACD-4E89E36B9237}" dt="2025-09-21T14:36:25.522" v="582"/>
          <ac:spMkLst>
            <pc:docMk/>
            <pc:sldMk cId="1445516947" sldId="11435"/>
            <ac:spMk id="84" creationId="{4B0559B1-9E43-F66F-8120-8C792DEA001E}"/>
          </ac:spMkLst>
        </pc:spChg>
        <pc:spChg chg="del">
          <ac:chgData name="Löcker, Hans Jürgen" userId="a72664b4-e718-48b1-8ea3-32df7930c927" providerId="ADAL" clId="{691E497B-67F2-4C1B-BACD-4E89E36B9237}" dt="2025-09-21T14:36:25.471" v="546"/>
          <ac:spMkLst>
            <pc:docMk/>
            <pc:sldMk cId="1445516947" sldId="11435"/>
            <ac:spMk id="86" creationId="{F322A3F7-63E3-58B5-84BF-A5B87B94998F}"/>
          </ac:spMkLst>
        </pc:spChg>
        <pc:spChg chg="del">
          <ac:chgData name="Löcker, Hans Jürgen" userId="a72664b4-e718-48b1-8ea3-32df7930c927" providerId="ADAL" clId="{691E497B-67F2-4C1B-BACD-4E89E36B9237}" dt="2025-09-21T14:36:25.454" v="536"/>
          <ac:spMkLst>
            <pc:docMk/>
            <pc:sldMk cId="1445516947" sldId="11435"/>
            <ac:spMk id="88" creationId="{5A37E1BD-0684-D1CA-2E4D-EBB5CEC8EFAE}"/>
          </ac:spMkLst>
        </pc:spChg>
        <pc:spChg chg="del">
          <ac:chgData name="Löcker, Hans Jürgen" userId="a72664b4-e718-48b1-8ea3-32df7930c927" providerId="ADAL" clId="{691E497B-67F2-4C1B-BACD-4E89E36B9237}" dt="2025-09-21T14:36:25.429" v="520"/>
          <ac:spMkLst>
            <pc:docMk/>
            <pc:sldMk cId="1445516947" sldId="11435"/>
            <ac:spMk id="90" creationId="{936E000B-00FC-4175-2E14-5FD217CFDC2E}"/>
          </ac:spMkLst>
        </pc:spChg>
        <pc:spChg chg="del">
          <ac:chgData name="Löcker, Hans Jürgen" userId="a72664b4-e718-48b1-8ea3-32df7930c927" providerId="ADAL" clId="{691E497B-67F2-4C1B-BACD-4E89E36B9237}" dt="2025-09-21T14:36:25.537" v="591"/>
          <ac:spMkLst>
            <pc:docMk/>
            <pc:sldMk cId="1445516947" sldId="11435"/>
            <ac:spMk id="92" creationId="{62ECED3A-9E48-E456-247A-30BA2D886FCB}"/>
          </ac:spMkLst>
        </pc:spChg>
        <pc:spChg chg="del">
          <ac:chgData name="Löcker, Hans Jürgen" userId="a72664b4-e718-48b1-8ea3-32df7930c927" providerId="ADAL" clId="{691E497B-67F2-4C1B-BACD-4E89E36B9237}" dt="2025-09-21T14:36:25.508" v="571"/>
          <ac:spMkLst>
            <pc:docMk/>
            <pc:sldMk cId="1445516947" sldId="11435"/>
            <ac:spMk id="94" creationId="{48A35098-E036-27DC-9FD1-92796BA334FC}"/>
          </ac:spMkLst>
        </pc:spChg>
        <pc:spChg chg="del">
          <ac:chgData name="Löcker, Hans Jürgen" userId="a72664b4-e718-48b1-8ea3-32df7930c927" providerId="ADAL" clId="{691E497B-67F2-4C1B-BACD-4E89E36B9237}" dt="2025-09-21T14:36:25.497" v="563"/>
          <ac:spMkLst>
            <pc:docMk/>
            <pc:sldMk cId="1445516947" sldId="11435"/>
            <ac:spMk id="96" creationId="{5E6BF95D-AE43-0FEF-76CF-BB76242E2C7F}"/>
          </ac:spMkLst>
        </pc:spChg>
        <pc:spChg chg="del">
          <ac:chgData name="Löcker, Hans Jürgen" userId="a72664b4-e718-48b1-8ea3-32df7930c927" providerId="ADAL" clId="{691E497B-67F2-4C1B-BACD-4E89E36B9237}" dt="2025-09-21T14:36:25.522" v="581"/>
          <ac:spMkLst>
            <pc:docMk/>
            <pc:sldMk cId="1445516947" sldId="11435"/>
            <ac:spMk id="98" creationId="{E0CCAA24-DAD8-323C-468E-6F76F38C3F06}"/>
          </ac:spMkLst>
        </pc:spChg>
        <pc:spChg chg="del">
          <ac:chgData name="Löcker, Hans Jürgen" userId="a72664b4-e718-48b1-8ea3-32df7930c927" providerId="ADAL" clId="{691E497B-67F2-4C1B-BACD-4E89E36B9237}" dt="2025-09-21T14:36:25.471" v="545"/>
          <ac:spMkLst>
            <pc:docMk/>
            <pc:sldMk cId="1445516947" sldId="11435"/>
            <ac:spMk id="100" creationId="{BF604273-532A-1D0B-8878-316BAE0F1CF0}"/>
          </ac:spMkLst>
        </pc:spChg>
        <pc:spChg chg="del">
          <ac:chgData name="Löcker, Hans Jürgen" userId="a72664b4-e718-48b1-8ea3-32df7930c927" providerId="ADAL" clId="{691E497B-67F2-4C1B-BACD-4E89E36B9237}" dt="2025-09-21T14:36:25.454" v="535"/>
          <ac:spMkLst>
            <pc:docMk/>
            <pc:sldMk cId="1445516947" sldId="11435"/>
            <ac:spMk id="102" creationId="{77D3E100-1877-7623-28BB-E3E812B12A15}"/>
          </ac:spMkLst>
        </pc:spChg>
        <pc:spChg chg="del">
          <ac:chgData name="Löcker, Hans Jürgen" userId="a72664b4-e718-48b1-8ea3-32df7930c927" providerId="ADAL" clId="{691E497B-67F2-4C1B-BACD-4E89E36B9237}" dt="2025-09-21T14:36:25.428" v="519"/>
          <ac:spMkLst>
            <pc:docMk/>
            <pc:sldMk cId="1445516947" sldId="11435"/>
            <ac:spMk id="104" creationId="{A57E7945-BBF0-6098-38FF-9022B858CEB5}"/>
          </ac:spMkLst>
        </pc:spChg>
        <pc:spChg chg="del">
          <ac:chgData name="Löcker, Hans Jürgen" userId="a72664b4-e718-48b1-8ea3-32df7930c927" providerId="ADAL" clId="{691E497B-67F2-4C1B-BACD-4E89E36B9237}" dt="2025-09-21T14:36:25.631" v="700"/>
          <ac:spMkLst>
            <pc:docMk/>
            <pc:sldMk cId="1445516947" sldId="11435"/>
            <ac:spMk id="406" creationId="{79F45812-A321-42ED-E494-4B222B38D3B1}"/>
          </ac:spMkLst>
        </pc:spChg>
        <pc:spChg chg="del">
          <ac:chgData name="Löcker, Hans Jürgen" userId="a72664b4-e718-48b1-8ea3-32df7930c927" providerId="ADAL" clId="{691E497B-67F2-4C1B-BACD-4E89E36B9237}" dt="2025-09-21T14:36:25.630" v="699"/>
          <ac:spMkLst>
            <pc:docMk/>
            <pc:sldMk cId="1445516947" sldId="11435"/>
            <ac:spMk id="407" creationId="{D730B2EA-2714-4EDF-1A8C-701FD3988F6A}"/>
          </ac:spMkLst>
        </pc:spChg>
        <pc:spChg chg="del">
          <ac:chgData name="Löcker, Hans Jürgen" userId="a72664b4-e718-48b1-8ea3-32df7930c927" providerId="ADAL" clId="{691E497B-67F2-4C1B-BACD-4E89E36B9237}" dt="2025-09-21T14:36:25.632" v="704"/>
          <ac:spMkLst>
            <pc:docMk/>
            <pc:sldMk cId="1445516947" sldId="11435"/>
            <ac:spMk id="419" creationId="{FE375D0B-95B2-E687-6F97-63D84B30322B}"/>
          </ac:spMkLst>
        </pc:spChg>
        <pc:spChg chg="del">
          <ac:chgData name="Löcker, Hans Jürgen" userId="a72664b4-e718-48b1-8ea3-32df7930c927" providerId="ADAL" clId="{691E497B-67F2-4C1B-BACD-4E89E36B9237}" dt="2025-09-21T14:36:25.596" v="634"/>
          <ac:spMkLst>
            <pc:docMk/>
            <pc:sldMk cId="1445516947" sldId="11435"/>
            <ac:spMk id="447" creationId="{FBD1A0DD-135E-1C37-96E5-776A0DD7687D}"/>
          </ac:spMkLst>
        </pc:spChg>
        <pc:spChg chg="del">
          <ac:chgData name="Löcker, Hans Jürgen" userId="a72664b4-e718-48b1-8ea3-32df7930c927" providerId="ADAL" clId="{691E497B-67F2-4C1B-BACD-4E89E36B9237}" dt="2025-09-21T14:36:25.432" v="522"/>
          <ac:spMkLst>
            <pc:docMk/>
            <pc:sldMk cId="1445516947" sldId="11435"/>
            <ac:spMk id="448" creationId="{BEC102B7-0142-7494-2363-2BE70DE34248}"/>
          </ac:spMkLst>
        </pc:spChg>
        <pc:spChg chg="del">
          <ac:chgData name="Löcker, Hans Jürgen" userId="a72664b4-e718-48b1-8ea3-32df7930c927" providerId="ADAL" clId="{691E497B-67F2-4C1B-BACD-4E89E36B9237}" dt="2025-09-21T14:36:25.405" v="504"/>
          <ac:spMkLst>
            <pc:docMk/>
            <pc:sldMk cId="1445516947" sldId="11435"/>
            <ac:spMk id="449" creationId="{E1865F1F-3929-35F3-CA7F-E96B6F297B82}"/>
          </ac:spMkLst>
        </pc:spChg>
        <pc:spChg chg="del">
          <ac:chgData name="Löcker, Hans Jürgen" userId="a72664b4-e718-48b1-8ea3-32df7930c927" providerId="ADAL" clId="{691E497B-67F2-4C1B-BACD-4E89E36B9237}" dt="2025-09-21T14:36:25.606" v="644"/>
          <ac:spMkLst>
            <pc:docMk/>
            <pc:sldMk cId="1445516947" sldId="11435"/>
            <ac:spMk id="450" creationId="{D8C5EC2E-EF9E-4206-2292-1502AA2A3352}"/>
          </ac:spMkLst>
        </pc:spChg>
        <pc:spChg chg="del">
          <ac:chgData name="Löcker, Hans Jürgen" userId="a72664b4-e718-48b1-8ea3-32df7930c927" providerId="ADAL" clId="{691E497B-67F2-4C1B-BACD-4E89E36B9237}" dt="2025-09-21T14:36:25.502" v="566"/>
          <ac:spMkLst>
            <pc:docMk/>
            <pc:sldMk cId="1445516947" sldId="11435"/>
            <ac:spMk id="451" creationId="{38F74E8B-12E7-6724-BA4D-3C6242C3F826}"/>
          </ac:spMkLst>
        </pc:spChg>
        <pc:spChg chg="add mod">
          <ac:chgData name="Löcker, Hans Jürgen" userId="a72664b4-e718-48b1-8ea3-32df7930c927" providerId="ADAL" clId="{691E497B-67F2-4C1B-BACD-4E89E36B9237}" dt="2025-09-21T14:35:17.742" v="492"/>
          <ac:spMkLst>
            <pc:docMk/>
            <pc:sldMk cId="1445516947" sldId="11435"/>
            <ac:spMk id="454" creationId="{FA7B043F-F8DE-F36D-A8A0-B02F131C7C2D}"/>
          </ac:spMkLst>
        </pc:spChg>
        <pc:spChg chg="del">
          <ac:chgData name="Löcker, Hans Jürgen" userId="a72664b4-e718-48b1-8ea3-32df7930c927" providerId="ADAL" clId="{691E497B-67F2-4C1B-BACD-4E89E36B9237}" dt="2025-09-21T14:36:25.512" v="574"/>
          <ac:spMkLst>
            <pc:docMk/>
            <pc:sldMk cId="1445516947" sldId="11435"/>
            <ac:spMk id="462" creationId="{4E356F88-B6BB-C80E-2473-DF407983349C}"/>
          </ac:spMkLst>
        </pc:spChg>
        <pc:spChg chg="del">
          <ac:chgData name="Löcker, Hans Jürgen" userId="a72664b4-e718-48b1-8ea3-32df7930c927" providerId="ADAL" clId="{691E497B-67F2-4C1B-BACD-4E89E36B9237}" dt="2025-09-21T14:36:25.581" v="622"/>
          <ac:spMkLst>
            <pc:docMk/>
            <pc:sldMk cId="1445516947" sldId="11435"/>
            <ac:spMk id="466" creationId="{12E6889C-587B-8CAA-EF64-EBBA11A00C78}"/>
          </ac:spMkLst>
        </pc:spChg>
        <pc:spChg chg="del">
          <ac:chgData name="Löcker, Hans Jürgen" userId="a72664b4-e718-48b1-8ea3-32df7930c927" providerId="ADAL" clId="{691E497B-67F2-4C1B-BACD-4E89E36B9237}" dt="2025-09-21T14:36:25.578" v="620"/>
          <ac:spMkLst>
            <pc:docMk/>
            <pc:sldMk cId="1445516947" sldId="11435"/>
            <ac:spMk id="467" creationId="{2587CA94-EBAC-4E36-1079-1883844BE8AB}"/>
          </ac:spMkLst>
        </pc:spChg>
        <pc:spChg chg="del">
          <ac:chgData name="Löcker, Hans Jürgen" userId="a72664b4-e718-48b1-8ea3-32df7930c927" providerId="ADAL" clId="{691E497B-67F2-4C1B-BACD-4E89E36B9237}" dt="2025-09-21T14:36:25.475" v="548"/>
          <ac:spMkLst>
            <pc:docMk/>
            <pc:sldMk cId="1445516947" sldId="11435"/>
            <ac:spMk id="468" creationId="{CA85189D-ACF1-6014-55DD-ECAC9B946B30}"/>
          </ac:spMkLst>
        </pc:spChg>
        <pc:spChg chg="del">
          <ac:chgData name="Löcker, Hans Jürgen" userId="a72664b4-e718-48b1-8ea3-32df7930c927" providerId="ADAL" clId="{691E497B-67F2-4C1B-BACD-4E89E36B9237}" dt="2025-09-21T14:36:25.623" v="681"/>
          <ac:spMkLst>
            <pc:docMk/>
            <pc:sldMk cId="1445516947" sldId="11435"/>
            <ac:spMk id="469" creationId="{4B21336E-E3BB-86CA-D3F5-FEC785941823}"/>
          </ac:spMkLst>
        </pc:spChg>
        <pc:spChg chg="del">
          <ac:chgData name="Löcker, Hans Jürgen" userId="a72664b4-e718-48b1-8ea3-32df7930c927" providerId="ADAL" clId="{691E497B-67F2-4C1B-BACD-4E89E36B9237}" dt="2025-09-21T14:36:25.462" v="540"/>
          <ac:spMkLst>
            <pc:docMk/>
            <pc:sldMk cId="1445516947" sldId="11435"/>
            <ac:spMk id="470" creationId="{AAD955B8-5799-9709-326D-6DB207454E9F}"/>
          </ac:spMkLst>
        </pc:spChg>
        <pc:spChg chg="del">
          <ac:chgData name="Löcker, Hans Jürgen" userId="a72664b4-e718-48b1-8ea3-32df7930c927" providerId="ADAL" clId="{691E497B-67F2-4C1B-BACD-4E89E36B9237}" dt="2025-09-21T14:36:25.575" v="618"/>
          <ac:spMkLst>
            <pc:docMk/>
            <pc:sldMk cId="1445516947" sldId="11435"/>
            <ac:spMk id="471" creationId="{A32B9A84-44B7-E542-DA16-CB4BB27B24D1}"/>
          </ac:spMkLst>
        </pc:spChg>
        <pc:spChg chg="del">
          <ac:chgData name="Löcker, Hans Jürgen" userId="a72664b4-e718-48b1-8ea3-32df7930c927" providerId="ADAL" clId="{691E497B-67F2-4C1B-BACD-4E89E36B9237}" dt="2025-09-21T14:36:25.622" v="680"/>
          <ac:spMkLst>
            <pc:docMk/>
            <pc:sldMk cId="1445516947" sldId="11435"/>
            <ac:spMk id="472" creationId="{C3FC63B3-7C25-6507-0DA7-8720DF510330}"/>
          </ac:spMkLst>
        </pc:spChg>
        <pc:spChg chg="del">
          <ac:chgData name="Löcker, Hans Jürgen" userId="a72664b4-e718-48b1-8ea3-32df7930c927" providerId="ADAL" clId="{691E497B-67F2-4C1B-BACD-4E89E36B9237}" dt="2025-09-21T14:36:25.491" v="558"/>
          <ac:spMkLst>
            <pc:docMk/>
            <pc:sldMk cId="1445516947" sldId="11435"/>
            <ac:spMk id="473" creationId="{9DBD8609-FDD4-8083-2C5A-1A848F7B4677}"/>
          </ac:spMkLst>
        </pc:spChg>
        <pc:spChg chg="del">
          <ac:chgData name="Löcker, Hans Jürgen" userId="a72664b4-e718-48b1-8ea3-32df7930c927" providerId="ADAL" clId="{691E497B-67F2-4C1B-BACD-4E89E36B9237}" dt="2025-09-21T14:36:25.622" v="679"/>
          <ac:spMkLst>
            <pc:docMk/>
            <pc:sldMk cId="1445516947" sldId="11435"/>
            <ac:spMk id="474" creationId="{0BF0CB40-B840-7470-94E0-BB00DB4A80DF}"/>
          </ac:spMkLst>
        </pc:spChg>
        <pc:spChg chg="del">
          <ac:chgData name="Löcker, Hans Jürgen" userId="a72664b4-e718-48b1-8ea3-32df7930c927" providerId="ADAL" clId="{691E497B-67F2-4C1B-BACD-4E89E36B9237}" dt="2025-09-21T14:36:25.621" v="678"/>
          <ac:spMkLst>
            <pc:docMk/>
            <pc:sldMk cId="1445516947" sldId="11435"/>
            <ac:spMk id="475" creationId="{96425490-BDBA-AD4F-2AFF-68E72CB3144C}"/>
          </ac:spMkLst>
        </pc:spChg>
        <pc:spChg chg="del">
          <ac:chgData name="Löcker, Hans Jürgen" userId="a72664b4-e718-48b1-8ea3-32df7930c927" providerId="ADAL" clId="{691E497B-67F2-4C1B-BACD-4E89E36B9237}" dt="2025-09-21T14:36:25.621" v="677"/>
          <ac:spMkLst>
            <pc:docMk/>
            <pc:sldMk cId="1445516947" sldId="11435"/>
            <ac:spMk id="476" creationId="{5882CF10-9691-9FF4-04B3-D7EFF4F2E49D}"/>
          </ac:spMkLst>
        </pc:spChg>
        <pc:spChg chg="del">
          <ac:chgData name="Löcker, Hans Jürgen" userId="a72664b4-e718-48b1-8ea3-32df7930c927" providerId="ADAL" clId="{691E497B-67F2-4C1B-BACD-4E89E36B9237}" dt="2025-09-21T14:36:25.620" v="676"/>
          <ac:spMkLst>
            <pc:docMk/>
            <pc:sldMk cId="1445516947" sldId="11435"/>
            <ac:spMk id="477" creationId="{50DABE8F-43A7-3C03-3652-239CF8F4A7F6}"/>
          </ac:spMkLst>
        </pc:spChg>
        <pc:spChg chg="del">
          <ac:chgData name="Löcker, Hans Jürgen" userId="a72664b4-e718-48b1-8ea3-32df7930c927" providerId="ADAL" clId="{691E497B-67F2-4C1B-BACD-4E89E36B9237}" dt="2025-09-21T14:36:25.620" v="675"/>
          <ac:spMkLst>
            <pc:docMk/>
            <pc:sldMk cId="1445516947" sldId="11435"/>
            <ac:spMk id="478" creationId="{16597F51-37E0-BF91-DAC2-63E18C764AE7}"/>
          </ac:spMkLst>
        </pc:spChg>
        <pc:spChg chg="del">
          <ac:chgData name="Löcker, Hans Jürgen" userId="a72664b4-e718-48b1-8ea3-32df7930c927" providerId="ADAL" clId="{691E497B-67F2-4C1B-BACD-4E89E36B9237}" dt="2025-09-21T14:36:25.619" v="674"/>
          <ac:spMkLst>
            <pc:docMk/>
            <pc:sldMk cId="1445516947" sldId="11435"/>
            <ac:spMk id="479" creationId="{8BD5F6BC-6135-11D3-1318-6A4828706D41}"/>
          </ac:spMkLst>
        </pc:spChg>
        <pc:spChg chg="del">
          <ac:chgData name="Löcker, Hans Jürgen" userId="a72664b4-e718-48b1-8ea3-32df7930c927" providerId="ADAL" clId="{691E497B-67F2-4C1B-BACD-4E89E36B9237}" dt="2025-09-21T14:36:25.619" v="673"/>
          <ac:spMkLst>
            <pc:docMk/>
            <pc:sldMk cId="1445516947" sldId="11435"/>
            <ac:spMk id="480" creationId="{AB625244-5213-5A59-71CB-B554E272F2CB}"/>
          </ac:spMkLst>
        </pc:spChg>
        <pc:spChg chg="del">
          <ac:chgData name="Löcker, Hans Jürgen" userId="a72664b4-e718-48b1-8ea3-32df7930c927" providerId="ADAL" clId="{691E497B-67F2-4C1B-BACD-4E89E36B9237}" dt="2025-09-21T14:36:25.618" v="672"/>
          <ac:spMkLst>
            <pc:docMk/>
            <pc:sldMk cId="1445516947" sldId="11435"/>
            <ac:spMk id="481" creationId="{F0117331-0902-AB05-AE69-305742A839AF}"/>
          </ac:spMkLst>
        </pc:spChg>
        <pc:spChg chg="del">
          <ac:chgData name="Löcker, Hans Jürgen" userId="a72664b4-e718-48b1-8ea3-32df7930c927" providerId="ADAL" clId="{691E497B-67F2-4C1B-BACD-4E89E36B9237}" dt="2025-09-21T14:36:25.618" v="671"/>
          <ac:spMkLst>
            <pc:docMk/>
            <pc:sldMk cId="1445516947" sldId="11435"/>
            <ac:spMk id="482" creationId="{B2DC9485-B1E1-C14E-EF32-2E48C11BD208}"/>
          </ac:spMkLst>
        </pc:spChg>
        <pc:spChg chg="del">
          <ac:chgData name="Löcker, Hans Jürgen" userId="a72664b4-e718-48b1-8ea3-32df7930c927" providerId="ADAL" clId="{691E497B-67F2-4C1B-BACD-4E89E36B9237}" dt="2025-09-21T14:36:25.618" v="670"/>
          <ac:spMkLst>
            <pc:docMk/>
            <pc:sldMk cId="1445516947" sldId="11435"/>
            <ac:spMk id="483" creationId="{996901E6-9397-B879-315D-57FFB7B09E4A}"/>
          </ac:spMkLst>
        </pc:spChg>
        <pc:spChg chg="del">
          <ac:chgData name="Löcker, Hans Jürgen" userId="a72664b4-e718-48b1-8ea3-32df7930c927" providerId="ADAL" clId="{691E497B-67F2-4C1B-BACD-4E89E36B9237}" dt="2025-09-21T14:36:25.617" v="669"/>
          <ac:spMkLst>
            <pc:docMk/>
            <pc:sldMk cId="1445516947" sldId="11435"/>
            <ac:spMk id="484" creationId="{35F195F7-EF25-89C9-1EB7-6BDE91A5C703}"/>
          </ac:spMkLst>
        </pc:spChg>
        <pc:spChg chg="del">
          <ac:chgData name="Löcker, Hans Jürgen" userId="a72664b4-e718-48b1-8ea3-32df7930c927" providerId="ADAL" clId="{691E497B-67F2-4C1B-BACD-4E89E36B9237}" dt="2025-09-21T14:36:25.525" v="584"/>
          <ac:spMkLst>
            <pc:docMk/>
            <pc:sldMk cId="1445516947" sldId="11435"/>
            <ac:spMk id="485" creationId="{759E9490-DFF1-D17A-44F4-5F599200E781}"/>
          </ac:spMkLst>
        </pc:spChg>
        <pc:spChg chg="del">
          <ac:chgData name="Löcker, Hans Jürgen" userId="a72664b4-e718-48b1-8ea3-32df7930c927" providerId="ADAL" clId="{691E497B-67F2-4C1B-BACD-4E89E36B9237}" dt="2025-09-21T14:36:25.630" v="698"/>
          <ac:spMkLst>
            <pc:docMk/>
            <pc:sldMk cId="1445516947" sldId="11435"/>
            <ac:spMk id="497" creationId="{929B490B-D109-DA10-5D7F-985358BAED6D}"/>
          </ac:spMkLst>
        </pc:spChg>
        <pc:spChg chg="del">
          <ac:chgData name="Löcker, Hans Jürgen" userId="a72664b4-e718-48b1-8ea3-32df7930c927" providerId="ADAL" clId="{691E497B-67F2-4C1B-BACD-4E89E36B9237}" dt="2025-09-21T14:36:25.629" v="697"/>
          <ac:spMkLst>
            <pc:docMk/>
            <pc:sldMk cId="1445516947" sldId="11435"/>
            <ac:spMk id="498" creationId="{064625A7-DF48-A5CA-7F56-3DF7D9F60452}"/>
          </ac:spMkLst>
        </pc:spChg>
        <pc:spChg chg="del">
          <ac:chgData name="Löcker, Hans Jürgen" userId="a72664b4-e718-48b1-8ea3-32df7930c927" providerId="ADAL" clId="{691E497B-67F2-4C1B-BACD-4E89E36B9237}" dt="2025-09-21T14:36:25.629" v="696"/>
          <ac:spMkLst>
            <pc:docMk/>
            <pc:sldMk cId="1445516947" sldId="11435"/>
            <ac:spMk id="499" creationId="{8DD6A7DF-B2DD-DBCD-5A49-74250729DD2B}"/>
          </ac:spMkLst>
        </pc:spChg>
        <pc:spChg chg="del">
          <ac:chgData name="Löcker, Hans Jürgen" userId="a72664b4-e718-48b1-8ea3-32df7930c927" providerId="ADAL" clId="{691E497B-67F2-4C1B-BACD-4E89E36B9237}" dt="2025-09-21T14:36:25.629" v="695"/>
          <ac:spMkLst>
            <pc:docMk/>
            <pc:sldMk cId="1445516947" sldId="11435"/>
            <ac:spMk id="500" creationId="{DA58C06F-7990-DA36-C0A2-07ED4B6C0034}"/>
          </ac:spMkLst>
        </pc:spChg>
        <pc:spChg chg="del">
          <ac:chgData name="Löcker, Hans Jürgen" userId="a72664b4-e718-48b1-8ea3-32df7930c927" providerId="ADAL" clId="{691E497B-67F2-4C1B-BACD-4E89E36B9237}" dt="2025-09-21T14:36:25.632" v="703"/>
          <ac:spMkLst>
            <pc:docMk/>
            <pc:sldMk cId="1445516947" sldId="11435"/>
            <ac:spMk id="505" creationId="{33171F0A-8F7B-C2FD-FC58-D6112872149E}"/>
          </ac:spMkLst>
        </pc:spChg>
        <pc:spChg chg="del">
          <ac:chgData name="Löcker, Hans Jürgen" userId="a72664b4-e718-48b1-8ea3-32df7930c927" providerId="ADAL" clId="{691E497B-67F2-4C1B-BACD-4E89E36B9237}" dt="2025-09-21T14:36:25.573" v="616"/>
          <ac:spMkLst>
            <pc:docMk/>
            <pc:sldMk cId="1445516947" sldId="11435"/>
            <ac:spMk id="516" creationId="{85F2B8D3-0808-96EE-EB9E-798FB242682D}"/>
          </ac:spMkLst>
        </pc:spChg>
        <pc:spChg chg="del">
          <ac:chgData name="Löcker, Hans Jürgen" userId="a72664b4-e718-48b1-8ea3-32df7930c927" providerId="ADAL" clId="{691E497B-67F2-4C1B-BACD-4E89E36B9237}" dt="2025-09-21T14:36:25.565" v="610"/>
          <ac:spMkLst>
            <pc:docMk/>
            <pc:sldMk cId="1445516947" sldId="11435"/>
            <ac:spMk id="517" creationId="{D1ECA8DC-CD79-6E9D-F7AD-5AA8BC598F19}"/>
          </ac:spMkLst>
        </pc:spChg>
        <pc:spChg chg="del">
          <ac:chgData name="Löcker, Hans Jürgen" userId="a72664b4-e718-48b1-8ea3-32df7930c927" providerId="ADAL" clId="{691E497B-67F2-4C1B-BACD-4E89E36B9237}" dt="2025-09-21T14:36:25.562" v="608"/>
          <ac:spMkLst>
            <pc:docMk/>
            <pc:sldMk cId="1445516947" sldId="11435"/>
            <ac:spMk id="518" creationId="{7CB338A8-0F13-6621-C987-0757FF924127}"/>
          </ac:spMkLst>
        </pc:spChg>
        <pc:spChg chg="del">
          <ac:chgData name="Löcker, Hans Jürgen" userId="a72664b4-e718-48b1-8ea3-32df7930c927" providerId="ADAL" clId="{691E497B-67F2-4C1B-BACD-4E89E36B9237}" dt="2025-09-21T14:36:25.556" v="604"/>
          <ac:spMkLst>
            <pc:docMk/>
            <pc:sldMk cId="1445516947" sldId="11435"/>
            <ac:spMk id="519" creationId="{40C2D9B3-51DB-79E2-1CAA-DF8306B12BD2}"/>
          </ac:spMkLst>
        </pc:spChg>
        <pc:spChg chg="del">
          <ac:chgData name="Löcker, Hans Jürgen" userId="a72664b4-e718-48b1-8ea3-32df7930c927" providerId="ADAL" clId="{691E497B-67F2-4C1B-BACD-4E89E36B9237}" dt="2025-09-21T14:36:25.559" v="606"/>
          <ac:spMkLst>
            <pc:docMk/>
            <pc:sldMk cId="1445516947" sldId="11435"/>
            <ac:spMk id="520" creationId="{986B55AE-6F35-50E9-5A02-D99DC04B3BDC}"/>
          </ac:spMkLst>
        </pc:spChg>
        <pc:spChg chg="del">
          <ac:chgData name="Löcker, Hans Jürgen" userId="a72664b4-e718-48b1-8ea3-32df7930c927" providerId="ADAL" clId="{691E497B-67F2-4C1B-BACD-4E89E36B9237}" dt="2025-09-21T14:36:25.553" v="602"/>
          <ac:spMkLst>
            <pc:docMk/>
            <pc:sldMk cId="1445516947" sldId="11435"/>
            <ac:spMk id="521" creationId="{4680E5EB-D0DA-5EEB-82FD-77DECBB3C966}"/>
          </ac:spMkLst>
        </pc:spChg>
        <pc:spChg chg="del">
          <ac:chgData name="Löcker, Hans Jürgen" userId="a72664b4-e718-48b1-8ea3-32df7930c927" providerId="ADAL" clId="{691E497B-67F2-4C1B-BACD-4E89E36B9237}" dt="2025-09-21T14:36:25.550" v="600"/>
          <ac:spMkLst>
            <pc:docMk/>
            <pc:sldMk cId="1445516947" sldId="11435"/>
            <ac:spMk id="522" creationId="{E39E028B-C170-025B-D17E-4F4677B15713}"/>
          </ac:spMkLst>
        </pc:spChg>
        <pc:spChg chg="del">
          <ac:chgData name="Löcker, Hans Jürgen" userId="a72664b4-e718-48b1-8ea3-32df7930c927" providerId="ADAL" clId="{691E497B-67F2-4C1B-BACD-4E89E36B9237}" dt="2025-09-21T14:36:25.547" v="598"/>
          <ac:spMkLst>
            <pc:docMk/>
            <pc:sldMk cId="1445516947" sldId="11435"/>
            <ac:spMk id="523" creationId="{8E288942-12DB-1F78-A4E4-5BA33EA0F86C}"/>
          </ac:spMkLst>
        </pc:spChg>
        <pc:spChg chg="del">
          <ac:chgData name="Löcker, Hans Jürgen" userId="a72664b4-e718-48b1-8ea3-32df7930c927" providerId="ADAL" clId="{691E497B-67F2-4C1B-BACD-4E89E36B9237}" dt="2025-09-21T14:36:25.486" v="554"/>
          <ac:spMkLst>
            <pc:docMk/>
            <pc:sldMk cId="1445516947" sldId="11435"/>
            <ac:spMk id="524" creationId="{FAA41CDF-CF63-75E8-589F-2DD0627AEC12}"/>
          </ac:spMkLst>
        </pc:spChg>
        <pc:spChg chg="del">
          <ac:chgData name="Löcker, Hans Jürgen" userId="a72664b4-e718-48b1-8ea3-32df7930c927" providerId="ADAL" clId="{691E497B-67F2-4C1B-BACD-4E89E36B9237}" dt="2025-09-21T14:36:25.482" v="552"/>
          <ac:spMkLst>
            <pc:docMk/>
            <pc:sldMk cId="1445516947" sldId="11435"/>
            <ac:spMk id="525" creationId="{B0DE25E7-ED98-4140-BC6E-0F47956D5865}"/>
          </ac:spMkLst>
        </pc:spChg>
        <pc:spChg chg="del">
          <ac:chgData name="Löcker, Hans Jürgen" userId="a72664b4-e718-48b1-8ea3-32df7930c927" providerId="ADAL" clId="{691E497B-67F2-4C1B-BACD-4E89E36B9237}" dt="2025-09-21T14:36:25.617" v="668"/>
          <ac:spMkLst>
            <pc:docMk/>
            <pc:sldMk cId="1445516947" sldId="11435"/>
            <ac:spMk id="527" creationId="{7F37CB90-1D44-1170-C829-1D4650A9048B}"/>
          </ac:spMkLst>
        </pc:spChg>
        <pc:spChg chg="del">
          <ac:chgData name="Löcker, Hans Jürgen" userId="a72664b4-e718-48b1-8ea3-32df7930c927" providerId="ADAL" clId="{691E497B-67F2-4C1B-BACD-4E89E36B9237}" dt="2025-09-21T14:36:25.616" v="667"/>
          <ac:spMkLst>
            <pc:docMk/>
            <pc:sldMk cId="1445516947" sldId="11435"/>
            <ac:spMk id="529" creationId="{F8D85C39-DD1E-5BFF-2A08-3AA27072E283}"/>
          </ac:spMkLst>
        </pc:spChg>
        <pc:spChg chg="del">
          <ac:chgData name="Löcker, Hans Jürgen" userId="a72664b4-e718-48b1-8ea3-32df7930c927" providerId="ADAL" clId="{691E497B-67F2-4C1B-BACD-4E89E36B9237}" dt="2025-09-21T14:36:25.616" v="666"/>
          <ac:spMkLst>
            <pc:docMk/>
            <pc:sldMk cId="1445516947" sldId="11435"/>
            <ac:spMk id="530" creationId="{2023B89B-BFA9-C5CE-60DD-7005173AF8D1}"/>
          </ac:spMkLst>
        </pc:spChg>
        <pc:spChg chg="del">
          <ac:chgData name="Löcker, Hans Jürgen" userId="a72664b4-e718-48b1-8ea3-32df7930c927" providerId="ADAL" clId="{691E497B-67F2-4C1B-BACD-4E89E36B9237}" dt="2025-09-21T14:36:25.616" v="665"/>
          <ac:spMkLst>
            <pc:docMk/>
            <pc:sldMk cId="1445516947" sldId="11435"/>
            <ac:spMk id="531" creationId="{1BF0C630-119D-639F-F9D6-45471D5756E0}"/>
          </ac:spMkLst>
        </pc:spChg>
        <pc:spChg chg="del">
          <ac:chgData name="Löcker, Hans Jürgen" userId="a72664b4-e718-48b1-8ea3-32df7930c927" providerId="ADAL" clId="{691E497B-67F2-4C1B-BACD-4E89E36B9237}" dt="2025-09-21T14:36:25.615" v="664"/>
          <ac:spMkLst>
            <pc:docMk/>
            <pc:sldMk cId="1445516947" sldId="11435"/>
            <ac:spMk id="532" creationId="{0FE832CE-0E11-9161-62F8-6312989FFE92}"/>
          </ac:spMkLst>
        </pc:spChg>
        <pc:spChg chg="del">
          <ac:chgData name="Löcker, Hans Jürgen" userId="a72664b4-e718-48b1-8ea3-32df7930c927" providerId="ADAL" clId="{691E497B-67F2-4C1B-BACD-4E89E36B9237}" dt="2025-09-21T14:36:25.615" v="663"/>
          <ac:spMkLst>
            <pc:docMk/>
            <pc:sldMk cId="1445516947" sldId="11435"/>
            <ac:spMk id="533" creationId="{5B546DFF-A90C-1352-71DF-3E32FDC63634}"/>
          </ac:spMkLst>
        </pc:spChg>
        <pc:spChg chg="del">
          <ac:chgData name="Löcker, Hans Jürgen" userId="a72664b4-e718-48b1-8ea3-32df7930c927" providerId="ADAL" clId="{691E497B-67F2-4C1B-BACD-4E89E36B9237}" dt="2025-09-21T14:36:25.614" v="662"/>
          <ac:spMkLst>
            <pc:docMk/>
            <pc:sldMk cId="1445516947" sldId="11435"/>
            <ac:spMk id="534" creationId="{F03C1756-9478-AAEA-4D45-F2CDCE180E8E}"/>
          </ac:spMkLst>
        </pc:spChg>
        <pc:spChg chg="del">
          <ac:chgData name="Löcker, Hans Jürgen" userId="a72664b4-e718-48b1-8ea3-32df7930c927" providerId="ADAL" clId="{691E497B-67F2-4C1B-BACD-4E89E36B9237}" dt="2025-09-21T14:36:25.614" v="661"/>
          <ac:spMkLst>
            <pc:docMk/>
            <pc:sldMk cId="1445516947" sldId="11435"/>
            <ac:spMk id="535" creationId="{DE510AC7-57FF-4539-4F21-05507C375DC8}"/>
          </ac:spMkLst>
        </pc:spChg>
        <pc:spChg chg="del">
          <ac:chgData name="Löcker, Hans Jürgen" userId="a72664b4-e718-48b1-8ea3-32df7930c927" providerId="ADAL" clId="{691E497B-67F2-4C1B-BACD-4E89E36B9237}" dt="2025-09-21T14:36:25.613" v="660"/>
          <ac:spMkLst>
            <pc:docMk/>
            <pc:sldMk cId="1445516947" sldId="11435"/>
            <ac:spMk id="536" creationId="{7DEA5DC0-54E0-4ED3-12A3-647DFA2B47F8}"/>
          </ac:spMkLst>
        </pc:spChg>
        <pc:spChg chg="del">
          <ac:chgData name="Löcker, Hans Jürgen" userId="a72664b4-e718-48b1-8ea3-32df7930c927" providerId="ADAL" clId="{691E497B-67F2-4C1B-BACD-4E89E36B9237}" dt="2025-09-21T14:36:25.613" v="659"/>
          <ac:spMkLst>
            <pc:docMk/>
            <pc:sldMk cId="1445516947" sldId="11435"/>
            <ac:spMk id="537" creationId="{005BCEFC-2C2A-177A-495C-87D71ABDF401}"/>
          </ac:spMkLst>
        </pc:spChg>
        <pc:spChg chg="del">
          <ac:chgData name="Löcker, Hans Jürgen" userId="a72664b4-e718-48b1-8ea3-32df7930c927" providerId="ADAL" clId="{691E497B-67F2-4C1B-BACD-4E89E36B9237}" dt="2025-09-21T14:36:25.613" v="658"/>
          <ac:spMkLst>
            <pc:docMk/>
            <pc:sldMk cId="1445516947" sldId="11435"/>
            <ac:spMk id="538" creationId="{041881E4-DA1D-C9EB-2D62-824A6D8002F4}"/>
          </ac:spMkLst>
        </pc:spChg>
        <pc:spChg chg="del">
          <ac:chgData name="Löcker, Hans Jürgen" userId="a72664b4-e718-48b1-8ea3-32df7930c927" providerId="ADAL" clId="{691E497B-67F2-4C1B-BACD-4E89E36B9237}" dt="2025-09-21T14:36:25.612" v="657"/>
          <ac:spMkLst>
            <pc:docMk/>
            <pc:sldMk cId="1445516947" sldId="11435"/>
            <ac:spMk id="539" creationId="{432FCCBE-7830-0232-A91F-A84D81DB4B1B}"/>
          </ac:spMkLst>
        </pc:spChg>
        <pc:spChg chg="del">
          <ac:chgData name="Löcker, Hans Jürgen" userId="a72664b4-e718-48b1-8ea3-32df7930c927" providerId="ADAL" clId="{691E497B-67F2-4C1B-BACD-4E89E36B9237}" dt="2025-09-21T14:36:25.628" v="694"/>
          <ac:spMkLst>
            <pc:docMk/>
            <pc:sldMk cId="1445516947" sldId="11435"/>
            <ac:spMk id="540" creationId="{85AAAB4E-988E-B793-6D02-A1D2FA9E5E7F}"/>
          </ac:spMkLst>
        </pc:spChg>
        <pc:spChg chg="del">
          <ac:chgData name="Löcker, Hans Jürgen" userId="a72664b4-e718-48b1-8ea3-32df7930c927" providerId="ADAL" clId="{691E497B-67F2-4C1B-BACD-4E89E36B9237}" dt="2025-09-21T14:36:25.628" v="693"/>
          <ac:spMkLst>
            <pc:docMk/>
            <pc:sldMk cId="1445516947" sldId="11435"/>
            <ac:spMk id="541" creationId="{E44D53CC-B757-DD04-6607-0F827950EC44}"/>
          </ac:spMkLst>
        </pc:spChg>
        <pc:spChg chg="del">
          <ac:chgData name="Löcker, Hans Jürgen" userId="a72664b4-e718-48b1-8ea3-32df7930c927" providerId="ADAL" clId="{691E497B-67F2-4C1B-BACD-4E89E36B9237}" dt="2025-09-21T14:36:25.627" v="692"/>
          <ac:spMkLst>
            <pc:docMk/>
            <pc:sldMk cId="1445516947" sldId="11435"/>
            <ac:spMk id="542" creationId="{222FC192-20A2-B481-FCBA-7640958771AD}"/>
          </ac:spMkLst>
        </pc:spChg>
        <pc:spChg chg="del">
          <ac:chgData name="Löcker, Hans Jürgen" userId="a72664b4-e718-48b1-8ea3-32df7930c927" providerId="ADAL" clId="{691E497B-67F2-4C1B-BACD-4E89E36B9237}" dt="2025-09-21T14:36:25.627" v="691"/>
          <ac:spMkLst>
            <pc:docMk/>
            <pc:sldMk cId="1445516947" sldId="11435"/>
            <ac:spMk id="543" creationId="{6A36211C-7BA9-F418-9559-0E6126AFFFD0}"/>
          </ac:spMkLst>
        </pc:spChg>
        <pc:spChg chg="del">
          <ac:chgData name="Löcker, Hans Jürgen" userId="a72664b4-e718-48b1-8ea3-32df7930c927" providerId="ADAL" clId="{691E497B-67F2-4C1B-BACD-4E89E36B9237}" dt="2025-09-21T14:36:25.631" v="702"/>
          <ac:spMkLst>
            <pc:docMk/>
            <pc:sldMk cId="1445516947" sldId="11435"/>
            <ac:spMk id="544" creationId="{C804DB2A-061D-9A1B-A66F-C54BC999143B}"/>
          </ac:spMkLst>
        </pc:spChg>
        <pc:spChg chg="del">
          <ac:chgData name="Löcker, Hans Jürgen" userId="a72664b4-e718-48b1-8ea3-32df7930c927" providerId="ADAL" clId="{691E497B-67F2-4C1B-BACD-4E89E36B9237}" dt="2025-09-21T14:36:25.478" v="550"/>
          <ac:spMkLst>
            <pc:docMk/>
            <pc:sldMk cId="1445516947" sldId="11435"/>
            <ac:spMk id="545" creationId="{2B4D5DCC-8D5F-B4CE-9545-374ECA8D4372}"/>
          </ac:spMkLst>
        </pc:spChg>
        <pc:spChg chg="del">
          <ac:chgData name="Löcker, Hans Jürgen" userId="a72664b4-e718-48b1-8ea3-32df7930c927" providerId="ADAL" clId="{691E497B-67F2-4C1B-BACD-4E89E36B9237}" dt="2025-09-21T14:36:25.536" v="590"/>
          <ac:spMkLst>
            <pc:docMk/>
            <pc:sldMk cId="1445516947" sldId="11435"/>
            <ac:spMk id="551" creationId="{8A21705A-1E44-57C1-6569-F8DBBB31FE02}"/>
          </ac:spMkLst>
        </pc:spChg>
        <pc:spChg chg="del">
          <ac:chgData name="Löcker, Hans Jürgen" userId="a72664b4-e718-48b1-8ea3-32df7930c927" providerId="ADAL" clId="{691E497B-67F2-4C1B-BACD-4E89E36B9237}" dt="2025-09-21T14:36:25.533" v="588"/>
          <ac:spMkLst>
            <pc:docMk/>
            <pc:sldMk cId="1445516947" sldId="11435"/>
            <ac:spMk id="552" creationId="{F703784B-ED27-F6D4-385F-1C8E78CFA6CD}"/>
          </ac:spMkLst>
        </pc:spChg>
        <pc:spChg chg="del">
          <ac:chgData name="Löcker, Hans Jürgen" userId="a72664b4-e718-48b1-8ea3-32df7930c927" providerId="ADAL" clId="{691E497B-67F2-4C1B-BACD-4E89E36B9237}" dt="2025-09-21T14:36:25.529" v="586"/>
          <ac:spMkLst>
            <pc:docMk/>
            <pc:sldMk cId="1445516947" sldId="11435"/>
            <ac:spMk id="553" creationId="{C3D978CB-2DD9-F50C-59EF-E1E83D958227}"/>
          </ac:spMkLst>
        </pc:spChg>
        <pc:spChg chg="del">
          <ac:chgData name="Löcker, Hans Jürgen" userId="a72664b4-e718-48b1-8ea3-32df7930c927" providerId="ADAL" clId="{691E497B-67F2-4C1B-BACD-4E89E36B9237}" dt="2025-09-21T14:36:25.521" v="580"/>
          <ac:spMkLst>
            <pc:docMk/>
            <pc:sldMk cId="1445516947" sldId="11435"/>
            <ac:spMk id="555" creationId="{884AD5E2-CC1F-E684-E0C7-74B53A7D1550}"/>
          </ac:spMkLst>
        </pc:spChg>
        <pc:spChg chg="del">
          <ac:chgData name="Löcker, Hans Jürgen" userId="a72664b4-e718-48b1-8ea3-32df7930c927" providerId="ADAL" clId="{691E497B-67F2-4C1B-BACD-4E89E36B9237}" dt="2025-09-21T14:36:25.518" v="578"/>
          <ac:spMkLst>
            <pc:docMk/>
            <pc:sldMk cId="1445516947" sldId="11435"/>
            <ac:spMk id="556" creationId="{3E751F4F-3EF9-203F-0FA1-A0890E5F1D5B}"/>
          </ac:spMkLst>
        </pc:spChg>
        <pc:spChg chg="del">
          <ac:chgData name="Löcker, Hans Jürgen" userId="a72664b4-e718-48b1-8ea3-32df7930c927" providerId="ADAL" clId="{691E497B-67F2-4C1B-BACD-4E89E36B9237}" dt="2025-09-21T14:36:25.508" v="570"/>
          <ac:spMkLst>
            <pc:docMk/>
            <pc:sldMk cId="1445516947" sldId="11435"/>
            <ac:spMk id="557" creationId="{AC7D40D1-AC44-0E1C-2099-39A99397FBFE}"/>
          </ac:spMkLst>
        </pc:spChg>
        <pc:spChg chg="del">
          <ac:chgData name="Löcker, Hans Jürgen" userId="a72664b4-e718-48b1-8ea3-32df7930c927" providerId="ADAL" clId="{691E497B-67F2-4C1B-BACD-4E89E36B9237}" dt="2025-09-21T14:36:25.505" v="568"/>
          <ac:spMkLst>
            <pc:docMk/>
            <pc:sldMk cId="1445516947" sldId="11435"/>
            <ac:spMk id="558" creationId="{BF27DF43-F930-2022-CA9D-FC9BA2BB5938}"/>
          </ac:spMkLst>
        </pc:spChg>
        <pc:spChg chg="del">
          <ac:chgData name="Löcker, Hans Jürgen" userId="a72664b4-e718-48b1-8ea3-32df7930c927" providerId="ADAL" clId="{691E497B-67F2-4C1B-BACD-4E89E36B9237}" dt="2025-09-21T14:36:25.496" v="562"/>
          <ac:spMkLst>
            <pc:docMk/>
            <pc:sldMk cId="1445516947" sldId="11435"/>
            <ac:spMk id="559" creationId="{9E91A239-9FF7-6C87-7EFD-3B003949AC97}"/>
          </ac:spMkLst>
        </pc:spChg>
        <pc:spChg chg="del">
          <ac:chgData name="Löcker, Hans Jürgen" userId="a72664b4-e718-48b1-8ea3-32df7930c927" providerId="ADAL" clId="{691E497B-67F2-4C1B-BACD-4E89E36B9237}" dt="2025-09-21T14:36:25.494" v="560"/>
          <ac:spMkLst>
            <pc:docMk/>
            <pc:sldMk cId="1445516947" sldId="11435"/>
            <ac:spMk id="560" creationId="{5F4F4113-237D-496A-500C-989647CC1348}"/>
          </ac:spMkLst>
        </pc:spChg>
        <pc:spChg chg="del">
          <ac:chgData name="Löcker, Hans Jürgen" userId="a72664b4-e718-48b1-8ea3-32df7930c927" providerId="ADAL" clId="{691E497B-67F2-4C1B-BACD-4E89E36B9237}" dt="2025-09-21T14:36:25.466" v="542"/>
          <ac:spMkLst>
            <pc:docMk/>
            <pc:sldMk cId="1445516947" sldId="11435"/>
            <ac:spMk id="561" creationId="{877BCC60-EB3A-3589-BD57-17C248333D30}"/>
          </ac:spMkLst>
        </pc:spChg>
        <pc:spChg chg="del">
          <ac:chgData name="Löcker, Hans Jürgen" userId="a72664b4-e718-48b1-8ea3-32df7930c927" providerId="ADAL" clId="{691E497B-67F2-4C1B-BACD-4E89E36B9237}" dt="2025-09-21T14:36:25.470" v="544"/>
          <ac:spMkLst>
            <pc:docMk/>
            <pc:sldMk cId="1445516947" sldId="11435"/>
            <ac:spMk id="562" creationId="{37C41CD3-5EF0-A0A1-092D-6ED69085D9B2}"/>
          </ac:spMkLst>
        </pc:spChg>
        <pc:spChg chg="del">
          <ac:chgData name="Löcker, Hans Jürgen" userId="a72664b4-e718-48b1-8ea3-32df7930c927" providerId="ADAL" clId="{691E497B-67F2-4C1B-BACD-4E89E36B9237}" dt="2025-09-21T14:36:25.442" v="528"/>
          <ac:spMkLst>
            <pc:docMk/>
            <pc:sldMk cId="1445516947" sldId="11435"/>
            <ac:spMk id="563" creationId="{AABBA001-F7A3-B5BB-11B1-A22AD290DFFE}"/>
          </ac:spMkLst>
        </pc:spChg>
        <pc:spChg chg="del">
          <ac:chgData name="Löcker, Hans Jürgen" userId="a72664b4-e718-48b1-8ea3-32df7930c927" providerId="ADAL" clId="{691E497B-67F2-4C1B-BACD-4E89E36B9237}" dt="2025-09-21T14:36:25.439" v="526"/>
          <ac:spMkLst>
            <pc:docMk/>
            <pc:sldMk cId="1445516947" sldId="11435"/>
            <ac:spMk id="564" creationId="{7EE6C79D-C6BD-EB47-C3ED-384113F159B5}"/>
          </ac:spMkLst>
        </pc:spChg>
        <pc:spChg chg="del">
          <ac:chgData name="Löcker, Hans Jürgen" userId="a72664b4-e718-48b1-8ea3-32df7930c927" providerId="ADAL" clId="{691E497B-67F2-4C1B-BACD-4E89E36B9237}" dt="2025-09-21T14:36:25.446" v="530"/>
          <ac:spMkLst>
            <pc:docMk/>
            <pc:sldMk cId="1445516947" sldId="11435"/>
            <ac:spMk id="565" creationId="{B472D04D-31C9-EA9E-AC3E-0ED342CD0607}"/>
          </ac:spMkLst>
        </pc:spChg>
        <pc:spChg chg="del">
          <ac:chgData name="Löcker, Hans Jürgen" userId="a72664b4-e718-48b1-8ea3-32df7930c927" providerId="ADAL" clId="{691E497B-67F2-4C1B-BACD-4E89E36B9237}" dt="2025-09-21T14:36:25.450" v="532"/>
          <ac:spMkLst>
            <pc:docMk/>
            <pc:sldMk cId="1445516947" sldId="11435"/>
            <ac:spMk id="566" creationId="{CAA342CE-E979-87B3-8FDC-0EACE8DDF69E}"/>
          </ac:spMkLst>
        </pc:spChg>
        <pc:spChg chg="del">
          <ac:chgData name="Löcker, Hans Jürgen" userId="a72664b4-e718-48b1-8ea3-32df7930c927" providerId="ADAL" clId="{691E497B-67F2-4C1B-BACD-4E89E36B9237}" dt="2025-09-21T14:36:25.435" v="524"/>
          <ac:spMkLst>
            <pc:docMk/>
            <pc:sldMk cId="1445516947" sldId="11435"/>
            <ac:spMk id="567" creationId="{A2DAC479-DD12-7A92-C087-76BCB383A3BA}"/>
          </ac:spMkLst>
        </pc:spChg>
        <pc:spChg chg="del">
          <ac:chgData name="Löcker, Hans Jürgen" userId="a72664b4-e718-48b1-8ea3-32df7930c927" providerId="ADAL" clId="{691E497B-67F2-4C1B-BACD-4E89E36B9237}" dt="2025-09-21T14:36:25.453" v="534"/>
          <ac:spMkLst>
            <pc:docMk/>
            <pc:sldMk cId="1445516947" sldId="11435"/>
            <ac:spMk id="568" creationId="{344CFCCD-9414-AAAE-374E-DAF23A10F83C}"/>
          </ac:spMkLst>
        </pc:spChg>
        <pc:spChg chg="del">
          <ac:chgData name="Löcker, Hans Jürgen" userId="a72664b4-e718-48b1-8ea3-32df7930c927" providerId="ADAL" clId="{691E497B-67F2-4C1B-BACD-4E89E36B9237}" dt="2025-09-21T14:36:25.428" v="518"/>
          <ac:spMkLst>
            <pc:docMk/>
            <pc:sldMk cId="1445516947" sldId="11435"/>
            <ac:spMk id="569" creationId="{4087BDB4-3681-EB60-D21D-4B5E075D1B4D}"/>
          </ac:spMkLst>
        </pc:spChg>
        <pc:spChg chg="del">
          <ac:chgData name="Löcker, Hans Jürgen" userId="a72664b4-e718-48b1-8ea3-32df7930c927" providerId="ADAL" clId="{691E497B-67F2-4C1B-BACD-4E89E36B9237}" dt="2025-09-21T14:36:25.425" v="516"/>
          <ac:spMkLst>
            <pc:docMk/>
            <pc:sldMk cId="1445516947" sldId="11435"/>
            <ac:spMk id="570" creationId="{F4C2BA45-7A85-FEE8-2641-34986284ADE3}"/>
          </ac:spMkLst>
        </pc:spChg>
        <pc:spChg chg="del">
          <ac:chgData name="Löcker, Hans Jürgen" userId="a72664b4-e718-48b1-8ea3-32df7930c927" providerId="ADAL" clId="{691E497B-67F2-4C1B-BACD-4E89E36B9237}" dt="2025-09-21T14:36:25.421" v="514"/>
          <ac:spMkLst>
            <pc:docMk/>
            <pc:sldMk cId="1445516947" sldId="11435"/>
            <ac:spMk id="571" creationId="{A4411CF1-447B-4A95-FEA6-0CBBFA8F87BA}"/>
          </ac:spMkLst>
        </pc:spChg>
        <pc:spChg chg="del">
          <ac:chgData name="Löcker, Hans Jürgen" userId="a72664b4-e718-48b1-8ea3-32df7930c927" providerId="ADAL" clId="{691E497B-67F2-4C1B-BACD-4E89E36B9237}" dt="2025-09-21T14:36:25.418" v="512"/>
          <ac:spMkLst>
            <pc:docMk/>
            <pc:sldMk cId="1445516947" sldId="11435"/>
            <ac:spMk id="572" creationId="{9F6A83F1-3FCB-5208-38BE-51B158BA64DA}"/>
          </ac:spMkLst>
        </pc:spChg>
        <pc:spChg chg="del">
          <ac:chgData name="Löcker, Hans Jürgen" userId="a72664b4-e718-48b1-8ea3-32df7930c927" providerId="ADAL" clId="{691E497B-67F2-4C1B-BACD-4E89E36B9237}" dt="2025-09-21T14:36:25.415" v="510"/>
          <ac:spMkLst>
            <pc:docMk/>
            <pc:sldMk cId="1445516947" sldId="11435"/>
            <ac:spMk id="573" creationId="{9DF365B1-171B-1622-54C4-F061B4E95DFE}"/>
          </ac:spMkLst>
        </pc:spChg>
        <pc:spChg chg="del">
          <ac:chgData name="Löcker, Hans Jürgen" userId="a72664b4-e718-48b1-8ea3-32df7930c927" providerId="ADAL" clId="{691E497B-67F2-4C1B-BACD-4E89E36B9237}" dt="2025-09-21T14:36:25.411" v="508"/>
          <ac:spMkLst>
            <pc:docMk/>
            <pc:sldMk cId="1445516947" sldId="11435"/>
            <ac:spMk id="574" creationId="{9EACF7B4-A470-D3FF-9B15-A303094A4EE8}"/>
          </ac:spMkLst>
        </pc:spChg>
        <pc:spChg chg="del">
          <ac:chgData name="Löcker, Hans Jürgen" userId="a72664b4-e718-48b1-8ea3-32df7930c927" providerId="ADAL" clId="{691E497B-67F2-4C1B-BACD-4E89E36B9237}" dt="2025-09-21T14:36:25.408" v="506"/>
          <ac:spMkLst>
            <pc:docMk/>
            <pc:sldMk cId="1445516947" sldId="11435"/>
            <ac:spMk id="575" creationId="{6946A1EF-ECBD-3979-3C3A-3F3761E516EB}"/>
          </ac:spMkLst>
        </pc:spChg>
        <pc:spChg chg="del">
          <ac:chgData name="Löcker, Hans Jürgen" userId="a72664b4-e718-48b1-8ea3-32df7930c927" providerId="ADAL" clId="{691E497B-67F2-4C1B-BACD-4E89E36B9237}" dt="2025-09-21T14:36:25.612" v="656"/>
          <ac:spMkLst>
            <pc:docMk/>
            <pc:sldMk cId="1445516947" sldId="11435"/>
            <ac:spMk id="576" creationId="{3825D15E-0921-9130-05EC-D10ECA3AC3CD}"/>
          </ac:spMkLst>
        </pc:spChg>
        <pc:spChg chg="del">
          <ac:chgData name="Löcker, Hans Jürgen" userId="a72664b4-e718-48b1-8ea3-32df7930c927" providerId="ADAL" clId="{691E497B-67F2-4C1B-BACD-4E89E36B9237}" dt="2025-09-21T14:36:25.611" v="655"/>
          <ac:spMkLst>
            <pc:docMk/>
            <pc:sldMk cId="1445516947" sldId="11435"/>
            <ac:spMk id="578" creationId="{DBE4A397-A403-1643-B42A-6A512EAD6031}"/>
          </ac:spMkLst>
        </pc:spChg>
        <pc:spChg chg="del">
          <ac:chgData name="Löcker, Hans Jürgen" userId="a72664b4-e718-48b1-8ea3-32df7930c927" providerId="ADAL" clId="{691E497B-67F2-4C1B-BACD-4E89E36B9237}" dt="2025-09-21T14:36:25.611" v="654"/>
          <ac:spMkLst>
            <pc:docMk/>
            <pc:sldMk cId="1445516947" sldId="11435"/>
            <ac:spMk id="579" creationId="{66C638A5-0BCA-2931-32D4-F67829907691}"/>
          </ac:spMkLst>
        </pc:spChg>
        <pc:spChg chg="del">
          <ac:chgData name="Löcker, Hans Jürgen" userId="a72664b4-e718-48b1-8ea3-32df7930c927" providerId="ADAL" clId="{691E497B-67F2-4C1B-BACD-4E89E36B9237}" dt="2025-09-21T14:36:25.610" v="653"/>
          <ac:spMkLst>
            <pc:docMk/>
            <pc:sldMk cId="1445516947" sldId="11435"/>
            <ac:spMk id="580" creationId="{58F72386-A304-E66F-070E-B36B752C8E2B}"/>
          </ac:spMkLst>
        </pc:spChg>
        <pc:spChg chg="del">
          <ac:chgData name="Löcker, Hans Jürgen" userId="a72664b4-e718-48b1-8ea3-32df7930c927" providerId="ADAL" clId="{691E497B-67F2-4C1B-BACD-4E89E36B9237}" dt="2025-09-21T14:36:25.610" v="652"/>
          <ac:spMkLst>
            <pc:docMk/>
            <pc:sldMk cId="1445516947" sldId="11435"/>
            <ac:spMk id="581" creationId="{F75174C1-2EDB-02E1-612C-230F5F6DDF01}"/>
          </ac:spMkLst>
        </pc:spChg>
        <pc:spChg chg="del">
          <ac:chgData name="Löcker, Hans Jürgen" userId="a72664b4-e718-48b1-8ea3-32df7930c927" providerId="ADAL" clId="{691E497B-67F2-4C1B-BACD-4E89E36B9237}" dt="2025-09-21T14:36:25.610" v="651"/>
          <ac:spMkLst>
            <pc:docMk/>
            <pc:sldMk cId="1445516947" sldId="11435"/>
            <ac:spMk id="582" creationId="{79E134F5-1380-91A3-A3E8-9B55392AEB59}"/>
          </ac:spMkLst>
        </pc:spChg>
        <pc:spChg chg="del">
          <ac:chgData name="Löcker, Hans Jürgen" userId="a72664b4-e718-48b1-8ea3-32df7930c927" providerId="ADAL" clId="{691E497B-67F2-4C1B-BACD-4E89E36B9237}" dt="2025-09-21T14:36:25.609" v="650"/>
          <ac:spMkLst>
            <pc:docMk/>
            <pc:sldMk cId="1445516947" sldId="11435"/>
            <ac:spMk id="583" creationId="{1EFCE282-9835-94B4-922D-97351AC55157}"/>
          </ac:spMkLst>
        </pc:spChg>
        <pc:spChg chg="del">
          <ac:chgData name="Löcker, Hans Jürgen" userId="a72664b4-e718-48b1-8ea3-32df7930c927" providerId="ADAL" clId="{691E497B-67F2-4C1B-BACD-4E89E36B9237}" dt="2025-09-21T14:36:25.609" v="649"/>
          <ac:spMkLst>
            <pc:docMk/>
            <pc:sldMk cId="1445516947" sldId="11435"/>
            <ac:spMk id="584" creationId="{B190609D-C9E0-328E-A3F2-B1345F5D528D}"/>
          </ac:spMkLst>
        </pc:spChg>
        <pc:spChg chg="del">
          <ac:chgData name="Löcker, Hans Jürgen" userId="a72664b4-e718-48b1-8ea3-32df7930c927" providerId="ADAL" clId="{691E497B-67F2-4C1B-BACD-4E89E36B9237}" dt="2025-09-21T14:36:25.608" v="648"/>
          <ac:spMkLst>
            <pc:docMk/>
            <pc:sldMk cId="1445516947" sldId="11435"/>
            <ac:spMk id="585" creationId="{54698E91-962D-5891-F51E-9FB51DC3AA0A}"/>
          </ac:spMkLst>
        </pc:spChg>
        <pc:spChg chg="del">
          <ac:chgData name="Löcker, Hans Jürgen" userId="a72664b4-e718-48b1-8ea3-32df7930c927" providerId="ADAL" clId="{691E497B-67F2-4C1B-BACD-4E89E36B9237}" dt="2025-09-21T14:36:25.608" v="647"/>
          <ac:spMkLst>
            <pc:docMk/>
            <pc:sldMk cId="1445516947" sldId="11435"/>
            <ac:spMk id="586" creationId="{A4245C3F-EF88-D7A4-6801-EAEF03F9AFD9}"/>
          </ac:spMkLst>
        </pc:spChg>
        <pc:spChg chg="del">
          <ac:chgData name="Löcker, Hans Jürgen" userId="a72664b4-e718-48b1-8ea3-32df7930c927" providerId="ADAL" clId="{691E497B-67F2-4C1B-BACD-4E89E36B9237}" dt="2025-09-21T14:36:25.607" v="646"/>
          <ac:spMkLst>
            <pc:docMk/>
            <pc:sldMk cId="1445516947" sldId="11435"/>
            <ac:spMk id="587" creationId="{E6E3A6B5-C57B-5302-8274-341876FDCE96}"/>
          </ac:spMkLst>
        </pc:spChg>
        <pc:spChg chg="del">
          <ac:chgData name="Löcker, Hans Jürgen" userId="a72664b4-e718-48b1-8ea3-32df7930c927" providerId="ADAL" clId="{691E497B-67F2-4C1B-BACD-4E89E36B9237}" dt="2025-09-21T14:36:25.607" v="645"/>
          <ac:spMkLst>
            <pc:docMk/>
            <pc:sldMk cId="1445516947" sldId="11435"/>
            <ac:spMk id="588" creationId="{B0C35AF9-2687-B4C4-EDD8-DA6C37C1C3FF}"/>
          </ac:spMkLst>
        </pc:spChg>
        <pc:spChg chg="del">
          <ac:chgData name="Löcker, Hans Jürgen" userId="a72664b4-e718-48b1-8ea3-32df7930c927" providerId="ADAL" clId="{691E497B-67F2-4C1B-BACD-4E89E36B9237}" dt="2025-09-21T14:36:25.626" v="690"/>
          <ac:spMkLst>
            <pc:docMk/>
            <pc:sldMk cId="1445516947" sldId="11435"/>
            <ac:spMk id="589" creationId="{8D7CAB59-A867-793F-AAB2-C587D1A9F45D}"/>
          </ac:spMkLst>
        </pc:spChg>
        <pc:spChg chg="del">
          <ac:chgData name="Löcker, Hans Jürgen" userId="a72664b4-e718-48b1-8ea3-32df7930c927" providerId="ADAL" clId="{691E497B-67F2-4C1B-BACD-4E89E36B9237}" dt="2025-09-21T14:36:25.626" v="689"/>
          <ac:spMkLst>
            <pc:docMk/>
            <pc:sldMk cId="1445516947" sldId="11435"/>
            <ac:spMk id="590" creationId="{373574DC-6C77-23B6-484C-975FDF47D824}"/>
          </ac:spMkLst>
        </pc:spChg>
        <pc:spChg chg="del">
          <ac:chgData name="Löcker, Hans Jürgen" userId="a72664b4-e718-48b1-8ea3-32df7930c927" providerId="ADAL" clId="{691E497B-67F2-4C1B-BACD-4E89E36B9237}" dt="2025-09-21T14:36:25.626" v="688"/>
          <ac:spMkLst>
            <pc:docMk/>
            <pc:sldMk cId="1445516947" sldId="11435"/>
            <ac:spMk id="591" creationId="{4808F504-93C1-41D4-3EE1-1938E72A65CB}"/>
          </ac:spMkLst>
        </pc:spChg>
        <pc:spChg chg="del">
          <ac:chgData name="Löcker, Hans Jürgen" userId="a72664b4-e718-48b1-8ea3-32df7930c927" providerId="ADAL" clId="{691E497B-67F2-4C1B-BACD-4E89E36B9237}" dt="2025-09-21T14:36:25.625" v="687"/>
          <ac:spMkLst>
            <pc:docMk/>
            <pc:sldMk cId="1445516947" sldId="11435"/>
            <ac:spMk id="592" creationId="{A17B0555-83A2-2882-3F21-85DE2FF8CBD7}"/>
          </ac:spMkLst>
        </pc:spChg>
        <pc:spChg chg="del">
          <ac:chgData name="Löcker, Hans Jürgen" userId="a72664b4-e718-48b1-8ea3-32df7930c927" providerId="ADAL" clId="{691E497B-67F2-4C1B-BACD-4E89E36B9237}" dt="2025-09-21T14:36:25.631" v="701"/>
          <ac:spMkLst>
            <pc:docMk/>
            <pc:sldMk cId="1445516947" sldId="11435"/>
            <ac:spMk id="593" creationId="{E07AEBAA-A1B3-24B9-8F82-824A554BB312}"/>
          </ac:spMkLst>
        </pc:spChg>
        <pc:spChg chg="del">
          <ac:chgData name="Löcker, Hans Jürgen" userId="a72664b4-e718-48b1-8ea3-32df7930c927" providerId="ADAL" clId="{691E497B-67F2-4C1B-BACD-4E89E36B9237}" dt="2025-09-21T14:36:25.514" v="576"/>
          <ac:spMkLst>
            <pc:docMk/>
            <pc:sldMk cId="1445516947" sldId="11435"/>
            <ac:spMk id="599" creationId="{67B316FC-14B9-F08D-C3BF-E162E760C688}"/>
          </ac:spMkLst>
        </pc:spChg>
        <pc:spChg chg="mod">
          <ac:chgData name="Löcker, Hans Jürgen" userId="a72664b4-e718-48b1-8ea3-32df7930c927" providerId="ADAL" clId="{691E497B-67F2-4C1B-BACD-4E89E36B9237}" dt="2025-09-21T14:35:52.844" v="494"/>
          <ac:spMkLst>
            <pc:docMk/>
            <pc:sldMk cId="1445516947" sldId="11435"/>
            <ac:spMk id="635" creationId="{ECAA8A25-F887-86DF-7268-856F2B86B197}"/>
          </ac:spMkLst>
        </pc:spChg>
        <pc:spChg chg="mod">
          <ac:chgData name="Löcker, Hans Jürgen" userId="a72664b4-e718-48b1-8ea3-32df7930c927" providerId="ADAL" clId="{691E497B-67F2-4C1B-BACD-4E89E36B9237}" dt="2025-09-21T14:35:52.844" v="494"/>
          <ac:spMkLst>
            <pc:docMk/>
            <pc:sldMk cId="1445516947" sldId="11435"/>
            <ac:spMk id="680" creationId="{60ABDD08-DD63-55FF-3FCB-5B9DA3B0E501}"/>
          </ac:spMkLst>
        </pc:spChg>
        <pc:spChg chg="mod">
          <ac:chgData name="Löcker, Hans Jürgen" userId="a72664b4-e718-48b1-8ea3-32df7930c927" providerId="ADAL" clId="{691E497B-67F2-4C1B-BACD-4E89E36B9237}" dt="2025-09-21T14:35:52.844" v="494"/>
          <ac:spMkLst>
            <pc:docMk/>
            <pc:sldMk cId="1445516947" sldId="11435"/>
            <ac:spMk id="1323" creationId="{4C09CA77-5252-08A8-9596-7F152AFFA62D}"/>
          </ac:spMkLst>
        </pc:spChg>
        <pc:spChg chg="mod">
          <ac:chgData name="Löcker, Hans Jürgen" userId="a72664b4-e718-48b1-8ea3-32df7930c927" providerId="ADAL" clId="{691E497B-67F2-4C1B-BACD-4E89E36B9237}" dt="2025-09-21T14:35:52.844" v="494"/>
          <ac:spMkLst>
            <pc:docMk/>
            <pc:sldMk cId="1445516947" sldId="11435"/>
            <ac:spMk id="1628" creationId="{EEF518FD-B890-A32C-2191-EB4FD4310D7D}"/>
          </ac:spMkLst>
        </pc:spChg>
        <pc:spChg chg="mod">
          <ac:chgData name="Löcker, Hans Jürgen" userId="a72664b4-e718-48b1-8ea3-32df7930c927" providerId="ADAL" clId="{691E497B-67F2-4C1B-BACD-4E89E36B9237}" dt="2025-09-21T14:35:52.844" v="494"/>
          <ac:spMkLst>
            <pc:docMk/>
            <pc:sldMk cId="1445516947" sldId="11435"/>
            <ac:spMk id="1883" creationId="{E71C956C-0AEB-8AC6-5711-83B22E99F939}"/>
          </ac:spMkLst>
        </pc:spChg>
        <pc:spChg chg="mod">
          <ac:chgData name="Löcker, Hans Jürgen" userId="a72664b4-e718-48b1-8ea3-32df7930c927" providerId="ADAL" clId="{691E497B-67F2-4C1B-BACD-4E89E36B9237}" dt="2025-09-21T14:35:52.844" v="494"/>
          <ac:spMkLst>
            <pc:docMk/>
            <pc:sldMk cId="1445516947" sldId="11435"/>
            <ac:spMk id="2151" creationId="{3532A5BA-804E-723F-185B-2A9CA404F23F}"/>
          </ac:spMkLst>
        </pc:spChg>
        <pc:spChg chg="mod">
          <ac:chgData name="Löcker, Hans Jürgen" userId="a72664b4-e718-48b1-8ea3-32df7930c927" providerId="ADAL" clId="{691E497B-67F2-4C1B-BACD-4E89E36B9237}" dt="2025-09-21T14:35:52.844" v="494"/>
          <ac:spMkLst>
            <pc:docMk/>
            <pc:sldMk cId="1445516947" sldId="11435"/>
            <ac:spMk id="2400" creationId="{40A6C37C-30D4-B84C-9B0C-FC196B94500D}"/>
          </ac:spMkLst>
        </pc:spChg>
        <pc:spChg chg="mod">
          <ac:chgData name="Löcker, Hans Jürgen" userId="a72664b4-e718-48b1-8ea3-32df7930c927" providerId="ADAL" clId="{691E497B-67F2-4C1B-BACD-4E89E36B9237}" dt="2025-09-21T14:35:52.844" v="494"/>
          <ac:spMkLst>
            <pc:docMk/>
            <pc:sldMk cId="1445516947" sldId="11435"/>
            <ac:spMk id="2766" creationId="{F6343F63-A195-BD83-D656-20A870C00C59}"/>
          </ac:spMkLst>
        </pc:spChg>
        <pc:spChg chg="mod">
          <ac:chgData name="Löcker, Hans Jürgen" userId="a72664b4-e718-48b1-8ea3-32df7930c927" providerId="ADAL" clId="{691E497B-67F2-4C1B-BACD-4E89E36B9237}" dt="2025-09-21T14:35:52.844" v="494"/>
          <ac:spMkLst>
            <pc:docMk/>
            <pc:sldMk cId="1445516947" sldId="11435"/>
            <ac:spMk id="3064" creationId="{92897A5A-7445-BB9E-7457-77A2BDE014E9}"/>
          </ac:spMkLst>
        </pc:spChg>
        <pc:spChg chg="mod">
          <ac:chgData name="Löcker, Hans Jürgen" userId="a72664b4-e718-48b1-8ea3-32df7930c927" providerId="ADAL" clId="{691E497B-67F2-4C1B-BACD-4E89E36B9237}" dt="2025-09-21T14:35:52.844" v="494"/>
          <ac:spMkLst>
            <pc:docMk/>
            <pc:sldMk cId="1445516947" sldId="11435"/>
            <ac:spMk id="5562" creationId="{4A46D742-79B5-DCFC-5974-DFABE7639E58}"/>
          </ac:spMkLst>
        </pc:spChg>
        <pc:graphicFrameChg chg="mod">
          <ac:chgData name="Löcker, Hans Jürgen" userId="a72664b4-e718-48b1-8ea3-32df7930c927" providerId="ADAL" clId="{691E497B-67F2-4C1B-BACD-4E89E36B9237}" dt="2025-09-21T14:36:25.705" v="744"/>
          <ac:graphicFrameMkLst>
            <pc:docMk/>
            <pc:sldMk cId="1445516947" sldId="11435"/>
            <ac:graphicFrameMk id="66" creationId="{3A4960E8-792C-4B8C-DA86-0C8667470DBE}"/>
          </ac:graphicFrameMkLst>
        </pc:graphicFrameChg>
        <pc:cxnChg chg="del">
          <ac:chgData name="Löcker, Hans Jürgen" userId="a72664b4-e718-48b1-8ea3-32df7930c927" providerId="ADAL" clId="{691E497B-67F2-4C1B-BACD-4E89E36B9237}" dt="2025-09-21T14:36:25.600" v="638"/>
          <ac:cxnSpMkLst>
            <pc:docMk/>
            <pc:sldMk cId="1445516947" sldId="11435"/>
            <ac:cxnSpMk id="43" creationId="{DE526329-AC62-AA69-3993-9F505A8868EB}"/>
          </ac:cxnSpMkLst>
        </pc:cxnChg>
        <pc:cxnChg chg="del">
          <ac:chgData name="Löcker, Hans Jürgen" userId="a72664b4-e718-48b1-8ea3-32df7930c927" providerId="ADAL" clId="{691E497B-67F2-4C1B-BACD-4E89E36B9237}" dt="2025-09-21T14:36:25.694" v="742"/>
          <ac:cxnSpMkLst>
            <pc:docMk/>
            <pc:sldMk cId="1445516947" sldId="11435"/>
            <ac:cxnSpMk id="61" creationId="{1A0C259F-65C9-8BD4-4681-5F2BC29AABBA}"/>
          </ac:cxnSpMkLst>
        </pc:cxnChg>
        <pc:cxnChg chg="del">
          <ac:chgData name="Löcker, Hans Jürgen" userId="a72664b4-e718-48b1-8ea3-32df7930c927" providerId="ADAL" clId="{691E497B-67F2-4C1B-BACD-4E89E36B9237}" dt="2025-09-21T14:36:25.688" v="738"/>
          <ac:cxnSpMkLst>
            <pc:docMk/>
            <pc:sldMk cId="1445516947" sldId="11435"/>
            <ac:cxnSpMk id="62" creationId="{DD5E3AFE-9A5B-6906-5785-4E139A6E0AEC}"/>
          </ac:cxnSpMkLst>
        </pc:cxnChg>
        <pc:cxnChg chg="del">
          <ac:chgData name="Löcker, Hans Jürgen" userId="a72664b4-e718-48b1-8ea3-32df7930c927" providerId="ADAL" clId="{691E497B-67F2-4C1B-BACD-4E89E36B9237}" dt="2025-09-21T14:36:25.681" v="734"/>
          <ac:cxnSpMkLst>
            <pc:docMk/>
            <pc:sldMk cId="1445516947" sldId="11435"/>
            <ac:cxnSpMk id="63" creationId="{0ED3A77F-84EB-3983-6A68-726162F1DC3E}"/>
          </ac:cxnSpMkLst>
        </pc:cxnChg>
        <pc:cxnChg chg="del">
          <ac:chgData name="Löcker, Hans Jürgen" userId="a72664b4-e718-48b1-8ea3-32df7930c927" providerId="ADAL" clId="{691E497B-67F2-4C1B-BACD-4E89E36B9237}" dt="2025-09-21T14:36:25.691" v="740"/>
          <ac:cxnSpMkLst>
            <pc:docMk/>
            <pc:sldMk cId="1445516947" sldId="11435"/>
            <ac:cxnSpMk id="64" creationId="{6D11D682-C423-9039-CC1B-0858B675DA41}"/>
          </ac:cxnSpMkLst>
        </pc:cxnChg>
        <pc:cxnChg chg="del">
          <ac:chgData name="Löcker, Hans Jürgen" userId="a72664b4-e718-48b1-8ea3-32df7930c927" providerId="ADAL" clId="{691E497B-67F2-4C1B-BACD-4E89E36B9237}" dt="2025-09-21T14:36:25.684" v="736"/>
          <ac:cxnSpMkLst>
            <pc:docMk/>
            <pc:sldMk cId="1445516947" sldId="11435"/>
            <ac:cxnSpMk id="65" creationId="{51C2684B-10E6-1B21-5A6E-0F772D39C3F9}"/>
          </ac:cxnSpMkLst>
        </pc:cxnChg>
        <pc:cxnChg chg="del">
          <ac:chgData name="Löcker, Hans Jürgen" userId="a72664b4-e718-48b1-8ea3-32df7930c927" providerId="ADAL" clId="{691E497B-67F2-4C1B-BACD-4E89E36B9237}" dt="2025-09-21T14:36:25.678" v="732"/>
          <ac:cxnSpMkLst>
            <pc:docMk/>
            <pc:sldMk cId="1445516947" sldId="11435"/>
            <ac:cxnSpMk id="73" creationId="{E87134F8-B576-2FB7-DDE8-ED76F5FAE5BB}"/>
          </ac:cxnSpMkLst>
        </pc:cxnChg>
        <pc:cxnChg chg="del">
          <ac:chgData name="Löcker, Hans Jürgen" userId="a72664b4-e718-48b1-8ea3-32df7930c927" providerId="ADAL" clId="{691E497B-67F2-4C1B-BACD-4E89E36B9237}" dt="2025-09-21T14:36:25.666" v="724"/>
          <ac:cxnSpMkLst>
            <pc:docMk/>
            <pc:sldMk cId="1445516947" sldId="11435"/>
            <ac:cxnSpMk id="408" creationId="{0FAB11B8-4EC9-3110-00FC-6FD35824F832}"/>
          </ac:cxnSpMkLst>
        </pc:cxnChg>
        <pc:cxnChg chg="del">
          <ac:chgData name="Löcker, Hans Jürgen" userId="a72664b4-e718-48b1-8ea3-32df7930c927" providerId="ADAL" clId="{691E497B-67F2-4C1B-BACD-4E89E36B9237}" dt="2025-09-21T14:36:25.663" v="722"/>
          <ac:cxnSpMkLst>
            <pc:docMk/>
            <pc:sldMk cId="1445516947" sldId="11435"/>
            <ac:cxnSpMk id="409" creationId="{CD06F4FC-A271-F9AA-C184-3CCD30114214}"/>
          </ac:cxnSpMkLst>
        </pc:cxnChg>
        <pc:cxnChg chg="del">
          <ac:chgData name="Löcker, Hans Jürgen" userId="a72664b4-e718-48b1-8ea3-32df7930c927" providerId="ADAL" clId="{691E497B-67F2-4C1B-BACD-4E89E36B9237}" dt="2025-09-21T14:36:25.660" v="720"/>
          <ac:cxnSpMkLst>
            <pc:docMk/>
            <pc:sldMk cId="1445516947" sldId="11435"/>
            <ac:cxnSpMk id="410" creationId="{3F214CC2-9A01-5416-7B23-7ECEF89397D2}"/>
          </ac:cxnSpMkLst>
        </pc:cxnChg>
        <pc:cxnChg chg="del">
          <ac:chgData name="Löcker, Hans Jürgen" userId="a72664b4-e718-48b1-8ea3-32df7930c927" providerId="ADAL" clId="{691E497B-67F2-4C1B-BACD-4E89E36B9237}" dt="2025-09-21T14:36:25.657" v="718"/>
          <ac:cxnSpMkLst>
            <pc:docMk/>
            <pc:sldMk cId="1445516947" sldId="11435"/>
            <ac:cxnSpMk id="411" creationId="{6BA48F33-7BAD-5252-B22C-9B63AADCA6FB}"/>
          </ac:cxnSpMkLst>
        </pc:cxnChg>
        <pc:cxnChg chg="del">
          <ac:chgData name="Löcker, Hans Jürgen" userId="a72664b4-e718-48b1-8ea3-32df7930c927" providerId="ADAL" clId="{691E497B-67F2-4C1B-BACD-4E89E36B9237}" dt="2025-09-21T14:36:25.654" v="716"/>
          <ac:cxnSpMkLst>
            <pc:docMk/>
            <pc:sldMk cId="1445516947" sldId="11435"/>
            <ac:cxnSpMk id="412" creationId="{C482AB10-5C62-B701-7DBB-62551ACD3B9C}"/>
          </ac:cxnSpMkLst>
        </pc:cxnChg>
        <pc:cxnChg chg="del">
          <ac:chgData name="Löcker, Hans Jürgen" userId="a72664b4-e718-48b1-8ea3-32df7930c927" providerId="ADAL" clId="{691E497B-67F2-4C1B-BACD-4E89E36B9237}" dt="2025-09-21T14:36:25.651" v="714"/>
          <ac:cxnSpMkLst>
            <pc:docMk/>
            <pc:sldMk cId="1445516947" sldId="11435"/>
            <ac:cxnSpMk id="413" creationId="{C5E442B1-F38D-7A6A-FECF-476839A53921}"/>
          </ac:cxnSpMkLst>
        </pc:cxnChg>
        <pc:cxnChg chg="del">
          <ac:chgData name="Löcker, Hans Jürgen" userId="a72664b4-e718-48b1-8ea3-32df7930c927" providerId="ADAL" clId="{691E497B-67F2-4C1B-BACD-4E89E36B9237}" dt="2025-09-21T14:36:25.675" v="730"/>
          <ac:cxnSpMkLst>
            <pc:docMk/>
            <pc:sldMk cId="1445516947" sldId="11435"/>
            <ac:cxnSpMk id="420" creationId="{4D053D02-BAB8-DA85-B16C-B57B2019B993}"/>
          </ac:cxnSpMkLst>
        </pc:cxnChg>
        <pc:cxnChg chg="del">
          <ac:chgData name="Löcker, Hans Jürgen" userId="a72664b4-e718-48b1-8ea3-32df7930c927" providerId="ADAL" clId="{691E497B-67F2-4C1B-BACD-4E89E36B9237}" dt="2025-09-21T14:36:25.672" v="728"/>
          <ac:cxnSpMkLst>
            <pc:docMk/>
            <pc:sldMk cId="1445516947" sldId="11435"/>
            <ac:cxnSpMk id="421" creationId="{4D365DBA-0807-01AB-A539-CFA9C7B9E438}"/>
          </ac:cxnSpMkLst>
        </pc:cxnChg>
        <pc:cxnChg chg="del">
          <ac:chgData name="Löcker, Hans Jürgen" userId="a72664b4-e718-48b1-8ea3-32df7930c927" providerId="ADAL" clId="{691E497B-67F2-4C1B-BACD-4E89E36B9237}" dt="2025-09-21T14:36:25.648" v="712"/>
          <ac:cxnSpMkLst>
            <pc:docMk/>
            <pc:sldMk cId="1445516947" sldId="11435"/>
            <ac:cxnSpMk id="438" creationId="{22FD3EB5-679B-AA86-C6BF-CB573004E825}"/>
          </ac:cxnSpMkLst>
        </pc:cxnChg>
        <pc:cxnChg chg="del">
          <ac:chgData name="Löcker, Hans Jürgen" userId="a72664b4-e718-48b1-8ea3-32df7930c927" providerId="ADAL" clId="{691E497B-67F2-4C1B-BACD-4E89E36B9237}" dt="2025-09-21T14:36:25.644" v="710"/>
          <ac:cxnSpMkLst>
            <pc:docMk/>
            <pc:sldMk cId="1445516947" sldId="11435"/>
            <ac:cxnSpMk id="439" creationId="{ABC48A89-C8FE-0D34-02BA-D996F9EB3766}"/>
          </ac:cxnSpMkLst>
        </pc:cxnChg>
        <pc:cxnChg chg="del">
          <ac:chgData name="Löcker, Hans Jürgen" userId="a72664b4-e718-48b1-8ea3-32df7930c927" providerId="ADAL" clId="{691E497B-67F2-4C1B-BACD-4E89E36B9237}" dt="2025-09-21T14:36:25.641" v="708"/>
          <ac:cxnSpMkLst>
            <pc:docMk/>
            <pc:sldMk cId="1445516947" sldId="11435"/>
            <ac:cxnSpMk id="440" creationId="{973D803C-B825-8B65-CEA5-1AC57C34D16C}"/>
          </ac:cxnSpMkLst>
        </pc:cxnChg>
        <pc:cxnChg chg="del">
          <ac:chgData name="Löcker, Hans Jürgen" userId="a72664b4-e718-48b1-8ea3-32df7930c927" providerId="ADAL" clId="{691E497B-67F2-4C1B-BACD-4E89E36B9237}" dt="2025-09-21T14:36:25.540" v="594"/>
          <ac:cxnSpMkLst>
            <pc:docMk/>
            <pc:sldMk cId="1445516947" sldId="11435"/>
            <ac:cxnSpMk id="463" creationId="{61D6E0A1-A9AB-8C29-3BD9-51AB035B4009}"/>
          </ac:cxnSpMkLst>
        </pc:cxnChg>
        <pc:cxnChg chg="del">
          <ac:chgData name="Löcker, Hans Jürgen" userId="a72664b4-e718-48b1-8ea3-32df7930c927" providerId="ADAL" clId="{691E497B-67F2-4C1B-BACD-4E89E36B9237}" dt="2025-09-21T14:36:25.458" v="538"/>
          <ac:cxnSpMkLst>
            <pc:docMk/>
            <pc:sldMk cId="1445516947" sldId="11435"/>
            <ac:cxnSpMk id="464" creationId="{57606BC6-37F3-8CB4-0893-6888DB5DC4D5}"/>
          </ac:cxnSpMkLst>
        </pc:cxnChg>
        <pc:cxnChg chg="del">
          <ac:chgData name="Löcker, Hans Jürgen" userId="a72664b4-e718-48b1-8ea3-32df7930c927" providerId="ADAL" clId="{691E497B-67F2-4C1B-BACD-4E89E36B9237}" dt="2025-09-21T14:36:25.669" v="726"/>
          <ac:cxnSpMkLst>
            <pc:docMk/>
            <pc:sldMk cId="1445516947" sldId="11435"/>
            <ac:cxnSpMk id="507" creationId="{A0EFE954-9C88-5593-3A54-460A1FE44E6A}"/>
          </ac:cxnSpMkLst>
        </pc:cxnChg>
        <pc:cxnChg chg="del">
          <ac:chgData name="Löcker, Hans Jürgen" userId="a72664b4-e718-48b1-8ea3-32df7930c927" providerId="ADAL" clId="{691E497B-67F2-4C1B-BACD-4E89E36B9237}" dt="2025-09-21T14:36:25.637" v="706"/>
          <ac:cxnSpMkLst>
            <pc:docMk/>
            <pc:sldMk cId="1445516947" sldId="11435"/>
            <ac:cxnSpMk id="509" creationId="{8C4157EB-C643-05FF-B47D-3C9AAB9649A3}"/>
          </ac:cxnSpMkLst>
        </pc:cxnChg>
      </pc:sldChg>
      <pc:sldChg chg="modSp mod">
        <pc:chgData name="Löcker, Hans Jürgen" userId="a72664b4-e718-48b1-8ea3-32df7930c927" providerId="ADAL" clId="{691E497B-67F2-4C1B-BACD-4E89E36B9237}" dt="2025-09-21T14:28:52.208" v="229" actId="20577"/>
        <pc:sldMkLst>
          <pc:docMk/>
          <pc:sldMk cId="1322654525" sldId="11436"/>
        </pc:sldMkLst>
        <pc:spChg chg="mod">
          <ac:chgData name="Löcker, Hans Jürgen" userId="a72664b4-e718-48b1-8ea3-32df7930c927" providerId="ADAL" clId="{691E497B-67F2-4C1B-BACD-4E89E36B9237}" dt="2025-09-21T14:28:52.208" v="229" actId="20577"/>
          <ac:spMkLst>
            <pc:docMk/>
            <pc:sldMk cId="1322654525" sldId="11436"/>
            <ac:spMk id="4" creationId="{66B856D2-F572-C7E0-4DA7-23DD57FEC610}"/>
          </ac:spMkLst>
        </pc:spChg>
      </pc:sldChg>
      <pc:sldChg chg="modSp mod">
        <pc:chgData name="Löcker, Hans Jürgen" userId="a72664b4-e718-48b1-8ea3-32df7930c927" providerId="ADAL" clId="{691E497B-67F2-4C1B-BACD-4E89E36B9237}" dt="2025-09-21T14:29:13.970" v="258" actId="20577"/>
        <pc:sldMkLst>
          <pc:docMk/>
          <pc:sldMk cId="1065591950" sldId="11443"/>
        </pc:sldMkLst>
        <pc:spChg chg="mod">
          <ac:chgData name="Löcker, Hans Jürgen" userId="a72664b4-e718-48b1-8ea3-32df7930c927" providerId="ADAL" clId="{691E497B-67F2-4C1B-BACD-4E89E36B9237}" dt="2025-09-21T14:29:13.970" v="258" actId="20577"/>
          <ac:spMkLst>
            <pc:docMk/>
            <pc:sldMk cId="1065591950" sldId="11443"/>
            <ac:spMk id="4" creationId="{F8BB42E8-6441-E2AC-ECFC-48205CAA8A7A}"/>
          </ac:spMkLst>
        </pc:spChg>
      </pc:sldChg>
      <pc:sldChg chg="modSp mod">
        <pc:chgData name="Löcker, Hans Jürgen" userId="a72664b4-e718-48b1-8ea3-32df7930c927" providerId="ADAL" clId="{691E497B-67F2-4C1B-BACD-4E89E36B9237}" dt="2025-09-21T14:29:25.497" v="262" actId="20577"/>
        <pc:sldMkLst>
          <pc:docMk/>
          <pc:sldMk cId="870012369" sldId="11444"/>
        </pc:sldMkLst>
        <pc:spChg chg="mod">
          <ac:chgData name="Löcker, Hans Jürgen" userId="a72664b4-e718-48b1-8ea3-32df7930c927" providerId="ADAL" clId="{691E497B-67F2-4C1B-BACD-4E89E36B9237}" dt="2025-09-21T14:29:25.497" v="262" actId="20577"/>
          <ac:spMkLst>
            <pc:docMk/>
            <pc:sldMk cId="870012369" sldId="11444"/>
            <ac:spMk id="4" creationId="{79C12845-5EC6-FE11-7F88-DEC5604835E9}"/>
          </ac:spMkLst>
        </pc:spChg>
      </pc:sldChg>
      <pc:sldChg chg="modSp mod">
        <pc:chgData name="Löcker, Hans Jürgen" userId="a72664b4-e718-48b1-8ea3-32df7930c927" providerId="ADAL" clId="{691E497B-67F2-4C1B-BACD-4E89E36B9237}" dt="2025-09-21T14:29:20.618" v="260" actId="20577"/>
        <pc:sldMkLst>
          <pc:docMk/>
          <pc:sldMk cId="111369933" sldId="11445"/>
        </pc:sldMkLst>
        <pc:spChg chg="mod">
          <ac:chgData name="Löcker, Hans Jürgen" userId="a72664b4-e718-48b1-8ea3-32df7930c927" providerId="ADAL" clId="{691E497B-67F2-4C1B-BACD-4E89E36B9237}" dt="2025-09-21T14:29:20.618" v="260" actId="20577"/>
          <ac:spMkLst>
            <pc:docMk/>
            <pc:sldMk cId="111369933" sldId="11445"/>
            <ac:spMk id="4" creationId="{4567892E-4C8A-F8CD-8EE8-A9B150572769}"/>
          </ac:spMkLst>
        </pc:spChg>
      </pc:sldChg>
      <pc:sldChg chg="modSp mod">
        <pc:chgData name="Löcker, Hans Jürgen" userId="a72664b4-e718-48b1-8ea3-32df7930c927" providerId="ADAL" clId="{691E497B-67F2-4C1B-BACD-4E89E36B9237}" dt="2025-09-21T14:29:05.782" v="256" actId="20577"/>
        <pc:sldMkLst>
          <pc:docMk/>
          <pc:sldMk cId="3530855953" sldId="11446"/>
        </pc:sldMkLst>
        <pc:spChg chg="mod">
          <ac:chgData name="Löcker, Hans Jürgen" userId="a72664b4-e718-48b1-8ea3-32df7930c927" providerId="ADAL" clId="{691E497B-67F2-4C1B-BACD-4E89E36B9237}" dt="2025-09-21T14:29:05.782" v="256" actId="20577"/>
          <ac:spMkLst>
            <pc:docMk/>
            <pc:sldMk cId="3530855953" sldId="11446"/>
            <ac:spMk id="4" creationId="{FAE36E54-B1C0-2DD5-9991-CE8C155CA7DC}"/>
          </ac:spMkLst>
        </pc:spChg>
      </pc:sldChg>
      <pc:sldChg chg="modSp mod">
        <pc:chgData name="Löcker, Hans Jürgen" userId="a72664b4-e718-48b1-8ea3-32df7930c927" providerId="ADAL" clId="{691E497B-67F2-4C1B-BACD-4E89E36B9237}" dt="2025-09-22T13:11:15.632" v="1744" actId="20577"/>
        <pc:sldMkLst>
          <pc:docMk/>
          <pc:sldMk cId="521777328" sldId="11447"/>
        </pc:sldMkLst>
        <pc:spChg chg="mod">
          <ac:chgData name="Löcker, Hans Jürgen" userId="a72664b4-e718-48b1-8ea3-32df7930c927" providerId="ADAL" clId="{691E497B-67F2-4C1B-BACD-4E89E36B9237}" dt="2025-09-21T14:29:31.081" v="264" actId="20577"/>
          <ac:spMkLst>
            <pc:docMk/>
            <pc:sldMk cId="521777328" sldId="11447"/>
            <ac:spMk id="4" creationId="{6138D66B-9EDA-CE7C-4111-0B56BA925409}"/>
          </ac:spMkLst>
        </pc:spChg>
        <pc:spChg chg="mod">
          <ac:chgData name="Löcker, Hans Jürgen" userId="a72664b4-e718-48b1-8ea3-32df7930c927" providerId="ADAL" clId="{691E497B-67F2-4C1B-BACD-4E89E36B9237}" dt="2025-09-22T13:11:15.632" v="1744" actId="20577"/>
          <ac:spMkLst>
            <pc:docMk/>
            <pc:sldMk cId="521777328" sldId="11447"/>
            <ac:spMk id="431" creationId="{5E12AEE7-3DD8-BECE-0C25-91FA38BA0C6C}"/>
          </ac:spMkLst>
        </pc:spChg>
      </pc:sldChg>
      <pc:sldChg chg="modSp mod">
        <pc:chgData name="Löcker, Hans Jürgen" userId="a72664b4-e718-48b1-8ea3-32df7930c927" providerId="ADAL" clId="{691E497B-67F2-4C1B-BACD-4E89E36B9237}" dt="2025-09-21T14:29:39.187" v="266" actId="20577"/>
        <pc:sldMkLst>
          <pc:docMk/>
          <pc:sldMk cId="3801686635" sldId="11448"/>
        </pc:sldMkLst>
        <pc:spChg chg="mod">
          <ac:chgData name="Löcker, Hans Jürgen" userId="a72664b4-e718-48b1-8ea3-32df7930c927" providerId="ADAL" clId="{691E497B-67F2-4C1B-BACD-4E89E36B9237}" dt="2025-09-21T14:29:39.187" v="266" actId="20577"/>
          <ac:spMkLst>
            <pc:docMk/>
            <pc:sldMk cId="3801686635" sldId="11448"/>
            <ac:spMk id="4" creationId="{D5A54B9F-8C10-7756-0DA2-37F23593FE02}"/>
          </ac:spMkLst>
        </pc:spChg>
      </pc:sldChg>
      <pc:sldChg chg="modSp mod">
        <pc:chgData name="Löcker, Hans Jürgen" userId="a72664b4-e718-48b1-8ea3-32df7930c927" providerId="ADAL" clId="{691E497B-67F2-4C1B-BACD-4E89E36B9237}" dt="2025-09-22T13:11:49.466" v="1747" actId="403"/>
        <pc:sldMkLst>
          <pc:docMk/>
          <pc:sldMk cId="1208740966" sldId="11449"/>
        </pc:sldMkLst>
        <pc:spChg chg="mod">
          <ac:chgData name="Löcker, Hans Jürgen" userId="a72664b4-e718-48b1-8ea3-32df7930c927" providerId="ADAL" clId="{691E497B-67F2-4C1B-BACD-4E89E36B9237}" dt="2025-09-22T13:11:49.466" v="1747" actId="403"/>
          <ac:spMkLst>
            <pc:docMk/>
            <pc:sldMk cId="1208740966" sldId="11449"/>
            <ac:spMk id="3" creationId="{0A4E1F65-5B09-6942-DDB6-F752A10262F0}"/>
          </ac:spMkLst>
        </pc:spChg>
      </pc:sldChg>
      <pc:sldChg chg="modSp mod">
        <pc:chgData name="Löcker, Hans Jürgen" userId="a72664b4-e718-48b1-8ea3-32df7930c927" providerId="ADAL" clId="{691E497B-67F2-4C1B-BACD-4E89E36B9237}" dt="2025-09-22T10:16:25.322" v="1536" actId="403"/>
        <pc:sldMkLst>
          <pc:docMk/>
          <pc:sldMk cId="1867026204" sldId="11450"/>
        </pc:sldMkLst>
        <pc:spChg chg="mod">
          <ac:chgData name="Löcker, Hans Jürgen" userId="a72664b4-e718-48b1-8ea3-32df7930c927" providerId="ADAL" clId="{691E497B-67F2-4C1B-BACD-4E89E36B9237}" dt="2025-09-22T10:16:25.322" v="1536" actId="403"/>
          <ac:spMkLst>
            <pc:docMk/>
            <pc:sldMk cId="1867026204" sldId="11450"/>
            <ac:spMk id="3" creationId="{A17513D8-0A1B-62E9-C23A-54A43DC00ADF}"/>
          </ac:spMkLst>
        </pc:spChg>
      </pc:sldChg>
      <pc:sldChg chg="add del">
        <pc:chgData name="Löcker, Hans Jürgen" userId="a72664b4-e718-48b1-8ea3-32df7930c927" providerId="ADAL" clId="{691E497B-67F2-4C1B-BACD-4E89E36B9237}" dt="2025-09-21T14:26:30.557" v="9" actId="47"/>
        <pc:sldMkLst>
          <pc:docMk/>
          <pc:sldMk cId="3328296999" sldId="11457"/>
        </pc:sldMkLst>
      </pc:sldChg>
      <pc:sldChg chg="addSp delSp modSp add mod">
        <pc:chgData name="Löcker, Hans Jürgen" userId="a72664b4-e718-48b1-8ea3-32df7930c927" providerId="ADAL" clId="{691E497B-67F2-4C1B-BACD-4E89E36B9237}" dt="2025-09-22T13:07:18.382" v="1602" actId="20577"/>
        <pc:sldMkLst>
          <pc:docMk/>
          <pc:sldMk cId="4177109797" sldId="11457"/>
        </pc:sldMkLst>
        <pc:spChg chg="mod ord">
          <ac:chgData name="Löcker, Hans Jürgen" userId="a72664b4-e718-48b1-8ea3-32df7930c927" providerId="ADAL" clId="{691E497B-67F2-4C1B-BACD-4E89E36B9237}" dt="2025-09-22T06:23:46.098" v="1097"/>
          <ac:spMkLst>
            <pc:docMk/>
            <pc:sldMk cId="4177109797" sldId="11457"/>
            <ac:spMk id="2" creationId="{F0B35096-B310-7142-4102-B57B36E3B32D}"/>
          </ac:spMkLst>
        </pc:spChg>
        <pc:spChg chg="del">
          <ac:chgData name="Löcker, Hans Jürgen" userId="a72664b4-e718-48b1-8ea3-32df7930c927" providerId="ADAL" clId="{691E497B-67F2-4C1B-BACD-4E89E36B9237}" dt="2025-09-22T06:19:27.950" v="779"/>
          <ac:spMkLst>
            <pc:docMk/>
            <pc:sldMk cId="4177109797" sldId="11457"/>
            <ac:spMk id="3" creationId="{A9CAB44C-D921-14B8-0692-963920F3CBD2}"/>
          </ac:spMkLst>
        </pc:spChg>
        <pc:spChg chg="mod ord">
          <ac:chgData name="Löcker, Hans Jürgen" userId="a72664b4-e718-48b1-8ea3-32df7930c927" providerId="ADAL" clId="{691E497B-67F2-4C1B-BACD-4E89E36B9237}" dt="2025-09-22T06:23:46.099" v="1099"/>
          <ac:spMkLst>
            <pc:docMk/>
            <pc:sldMk cId="4177109797" sldId="11457"/>
            <ac:spMk id="4" creationId="{1018D1AC-7DFD-1F47-5C5E-58B3CB65C85C}"/>
          </ac:spMkLst>
        </pc:spChg>
        <pc:spChg chg="mod ord">
          <ac:chgData name="Löcker, Hans Jürgen" userId="a72664b4-e718-48b1-8ea3-32df7930c927" providerId="ADAL" clId="{691E497B-67F2-4C1B-BACD-4E89E36B9237}" dt="2025-09-22T06:23:46.099" v="1101"/>
          <ac:spMkLst>
            <pc:docMk/>
            <pc:sldMk cId="4177109797" sldId="11457"/>
            <ac:spMk id="5" creationId="{B7E648B3-A4E4-ACFC-F80B-DB2E0F40D414}"/>
          </ac:spMkLst>
        </pc:spChg>
        <pc:spChg chg="del mod">
          <ac:chgData name="Löcker, Hans Jürgen" userId="a72664b4-e718-48b1-8ea3-32df7930c927" providerId="ADAL" clId="{691E497B-67F2-4C1B-BACD-4E89E36B9237}" dt="2025-09-22T06:19:39.308" v="897"/>
          <ac:spMkLst>
            <pc:docMk/>
            <pc:sldMk cId="4177109797" sldId="11457"/>
            <ac:spMk id="6" creationId="{23B9F3B1-452B-F2D6-B91B-C0586227CFCE}"/>
          </ac:spMkLst>
        </pc:spChg>
        <pc:spChg chg="add del mod">
          <ac:chgData name="Löcker, Hans Jürgen" userId="a72664b4-e718-48b1-8ea3-32df7930c927" providerId="ADAL" clId="{691E497B-67F2-4C1B-BACD-4E89E36B9237}" dt="2025-09-21T14:27:49.417" v="225" actId="478"/>
          <ac:spMkLst>
            <pc:docMk/>
            <pc:sldMk cId="4177109797" sldId="11457"/>
            <ac:spMk id="7" creationId="{D60A79C3-DFE1-791A-F26F-8AA2B806CA74}"/>
          </ac:spMkLst>
        </pc:spChg>
        <pc:spChg chg="del mod">
          <ac:chgData name="Löcker, Hans Jürgen" userId="a72664b4-e718-48b1-8ea3-32df7930c927" providerId="ADAL" clId="{691E497B-67F2-4C1B-BACD-4E89E36B9237}" dt="2025-09-22T06:19:39.306" v="893"/>
          <ac:spMkLst>
            <pc:docMk/>
            <pc:sldMk cId="4177109797" sldId="11457"/>
            <ac:spMk id="8" creationId="{75D1A224-6066-73B3-DF79-8A61366151BD}"/>
          </ac:spMkLst>
        </pc:spChg>
        <pc:spChg chg="mod ord">
          <ac:chgData name="Löcker, Hans Jürgen" userId="a72664b4-e718-48b1-8ea3-32df7930c927" providerId="ADAL" clId="{691E497B-67F2-4C1B-BACD-4E89E36B9237}" dt="2025-09-22T06:23:46.100" v="1103"/>
          <ac:spMkLst>
            <pc:docMk/>
            <pc:sldMk cId="4177109797" sldId="11457"/>
            <ac:spMk id="9" creationId="{8AD5FB34-E1E7-5CC6-3AF3-EDD38A19B640}"/>
          </ac:spMkLst>
        </pc:spChg>
        <pc:spChg chg="del mod">
          <ac:chgData name="Löcker, Hans Jürgen" userId="a72664b4-e718-48b1-8ea3-32df7930c927" providerId="ADAL" clId="{691E497B-67F2-4C1B-BACD-4E89E36B9237}" dt="2025-09-22T06:19:39.306" v="891"/>
          <ac:spMkLst>
            <pc:docMk/>
            <pc:sldMk cId="4177109797" sldId="11457"/>
            <ac:spMk id="10" creationId="{75813D9C-9778-9001-915F-3281D46199FF}"/>
          </ac:spMkLst>
        </pc:spChg>
        <pc:spChg chg="del mod">
          <ac:chgData name="Löcker, Hans Jürgen" userId="a72664b4-e718-48b1-8ea3-32df7930c927" providerId="ADAL" clId="{691E497B-67F2-4C1B-BACD-4E89E36B9237}" dt="2025-09-22T06:19:39.303" v="881"/>
          <ac:spMkLst>
            <pc:docMk/>
            <pc:sldMk cId="4177109797" sldId="11457"/>
            <ac:spMk id="11" creationId="{E24378C2-A94D-AFAC-4B90-0A79AB017F37}"/>
          </ac:spMkLst>
        </pc:spChg>
        <pc:spChg chg="del mod">
          <ac:chgData name="Löcker, Hans Jürgen" userId="a72664b4-e718-48b1-8ea3-32df7930c927" providerId="ADAL" clId="{691E497B-67F2-4C1B-BACD-4E89E36B9237}" dt="2025-09-22T06:19:39.291" v="847"/>
          <ac:spMkLst>
            <pc:docMk/>
            <pc:sldMk cId="4177109797" sldId="11457"/>
            <ac:spMk id="12" creationId="{5FB0EB01-C09D-A6CD-EC2E-CF283D34FC95}"/>
          </ac:spMkLst>
        </pc:spChg>
        <pc:spChg chg="del mod">
          <ac:chgData name="Löcker, Hans Jürgen" userId="a72664b4-e718-48b1-8ea3-32df7930c927" providerId="ADAL" clId="{691E497B-67F2-4C1B-BACD-4E89E36B9237}" dt="2025-09-22T06:19:39.289" v="841"/>
          <ac:spMkLst>
            <pc:docMk/>
            <pc:sldMk cId="4177109797" sldId="11457"/>
            <ac:spMk id="13" creationId="{EB8AD985-929C-D83F-26C1-04D69F6EB11C}"/>
          </ac:spMkLst>
        </pc:spChg>
        <pc:spChg chg="del mod">
          <ac:chgData name="Löcker, Hans Jürgen" userId="a72664b4-e718-48b1-8ea3-32df7930c927" providerId="ADAL" clId="{691E497B-67F2-4C1B-BACD-4E89E36B9237}" dt="2025-09-22T06:19:39.310" v="899"/>
          <ac:spMkLst>
            <pc:docMk/>
            <pc:sldMk cId="4177109797" sldId="11457"/>
            <ac:spMk id="14" creationId="{AA873186-A887-F916-980F-B13EFFE7CD14}"/>
          </ac:spMkLst>
        </pc:spChg>
        <pc:spChg chg="add del mod modVis">
          <ac:chgData name="Löcker, Hans Jürgen" userId="a72664b4-e718-48b1-8ea3-32df7930c927" providerId="ADAL" clId="{691E497B-67F2-4C1B-BACD-4E89E36B9237}" dt="2025-09-21T14:27:46.551" v="222"/>
          <ac:spMkLst>
            <pc:docMk/>
            <pc:sldMk cId="4177109797" sldId="11457"/>
            <ac:spMk id="15" creationId="{87758412-2427-5C67-8F27-922047F41167}"/>
          </ac:spMkLst>
        </pc:spChg>
        <pc:spChg chg="add del mod modVis">
          <ac:chgData name="Löcker, Hans Jürgen" userId="a72664b4-e718-48b1-8ea3-32df7930c927" providerId="ADAL" clId="{691E497B-67F2-4C1B-BACD-4E89E36B9237}" dt="2025-09-22T06:19:39.388" v="1015"/>
          <ac:spMkLst>
            <pc:docMk/>
            <pc:sldMk cId="4177109797" sldId="11457"/>
            <ac:spMk id="16" creationId="{636DEC57-77E9-B656-17CB-B618F79F6408}"/>
          </ac:spMkLst>
        </pc:spChg>
        <pc:spChg chg="del mod">
          <ac:chgData name="Löcker, Hans Jürgen" userId="a72664b4-e718-48b1-8ea3-32df7930c927" providerId="ADAL" clId="{691E497B-67F2-4C1B-BACD-4E89E36B9237}" dt="2025-09-22T06:19:39.272" v="789"/>
          <ac:spMkLst>
            <pc:docMk/>
            <pc:sldMk cId="4177109797" sldId="11457"/>
            <ac:spMk id="18" creationId="{E6F2B481-BABD-67E0-9562-D2E8B3DD4ABB}"/>
          </ac:spMkLst>
        </pc:spChg>
        <pc:spChg chg="add mod ord">
          <ac:chgData name="Löcker, Hans Jürgen" userId="a72664b4-e718-48b1-8ea3-32df7930c927" providerId="ADAL" clId="{691E497B-67F2-4C1B-BACD-4E89E36B9237}" dt="2025-09-22T13:07:18.382" v="1602" actId="20577"/>
          <ac:spMkLst>
            <pc:docMk/>
            <pc:sldMk cId="4177109797" sldId="11457"/>
            <ac:spMk id="20" creationId="{52FCBB05-99C8-8AB9-B3C2-B4247D60CD82}"/>
          </ac:spMkLst>
        </pc:spChg>
        <pc:spChg chg="del mod">
          <ac:chgData name="Löcker, Hans Jürgen" userId="a72664b4-e718-48b1-8ea3-32df7930c927" providerId="ADAL" clId="{691E497B-67F2-4C1B-BACD-4E89E36B9237}" dt="2025-09-22T06:19:39.272" v="787"/>
          <ac:spMkLst>
            <pc:docMk/>
            <pc:sldMk cId="4177109797" sldId="11457"/>
            <ac:spMk id="26" creationId="{31925A1D-1A89-4DF7-5CD7-47FD9A60A514}"/>
          </ac:spMkLst>
        </pc:spChg>
        <pc:spChg chg="del mod">
          <ac:chgData name="Löcker, Hans Jürgen" userId="a72664b4-e718-48b1-8ea3-32df7930c927" providerId="ADAL" clId="{691E497B-67F2-4C1B-BACD-4E89E36B9237}" dt="2025-09-22T06:19:39.271" v="785"/>
          <ac:spMkLst>
            <pc:docMk/>
            <pc:sldMk cId="4177109797" sldId="11457"/>
            <ac:spMk id="32" creationId="{02C0C0FD-3482-D4B3-3312-CA9F1FD5BD9C}"/>
          </ac:spMkLst>
        </pc:spChg>
        <pc:spChg chg="del mod">
          <ac:chgData name="Löcker, Hans Jürgen" userId="a72664b4-e718-48b1-8ea3-32df7930c927" providerId="ADAL" clId="{691E497B-67F2-4C1B-BACD-4E89E36B9237}" dt="2025-09-22T06:19:39.325" v="939"/>
          <ac:spMkLst>
            <pc:docMk/>
            <pc:sldMk cId="4177109797" sldId="11457"/>
            <ac:spMk id="39" creationId="{875D4032-C53E-8B99-9745-F50FB59DD508}"/>
          </ac:spMkLst>
        </pc:spChg>
        <pc:spChg chg="del mod">
          <ac:chgData name="Löcker, Hans Jürgen" userId="a72664b4-e718-48b1-8ea3-32df7930c927" providerId="ADAL" clId="{691E497B-67F2-4C1B-BACD-4E89E36B9237}" dt="2025-09-22T06:19:39.325" v="938"/>
          <ac:spMkLst>
            <pc:docMk/>
            <pc:sldMk cId="4177109797" sldId="11457"/>
            <ac:spMk id="40" creationId="{ED1AFFC6-F9BD-5B2B-85A5-2810916672FF}"/>
          </ac:spMkLst>
        </pc:spChg>
        <pc:spChg chg="del">
          <ac:chgData name="Löcker, Hans Jürgen" userId="a72664b4-e718-48b1-8ea3-32df7930c927" providerId="ADAL" clId="{691E497B-67F2-4C1B-BACD-4E89E36B9237}" dt="2025-09-22T06:19:39.270" v="783"/>
          <ac:spMkLst>
            <pc:docMk/>
            <pc:sldMk cId="4177109797" sldId="11457"/>
            <ac:spMk id="44" creationId="{C89DFFA0-286F-1DF6-299B-7ED79146FA2C}"/>
          </ac:spMkLst>
        </pc:spChg>
        <pc:spChg chg="del mod">
          <ac:chgData name="Löcker, Hans Jürgen" userId="a72664b4-e718-48b1-8ea3-32df7930c927" providerId="ADAL" clId="{691E497B-67F2-4C1B-BACD-4E89E36B9237}" dt="2025-09-22T06:19:39.288" v="835"/>
          <ac:spMkLst>
            <pc:docMk/>
            <pc:sldMk cId="4177109797" sldId="11457"/>
            <ac:spMk id="67" creationId="{6B5A27D2-8FE4-635B-71FD-07F0DFF5D7C3}"/>
          </ac:spMkLst>
        </pc:spChg>
        <pc:spChg chg="del mod">
          <ac:chgData name="Löcker, Hans Jürgen" userId="a72664b4-e718-48b1-8ea3-32df7930c927" providerId="ADAL" clId="{691E497B-67F2-4C1B-BACD-4E89E36B9237}" dt="2025-09-22T06:19:39.297" v="863"/>
          <ac:spMkLst>
            <pc:docMk/>
            <pc:sldMk cId="4177109797" sldId="11457"/>
            <ac:spMk id="69" creationId="{43ED4AED-D901-26D7-9E9B-638347D133CC}"/>
          </ac:spMkLst>
        </pc:spChg>
        <pc:spChg chg="del mod">
          <ac:chgData name="Löcker, Hans Jürgen" userId="a72664b4-e718-48b1-8ea3-32df7930c927" providerId="ADAL" clId="{691E497B-67F2-4C1B-BACD-4E89E36B9237}" dt="2025-09-22T06:19:39.309" v="898"/>
          <ac:spMkLst>
            <pc:docMk/>
            <pc:sldMk cId="4177109797" sldId="11457"/>
            <ac:spMk id="71" creationId="{E19FF31A-3EDB-DA0E-14B8-68A06256C0F2}"/>
          </ac:spMkLst>
        </pc:spChg>
        <pc:spChg chg="del mod">
          <ac:chgData name="Löcker, Hans Jürgen" userId="a72664b4-e718-48b1-8ea3-32df7930c927" providerId="ADAL" clId="{691E497B-67F2-4C1B-BACD-4E89E36B9237}" dt="2025-09-22T06:19:39.308" v="896"/>
          <ac:spMkLst>
            <pc:docMk/>
            <pc:sldMk cId="4177109797" sldId="11457"/>
            <ac:spMk id="74" creationId="{5F71BCC9-32A7-C466-9BBF-950E29A71B3A}"/>
          </ac:spMkLst>
        </pc:spChg>
        <pc:spChg chg="del mod">
          <ac:chgData name="Löcker, Hans Jürgen" userId="a72664b4-e718-48b1-8ea3-32df7930c927" providerId="ADAL" clId="{691E497B-67F2-4C1B-BACD-4E89E36B9237}" dt="2025-09-22T06:19:39.306" v="892"/>
          <ac:spMkLst>
            <pc:docMk/>
            <pc:sldMk cId="4177109797" sldId="11457"/>
            <ac:spMk id="76" creationId="{C2DB90FA-382D-CDD5-C4F7-2108D952A496}"/>
          </ac:spMkLst>
        </pc:spChg>
        <pc:spChg chg="del mod">
          <ac:chgData name="Löcker, Hans Jürgen" userId="a72664b4-e718-48b1-8ea3-32df7930c927" providerId="ADAL" clId="{691E497B-67F2-4C1B-BACD-4E89E36B9237}" dt="2025-09-22T06:19:39.306" v="890"/>
          <ac:spMkLst>
            <pc:docMk/>
            <pc:sldMk cId="4177109797" sldId="11457"/>
            <ac:spMk id="78" creationId="{F3C814B0-451E-943A-E2C6-ECD1C143242D}"/>
          </ac:spMkLst>
        </pc:spChg>
        <pc:spChg chg="del mod">
          <ac:chgData name="Löcker, Hans Jürgen" userId="a72664b4-e718-48b1-8ea3-32df7930c927" providerId="ADAL" clId="{691E497B-67F2-4C1B-BACD-4E89E36B9237}" dt="2025-09-22T06:19:39.303" v="880"/>
          <ac:spMkLst>
            <pc:docMk/>
            <pc:sldMk cId="4177109797" sldId="11457"/>
            <ac:spMk id="80" creationId="{22F3E700-1061-53D6-F9FF-9A6F64B4EFFC}"/>
          </ac:spMkLst>
        </pc:spChg>
        <pc:spChg chg="del mod">
          <ac:chgData name="Löcker, Hans Jürgen" userId="a72664b4-e718-48b1-8ea3-32df7930c927" providerId="ADAL" clId="{691E497B-67F2-4C1B-BACD-4E89E36B9237}" dt="2025-09-22T06:19:39.288" v="834"/>
          <ac:spMkLst>
            <pc:docMk/>
            <pc:sldMk cId="4177109797" sldId="11457"/>
            <ac:spMk id="82" creationId="{0470F044-2F29-5B29-0269-FD3B75184F49}"/>
          </ac:spMkLst>
        </pc:spChg>
        <pc:spChg chg="del mod">
          <ac:chgData name="Löcker, Hans Jürgen" userId="a72664b4-e718-48b1-8ea3-32df7930c927" providerId="ADAL" clId="{691E497B-67F2-4C1B-BACD-4E89E36B9237}" dt="2025-09-22T06:19:39.294" v="855"/>
          <ac:spMkLst>
            <pc:docMk/>
            <pc:sldMk cId="4177109797" sldId="11457"/>
            <ac:spMk id="84" creationId="{DF0A8B4E-05CD-9EBB-1EDD-E083D780BE0B}"/>
          </ac:spMkLst>
        </pc:spChg>
        <pc:spChg chg="del mod">
          <ac:chgData name="Löcker, Hans Jürgen" userId="a72664b4-e718-48b1-8ea3-32df7930c927" providerId="ADAL" clId="{691E497B-67F2-4C1B-BACD-4E89E36B9237}" dt="2025-09-22T06:19:39.285" v="827"/>
          <ac:spMkLst>
            <pc:docMk/>
            <pc:sldMk cId="4177109797" sldId="11457"/>
            <ac:spMk id="86" creationId="{728FF2AC-BA5D-B075-19D5-4D0C6D81A750}"/>
          </ac:spMkLst>
        </pc:spChg>
        <pc:spChg chg="del mod">
          <ac:chgData name="Löcker, Hans Jürgen" userId="a72664b4-e718-48b1-8ea3-32df7930c927" providerId="ADAL" clId="{691E497B-67F2-4C1B-BACD-4E89E36B9237}" dt="2025-09-22T06:19:39.283" v="819"/>
          <ac:spMkLst>
            <pc:docMk/>
            <pc:sldMk cId="4177109797" sldId="11457"/>
            <ac:spMk id="88" creationId="{6BB8757B-ABA5-0FF6-C537-3D76EF0E40B6}"/>
          </ac:spMkLst>
        </pc:spChg>
        <pc:spChg chg="del mod">
          <ac:chgData name="Löcker, Hans Jürgen" userId="a72664b4-e718-48b1-8ea3-32df7930c927" providerId="ADAL" clId="{691E497B-67F2-4C1B-BACD-4E89E36B9237}" dt="2025-09-22T06:19:39.279" v="805"/>
          <ac:spMkLst>
            <pc:docMk/>
            <pc:sldMk cId="4177109797" sldId="11457"/>
            <ac:spMk id="90" creationId="{58C5EB0B-DF2E-2805-0C8F-8FB3614423F9}"/>
          </ac:spMkLst>
        </pc:spChg>
        <pc:spChg chg="del mod">
          <ac:chgData name="Löcker, Hans Jürgen" userId="a72664b4-e718-48b1-8ea3-32df7930c927" providerId="ADAL" clId="{691E497B-67F2-4C1B-BACD-4E89E36B9237}" dt="2025-09-22T06:19:39.296" v="862"/>
          <ac:spMkLst>
            <pc:docMk/>
            <pc:sldMk cId="4177109797" sldId="11457"/>
            <ac:spMk id="92" creationId="{A5076EAC-655F-C896-77ED-F2E24073C76A}"/>
          </ac:spMkLst>
        </pc:spChg>
        <pc:spChg chg="del mod">
          <ac:chgData name="Löcker, Hans Jürgen" userId="a72664b4-e718-48b1-8ea3-32df7930c927" providerId="ADAL" clId="{691E497B-67F2-4C1B-BACD-4E89E36B9237}" dt="2025-09-22T06:19:39.291" v="846"/>
          <ac:spMkLst>
            <pc:docMk/>
            <pc:sldMk cId="4177109797" sldId="11457"/>
            <ac:spMk id="94" creationId="{498CEA21-1D9F-4826-BA85-B0B5D9FF419F}"/>
          </ac:spMkLst>
        </pc:spChg>
        <pc:spChg chg="del mod">
          <ac:chgData name="Löcker, Hans Jürgen" userId="a72664b4-e718-48b1-8ea3-32df7930c927" providerId="ADAL" clId="{691E497B-67F2-4C1B-BACD-4E89E36B9237}" dt="2025-09-22T06:19:39.289" v="840"/>
          <ac:spMkLst>
            <pc:docMk/>
            <pc:sldMk cId="4177109797" sldId="11457"/>
            <ac:spMk id="96" creationId="{1707F47E-B73F-F049-F1F6-1FA96BF0B815}"/>
          </ac:spMkLst>
        </pc:spChg>
        <pc:spChg chg="del mod">
          <ac:chgData name="Löcker, Hans Jürgen" userId="a72664b4-e718-48b1-8ea3-32df7930c927" providerId="ADAL" clId="{691E497B-67F2-4C1B-BACD-4E89E36B9237}" dt="2025-09-22T06:19:39.294" v="854"/>
          <ac:spMkLst>
            <pc:docMk/>
            <pc:sldMk cId="4177109797" sldId="11457"/>
            <ac:spMk id="98" creationId="{C1B19BB4-D954-01FC-99CA-3B89350BC6B6}"/>
          </ac:spMkLst>
        </pc:spChg>
        <pc:spChg chg="del mod">
          <ac:chgData name="Löcker, Hans Jürgen" userId="a72664b4-e718-48b1-8ea3-32df7930c927" providerId="ADAL" clId="{691E497B-67F2-4C1B-BACD-4E89E36B9237}" dt="2025-09-22T06:19:39.285" v="826"/>
          <ac:spMkLst>
            <pc:docMk/>
            <pc:sldMk cId="4177109797" sldId="11457"/>
            <ac:spMk id="100" creationId="{E4AB077A-DBB1-5EEA-477D-7CE19C3A6ED5}"/>
          </ac:spMkLst>
        </pc:spChg>
        <pc:spChg chg="del mod">
          <ac:chgData name="Löcker, Hans Jürgen" userId="a72664b4-e718-48b1-8ea3-32df7930c927" providerId="ADAL" clId="{691E497B-67F2-4C1B-BACD-4E89E36B9237}" dt="2025-09-22T06:19:39.283" v="818"/>
          <ac:spMkLst>
            <pc:docMk/>
            <pc:sldMk cId="4177109797" sldId="11457"/>
            <ac:spMk id="102" creationId="{9CCF6DE5-9BB2-4757-0628-F28AA8A1AC01}"/>
          </ac:spMkLst>
        </pc:spChg>
        <pc:spChg chg="del mod">
          <ac:chgData name="Löcker, Hans Jürgen" userId="a72664b4-e718-48b1-8ea3-32df7930c927" providerId="ADAL" clId="{691E497B-67F2-4C1B-BACD-4E89E36B9237}" dt="2025-09-22T06:19:39.278" v="804"/>
          <ac:spMkLst>
            <pc:docMk/>
            <pc:sldMk cId="4177109797" sldId="11457"/>
            <ac:spMk id="104" creationId="{718DB447-0FD8-453C-8A61-33B9FB087DD9}"/>
          </ac:spMkLst>
        </pc:spChg>
        <pc:spChg chg="del mod">
          <ac:chgData name="Löcker, Hans Jürgen" userId="a72664b4-e718-48b1-8ea3-32df7930c927" providerId="ADAL" clId="{691E497B-67F2-4C1B-BACD-4E89E36B9237}" dt="2025-09-22T06:19:39.329" v="952"/>
          <ac:spMkLst>
            <pc:docMk/>
            <pc:sldMk cId="4177109797" sldId="11457"/>
            <ac:spMk id="407" creationId="{9F013CE5-E615-B047-828F-24EE8CB4AB2A}"/>
          </ac:spMkLst>
        </pc:spChg>
        <pc:spChg chg="del mod">
          <ac:chgData name="Löcker, Hans Jürgen" userId="a72664b4-e718-48b1-8ea3-32df7930c927" providerId="ADAL" clId="{691E497B-67F2-4C1B-BACD-4E89E36B9237}" dt="2025-09-22T06:19:39.331" v="956"/>
          <ac:spMkLst>
            <pc:docMk/>
            <pc:sldMk cId="4177109797" sldId="11457"/>
            <ac:spMk id="419" creationId="{8C302EE4-5855-9C80-4681-C1C62C052C7D}"/>
          </ac:spMkLst>
        </pc:spChg>
        <pc:spChg chg="del">
          <ac:chgData name="Löcker, Hans Jürgen" userId="a72664b4-e718-48b1-8ea3-32df7930c927" providerId="ADAL" clId="{691E497B-67F2-4C1B-BACD-4E89E36B9237}" dt="2025-09-22T06:19:39.307" v="895"/>
          <ac:spMkLst>
            <pc:docMk/>
            <pc:sldMk cId="4177109797" sldId="11457"/>
            <ac:spMk id="447" creationId="{FA9617F2-F015-299A-0356-53A152C452B0}"/>
          </ac:spMkLst>
        </pc:spChg>
        <pc:spChg chg="del mod">
          <ac:chgData name="Löcker, Hans Jürgen" userId="a72664b4-e718-48b1-8ea3-32df7930c927" providerId="ADAL" clId="{691E497B-67F2-4C1B-BACD-4E89E36B9237}" dt="2025-09-22T06:19:39.311" v="900"/>
          <ac:spMkLst>
            <pc:docMk/>
            <pc:sldMk cId="4177109797" sldId="11457"/>
            <ac:spMk id="450" creationId="{AF9B3BBC-F78B-9725-7E6A-FC6F6547397D}"/>
          </ac:spMkLst>
        </pc:spChg>
        <pc:spChg chg="del">
          <ac:chgData name="Löcker, Hans Jürgen" userId="a72664b4-e718-48b1-8ea3-32df7930c927" providerId="ADAL" clId="{691E497B-67F2-4C1B-BACD-4E89E36B9237}" dt="2025-09-22T06:19:39.305" v="889"/>
          <ac:spMkLst>
            <pc:docMk/>
            <pc:sldMk cId="4177109797" sldId="11457"/>
            <ac:spMk id="466" creationId="{DDD9DEAF-867A-6F44-FA2B-18FC5054738E}"/>
          </ac:spMkLst>
        </pc:spChg>
        <pc:spChg chg="del">
          <ac:chgData name="Löcker, Hans Jürgen" userId="a72664b4-e718-48b1-8ea3-32df7930c927" providerId="ADAL" clId="{691E497B-67F2-4C1B-BACD-4E89E36B9237}" dt="2025-09-22T06:19:39.305" v="887"/>
          <ac:spMkLst>
            <pc:docMk/>
            <pc:sldMk cId="4177109797" sldId="11457"/>
            <ac:spMk id="467" creationId="{44346BD9-9E0A-8783-738B-982D8B04A8B1}"/>
          </ac:spMkLst>
        </pc:spChg>
        <pc:spChg chg="del mod">
          <ac:chgData name="Löcker, Hans Jürgen" userId="a72664b4-e718-48b1-8ea3-32df7930c927" providerId="ADAL" clId="{691E497B-67F2-4C1B-BACD-4E89E36B9237}" dt="2025-09-22T06:19:39.324" v="937"/>
          <ac:spMkLst>
            <pc:docMk/>
            <pc:sldMk cId="4177109797" sldId="11457"/>
            <ac:spMk id="469" creationId="{58D83730-E5FF-DC8E-56F4-88D4E5FF788F}"/>
          </ac:spMkLst>
        </pc:spChg>
        <pc:spChg chg="del">
          <ac:chgData name="Löcker, Hans Jürgen" userId="a72664b4-e718-48b1-8ea3-32df7930c927" providerId="ADAL" clId="{691E497B-67F2-4C1B-BACD-4E89E36B9237}" dt="2025-09-22T06:19:39.304" v="885"/>
          <ac:spMkLst>
            <pc:docMk/>
            <pc:sldMk cId="4177109797" sldId="11457"/>
            <ac:spMk id="471" creationId="{B6D5A0EF-171C-A73D-83B9-7BB29015E244}"/>
          </ac:spMkLst>
        </pc:spChg>
        <pc:spChg chg="del mod">
          <ac:chgData name="Löcker, Hans Jürgen" userId="a72664b4-e718-48b1-8ea3-32df7930c927" providerId="ADAL" clId="{691E497B-67F2-4C1B-BACD-4E89E36B9237}" dt="2025-09-22T06:19:39.324" v="936"/>
          <ac:spMkLst>
            <pc:docMk/>
            <pc:sldMk cId="4177109797" sldId="11457"/>
            <ac:spMk id="472" creationId="{A356C075-822E-8473-841F-66899E3611A9}"/>
          </ac:spMkLst>
        </pc:spChg>
        <pc:spChg chg="del mod">
          <ac:chgData name="Löcker, Hans Jürgen" userId="a72664b4-e718-48b1-8ea3-32df7930c927" providerId="ADAL" clId="{691E497B-67F2-4C1B-BACD-4E89E36B9237}" dt="2025-09-22T06:19:39.324" v="935"/>
          <ac:spMkLst>
            <pc:docMk/>
            <pc:sldMk cId="4177109797" sldId="11457"/>
            <ac:spMk id="474" creationId="{A628EC22-D252-DEB9-AAB9-6236B214BAA9}"/>
          </ac:spMkLst>
        </pc:spChg>
        <pc:spChg chg="del mod">
          <ac:chgData name="Löcker, Hans Jürgen" userId="a72664b4-e718-48b1-8ea3-32df7930c927" providerId="ADAL" clId="{691E497B-67F2-4C1B-BACD-4E89E36B9237}" dt="2025-09-22T06:19:39.323" v="934"/>
          <ac:spMkLst>
            <pc:docMk/>
            <pc:sldMk cId="4177109797" sldId="11457"/>
            <ac:spMk id="475" creationId="{51B55143-04AF-870B-30FB-B9F6A5ADE649}"/>
          </ac:spMkLst>
        </pc:spChg>
        <pc:spChg chg="del mod">
          <ac:chgData name="Löcker, Hans Jürgen" userId="a72664b4-e718-48b1-8ea3-32df7930c927" providerId="ADAL" clId="{691E497B-67F2-4C1B-BACD-4E89E36B9237}" dt="2025-09-22T06:19:39.323" v="933"/>
          <ac:spMkLst>
            <pc:docMk/>
            <pc:sldMk cId="4177109797" sldId="11457"/>
            <ac:spMk id="476" creationId="{7DECE5AE-1726-55E8-05CE-71FB858FDF0E}"/>
          </ac:spMkLst>
        </pc:spChg>
        <pc:spChg chg="del mod">
          <ac:chgData name="Löcker, Hans Jürgen" userId="a72664b4-e718-48b1-8ea3-32df7930c927" providerId="ADAL" clId="{691E497B-67F2-4C1B-BACD-4E89E36B9237}" dt="2025-09-22T06:19:39.323" v="932"/>
          <ac:spMkLst>
            <pc:docMk/>
            <pc:sldMk cId="4177109797" sldId="11457"/>
            <ac:spMk id="477" creationId="{7D82921C-49AA-62D5-0FFF-8805311927D7}"/>
          </ac:spMkLst>
        </pc:spChg>
        <pc:spChg chg="del mod">
          <ac:chgData name="Löcker, Hans Jürgen" userId="a72664b4-e718-48b1-8ea3-32df7930c927" providerId="ADAL" clId="{691E497B-67F2-4C1B-BACD-4E89E36B9237}" dt="2025-09-22T06:19:39.322" v="931"/>
          <ac:spMkLst>
            <pc:docMk/>
            <pc:sldMk cId="4177109797" sldId="11457"/>
            <ac:spMk id="478" creationId="{C2ABF159-B9D9-E15C-3C7E-94694F406F0F}"/>
          </ac:spMkLst>
        </pc:spChg>
        <pc:spChg chg="del mod">
          <ac:chgData name="Löcker, Hans Jürgen" userId="a72664b4-e718-48b1-8ea3-32df7930c927" providerId="ADAL" clId="{691E497B-67F2-4C1B-BACD-4E89E36B9237}" dt="2025-09-22T06:19:39.322" v="930"/>
          <ac:spMkLst>
            <pc:docMk/>
            <pc:sldMk cId="4177109797" sldId="11457"/>
            <ac:spMk id="479" creationId="{13E37795-665F-1F04-9BB8-C14D911F26CF}"/>
          </ac:spMkLst>
        </pc:spChg>
        <pc:spChg chg="del mod">
          <ac:chgData name="Löcker, Hans Jürgen" userId="a72664b4-e718-48b1-8ea3-32df7930c927" providerId="ADAL" clId="{691E497B-67F2-4C1B-BACD-4E89E36B9237}" dt="2025-09-22T06:19:39.322" v="929"/>
          <ac:spMkLst>
            <pc:docMk/>
            <pc:sldMk cId="4177109797" sldId="11457"/>
            <ac:spMk id="480" creationId="{937E1E4B-83B8-FC18-16CC-6C25E0FE0AEF}"/>
          </ac:spMkLst>
        </pc:spChg>
        <pc:spChg chg="del mod">
          <ac:chgData name="Löcker, Hans Jürgen" userId="a72664b4-e718-48b1-8ea3-32df7930c927" providerId="ADAL" clId="{691E497B-67F2-4C1B-BACD-4E89E36B9237}" dt="2025-09-22T06:19:39.321" v="928"/>
          <ac:spMkLst>
            <pc:docMk/>
            <pc:sldMk cId="4177109797" sldId="11457"/>
            <ac:spMk id="481" creationId="{38CF37C4-E919-9C1E-B4D2-F77793DDF4EF}"/>
          </ac:spMkLst>
        </pc:spChg>
        <pc:spChg chg="del mod">
          <ac:chgData name="Löcker, Hans Jürgen" userId="a72664b4-e718-48b1-8ea3-32df7930c927" providerId="ADAL" clId="{691E497B-67F2-4C1B-BACD-4E89E36B9237}" dt="2025-09-22T06:19:39.321" v="927"/>
          <ac:spMkLst>
            <pc:docMk/>
            <pc:sldMk cId="4177109797" sldId="11457"/>
            <ac:spMk id="482" creationId="{B19F108D-4F60-7397-8243-D1AF294078E4}"/>
          </ac:spMkLst>
        </pc:spChg>
        <pc:spChg chg="del mod">
          <ac:chgData name="Löcker, Hans Jürgen" userId="a72664b4-e718-48b1-8ea3-32df7930c927" providerId="ADAL" clId="{691E497B-67F2-4C1B-BACD-4E89E36B9237}" dt="2025-09-22T06:19:39.321" v="926"/>
          <ac:spMkLst>
            <pc:docMk/>
            <pc:sldMk cId="4177109797" sldId="11457"/>
            <ac:spMk id="483" creationId="{F4096F88-F58C-4777-8867-7DED306A8212}"/>
          </ac:spMkLst>
        </pc:spChg>
        <pc:spChg chg="del mod">
          <ac:chgData name="Löcker, Hans Jürgen" userId="a72664b4-e718-48b1-8ea3-32df7930c927" providerId="ADAL" clId="{691E497B-67F2-4C1B-BACD-4E89E36B9237}" dt="2025-09-22T06:19:39.320" v="925"/>
          <ac:spMkLst>
            <pc:docMk/>
            <pc:sldMk cId="4177109797" sldId="11457"/>
            <ac:spMk id="484" creationId="{CBCECF5C-EB93-5380-0634-E3EE3A5520AE}"/>
          </ac:spMkLst>
        </pc:spChg>
        <pc:spChg chg="del mod">
          <ac:chgData name="Löcker, Hans Jürgen" userId="a72664b4-e718-48b1-8ea3-32df7930c927" providerId="ADAL" clId="{691E497B-67F2-4C1B-BACD-4E89E36B9237}" dt="2025-09-22T06:19:39.329" v="951"/>
          <ac:spMkLst>
            <pc:docMk/>
            <pc:sldMk cId="4177109797" sldId="11457"/>
            <ac:spMk id="497" creationId="{35CF83A0-61E9-8CBE-6FEA-FE288855794A}"/>
          </ac:spMkLst>
        </pc:spChg>
        <pc:spChg chg="del mod">
          <ac:chgData name="Löcker, Hans Jürgen" userId="a72664b4-e718-48b1-8ea3-32df7930c927" providerId="ADAL" clId="{691E497B-67F2-4C1B-BACD-4E89E36B9237}" dt="2025-09-22T06:19:39.328" v="950"/>
          <ac:spMkLst>
            <pc:docMk/>
            <pc:sldMk cId="4177109797" sldId="11457"/>
            <ac:spMk id="498" creationId="{36EC813E-78C7-83C9-08CC-E6AC69FC89F7}"/>
          </ac:spMkLst>
        </pc:spChg>
        <pc:spChg chg="del mod">
          <ac:chgData name="Löcker, Hans Jürgen" userId="a72664b4-e718-48b1-8ea3-32df7930c927" providerId="ADAL" clId="{691E497B-67F2-4C1B-BACD-4E89E36B9237}" dt="2025-09-22T06:19:39.328" v="949"/>
          <ac:spMkLst>
            <pc:docMk/>
            <pc:sldMk cId="4177109797" sldId="11457"/>
            <ac:spMk id="499" creationId="{4EC14D64-83DB-BC61-2FEA-D03D2F3F18DD}"/>
          </ac:spMkLst>
        </pc:spChg>
        <pc:spChg chg="del mod">
          <ac:chgData name="Löcker, Hans Jürgen" userId="a72664b4-e718-48b1-8ea3-32df7930c927" providerId="ADAL" clId="{691E497B-67F2-4C1B-BACD-4E89E36B9237}" dt="2025-09-22T06:19:39.328" v="948"/>
          <ac:spMkLst>
            <pc:docMk/>
            <pc:sldMk cId="4177109797" sldId="11457"/>
            <ac:spMk id="500" creationId="{832D9117-38C8-4D03-357D-364B5A166FE1}"/>
          </ac:spMkLst>
        </pc:spChg>
        <pc:spChg chg="del mod">
          <ac:chgData name="Löcker, Hans Jürgen" userId="a72664b4-e718-48b1-8ea3-32df7930c927" providerId="ADAL" clId="{691E497B-67F2-4C1B-BACD-4E89E36B9237}" dt="2025-09-22T06:19:39.330" v="955"/>
          <ac:spMkLst>
            <pc:docMk/>
            <pc:sldMk cId="4177109797" sldId="11457"/>
            <ac:spMk id="505" creationId="{6E3AD68E-04E9-71A5-5C38-51BE7EEBA445}"/>
          </ac:spMkLst>
        </pc:spChg>
        <pc:spChg chg="del">
          <ac:chgData name="Löcker, Hans Jürgen" userId="a72664b4-e718-48b1-8ea3-32df7930c927" providerId="ADAL" clId="{691E497B-67F2-4C1B-BACD-4E89E36B9237}" dt="2025-09-22T06:19:39.303" v="883"/>
          <ac:spMkLst>
            <pc:docMk/>
            <pc:sldMk cId="4177109797" sldId="11457"/>
            <ac:spMk id="516" creationId="{A8103C1D-FA4A-FAB9-24D4-67424B1F0BB1}"/>
          </ac:spMkLst>
        </pc:spChg>
        <pc:spChg chg="del">
          <ac:chgData name="Löcker, Hans Jürgen" userId="a72664b4-e718-48b1-8ea3-32df7930c927" providerId="ADAL" clId="{691E497B-67F2-4C1B-BACD-4E89E36B9237}" dt="2025-09-22T06:19:39.302" v="879"/>
          <ac:spMkLst>
            <pc:docMk/>
            <pc:sldMk cId="4177109797" sldId="11457"/>
            <ac:spMk id="517" creationId="{14A17A77-AD39-E62F-D905-6123F95FAB74}"/>
          </ac:spMkLst>
        </pc:spChg>
        <pc:spChg chg="del">
          <ac:chgData name="Löcker, Hans Jürgen" userId="a72664b4-e718-48b1-8ea3-32df7930c927" providerId="ADAL" clId="{691E497B-67F2-4C1B-BACD-4E89E36B9237}" dt="2025-09-22T06:19:39.302" v="877"/>
          <ac:spMkLst>
            <pc:docMk/>
            <pc:sldMk cId="4177109797" sldId="11457"/>
            <ac:spMk id="518" creationId="{237753FF-7D41-AF5C-B995-55C966E1F373}"/>
          </ac:spMkLst>
        </pc:spChg>
        <pc:spChg chg="del">
          <ac:chgData name="Löcker, Hans Jürgen" userId="a72664b4-e718-48b1-8ea3-32df7930c927" providerId="ADAL" clId="{691E497B-67F2-4C1B-BACD-4E89E36B9237}" dt="2025-09-22T06:19:39.300" v="873"/>
          <ac:spMkLst>
            <pc:docMk/>
            <pc:sldMk cId="4177109797" sldId="11457"/>
            <ac:spMk id="519" creationId="{02604FF5-B2B0-FC6B-CAB7-BFC2D19B0945}"/>
          </ac:spMkLst>
        </pc:spChg>
        <pc:spChg chg="del">
          <ac:chgData name="Löcker, Hans Jürgen" userId="a72664b4-e718-48b1-8ea3-32df7930c927" providerId="ADAL" clId="{691E497B-67F2-4C1B-BACD-4E89E36B9237}" dt="2025-09-22T06:19:39.301" v="875"/>
          <ac:spMkLst>
            <pc:docMk/>
            <pc:sldMk cId="4177109797" sldId="11457"/>
            <ac:spMk id="520" creationId="{32A16766-4761-4444-66AC-9D845863EC71}"/>
          </ac:spMkLst>
        </pc:spChg>
        <pc:spChg chg="del">
          <ac:chgData name="Löcker, Hans Jürgen" userId="a72664b4-e718-48b1-8ea3-32df7930c927" providerId="ADAL" clId="{691E497B-67F2-4C1B-BACD-4E89E36B9237}" dt="2025-09-22T06:19:39.299" v="871"/>
          <ac:spMkLst>
            <pc:docMk/>
            <pc:sldMk cId="4177109797" sldId="11457"/>
            <ac:spMk id="521" creationId="{54672E30-3E52-2683-D094-25B443FB3C45}"/>
          </ac:spMkLst>
        </pc:spChg>
        <pc:spChg chg="del">
          <ac:chgData name="Löcker, Hans Jürgen" userId="a72664b4-e718-48b1-8ea3-32df7930c927" providerId="ADAL" clId="{691E497B-67F2-4C1B-BACD-4E89E36B9237}" dt="2025-09-22T06:19:39.299" v="869"/>
          <ac:spMkLst>
            <pc:docMk/>
            <pc:sldMk cId="4177109797" sldId="11457"/>
            <ac:spMk id="522" creationId="{E6631393-780A-4B63-0E31-2C90A84CDA3B}"/>
          </ac:spMkLst>
        </pc:spChg>
        <pc:spChg chg="del">
          <ac:chgData name="Löcker, Hans Jürgen" userId="a72664b4-e718-48b1-8ea3-32df7930c927" providerId="ADAL" clId="{691E497B-67F2-4C1B-BACD-4E89E36B9237}" dt="2025-09-22T06:19:39.298" v="867"/>
          <ac:spMkLst>
            <pc:docMk/>
            <pc:sldMk cId="4177109797" sldId="11457"/>
            <ac:spMk id="523" creationId="{96BAADAB-D99C-4B05-FDF5-4DD161E2FBB0}"/>
          </ac:spMkLst>
        </pc:spChg>
        <pc:spChg chg="del">
          <ac:chgData name="Löcker, Hans Jürgen" userId="a72664b4-e718-48b1-8ea3-32df7930c927" providerId="ADAL" clId="{691E497B-67F2-4C1B-BACD-4E89E36B9237}" dt="2025-09-22T06:19:39.287" v="833"/>
          <ac:spMkLst>
            <pc:docMk/>
            <pc:sldMk cId="4177109797" sldId="11457"/>
            <ac:spMk id="524" creationId="{8565143D-D943-F001-EBC0-73C202F76E87}"/>
          </ac:spMkLst>
        </pc:spChg>
        <pc:spChg chg="del">
          <ac:chgData name="Löcker, Hans Jürgen" userId="a72664b4-e718-48b1-8ea3-32df7930c927" providerId="ADAL" clId="{691E497B-67F2-4C1B-BACD-4E89E36B9237}" dt="2025-09-22T06:19:39.287" v="831"/>
          <ac:spMkLst>
            <pc:docMk/>
            <pc:sldMk cId="4177109797" sldId="11457"/>
            <ac:spMk id="525" creationId="{D6943FE9-12B5-EC55-66EF-A65400691B1A}"/>
          </ac:spMkLst>
        </pc:spChg>
        <pc:spChg chg="del mod">
          <ac:chgData name="Löcker, Hans Jürgen" userId="a72664b4-e718-48b1-8ea3-32df7930c927" providerId="ADAL" clId="{691E497B-67F2-4C1B-BACD-4E89E36B9237}" dt="2025-09-22T06:19:39.320" v="924"/>
          <ac:spMkLst>
            <pc:docMk/>
            <pc:sldMk cId="4177109797" sldId="11457"/>
            <ac:spMk id="527" creationId="{2D3DA521-BD6F-3A41-26DC-1A185C7901CD}"/>
          </ac:spMkLst>
        </pc:spChg>
        <pc:spChg chg="del mod">
          <ac:chgData name="Löcker, Hans Jürgen" userId="a72664b4-e718-48b1-8ea3-32df7930c927" providerId="ADAL" clId="{691E497B-67F2-4C1B-BACD-4E89E36B9237}" dt="2025-09-22T06:19:39.320" v="923"/>
          <ac:spMkLst>
            <pc:docMk/>
            <pc:sldMk cId="4177109797" sldId="11457"/>
            <ac:spMk id="529" creationId="{602939B3-A32B-95D4-66E0-15A46354DA0B}"/>
          </ac:spMkLst>
        </pc:spChg>
        <pc:spChg chg="del mod">
          <ac:chgData name="Löcker, Hans Jürgen" userId="a72664b4-e718-48b1-8ea3-32df7930c927" providerId="ADAL" clId="{691E497B-67F2-4C1B-BACD-4E89E36B9237}" dt="2025-09-22T06:19:39.319" v="922"/>
          <ac:spMkLst>
            <pc:docMk/>
            <pc:sldMk cId="4177109797" sldId="11457"/>
            <ac:spMk id="530" creationId="{130F0B9E-DB2F-D234-5F86-1D55CC4414DD}"/>
          </ac:spMkLst>
        </pc:spChg>
        <pc:spChg chg="del mod">
          <ac:chgData name="Löcker, Hans Jürgen" userId="a72664b4-e718-48b1-8ea3-32df7930c927" providerId="ADAL" clId="{691E497B-67F2-4C1B-BACD-4E89E36B9237}" dt="2025-09-22T06:19:39.319" v="921"/>
          <ac:spMkLst>
            <pc:docMk/>
            <pc:sldMk cId="4177109797" sldId="11457"/>
            <ac:spMk id="531" creationId="{301BDF6A-3930-577B-5A0A-23F7DFFFB383}"/>
          </ac:spMkLst>
        </pc:spChg>
        <pc:spChg chg="del mod">
          <ac:chgData name="Löcker, Hans Jürgen" userId="a72664b4-e718-48b1-8ea3-32df7930c927" providerId="ADAL" clId="{691E497B-67F2-4C1B-BACD-4E89E36B9237}" dt="2025-09-22T06:19:39.319" v="920"/>
          <ac:spMkLst>
            <pc:docMk/>
            <pc:sldMk cId="4177109797" sldId="11457"/>
            <ac:spMk id="532" creationId="{BF514AAC-B994-86AD-4250-9B3EF5160DC6}"/>
          </ac:spMkLst>
        </pc:spChg>
        <pc:spChg chg="del mod">
          <ac:chgData name="Löcker, Hans Jürgen" userId="a72664b4-e718-48b1-8ea3-32df7930c927" providerId="ADAL" clId="{691E497B-67F2-4C1B-BACD-4E89E36B9237}" dt="2025-09-22T06:19:39.319" v="919"/>
          <ac:spMkLst>
            <pc:docMk/>
            <pc:sldMk cId="4177109797" sldId="11457"/>
            <ac:spMk id="533" creationId="{94A2CDAD-EA24-F589-119D-BC7E1572A171}"/>
          </ac:spMkLst>
        </pc:spChg>
        <pc:spChg chg="del mod">
          <ac:chgData name="Löcker, Hans Jürgen" userId="a72664b4-e718-48b1-8ea3-32df7930c927" providerId="ADAL" clId="{691E497B-67F2-4C1B-BACD-4E89E36B9237}" dt="2025-09-22T06:19:39.318" v="918"/>
          <ac:spMkLst>
            <pc:docMk/>
            <pc:sldMk cId="4177109797" sldId="11457"/>
            <ac:spMk id="534" creationId="{0504492D-474F-AC57-79C0-936DDE0A72BD}"/>
          </ac:spMkLst>
        </pc:spChg>
        <pc:spChg chg="del mod">
          <ac:chgData name="Löcker, Hans Jürgen" userId="a72664b4-e718-48b1-8ea3-32df7930c927" providerId="ADAL" clId="{691E497B-67F2-4C1B-BACD-4E89E36B9237}" dt="2025-09-22T06:19:39.318" v="917"/>
          <ac:spMkLst>
            <pc:docMk/>
            <pc:sldMk cId="4177109797" sldId="11457"/>
            <ac:spMk id="535" creationId="{32D3A116-7855-D293-4595-88A7792F6877}"/>
          </ac:spMkLst>
        </pc:spChg>
        <pc:spChg chg="del mod">
          <ac:chgData name="Löcker, Hans Jürgen" userId="a72664b4-e718-48b1-8ea3-32df7930c927" providerId="ADAL" clId="{691E497B-67F2-4C1B-BACD-4E89E36B9237}" dt="2025-09-22T06:19:39.317" v="916"/>
          <ac:spMkLst>
            <pc:docMk/>
            <pc:sldMk cId="4177109797" sldId="11457"/>
            <ac:spMk id="536" creationId="{C847A789-AFBD-DB1C-5E84-147AE022A483}"/>
          </ac:spMkLst>
        </pc:spChg>
        <pc:spChg chg="del mod">
          <ac:chgData name="Löcker, Hans Jürgen" userId="a72664b4-e718-48b1-8ea3-32df7930c927" providerId="ADAL" clId="{691E497B-67F2-4C1B-BACD-4E89E36B9237}" dt="2025-09-22T06:19:39.317" v="915"/>
          <ac:spMkLst>
            <pc:docMk/>
            <pc:sldMk cId="4177109797" sldId="11457"/>
            <ac:spMk id="537" creationId="{A94D8A43-246F-3A1C-C481-1FE1C389F724}"/>
          </ac:spMkLst>
        </pc:spChg>
        <pc:spChg chg="del mod">
          <ac:chgData name="Löcker, Hans Jürgen" userId="a72664b4-e718-48b1-8ea3-32df7930c927" providerId="ADAL" clId="{691E497B-67F2-4C1B-BACD-4E89E36B9237}" dt="2025-09-22T06:19:39.317" v="914"/>
          <ac:spMkLst>
            <pc:docMk/>
            <pc:sldMk cId="4177109797" sldId="11457"/>
            <ac:spMk id="538" creationId="{11007A15-454F-B1B3-041C-6B2B7F1DC03C}"/>
          </ac:spMkLst>
        </pc:spChg>
        <pc:spChg chg="del mod">
          <ac:chgData name="Löcker, Hans Jürgen" userId="a72664b4-e718-48b1-8ea3-32df7930c927" providerId="ADAL" clId="{691E497B-67F2-4C1B-BACD-4E89E36B9237}" dt="2025-09-22T06:19:39.316" v="913"/>
          <ac:spMkLst>
            <pc:docMk/>
            <pc:sldMk cId="4177109797" sldId="11457"/>
            <ac:spMk id="539" creationId="{3538A210-01AD-4F87-B2CF-0C4574168C7C}"/>
          </ac:spMkLst>
        </pc:spChg>
        <pc:spChg chg="del mod">
          <ac:chgData name="Löcker, Hans Jürgen" userId="a72664b4-e718-48b1-8ea3-32df7930c927" providerId="ADAL" clId="{691E497B-67F2-4C1B-BACD-4E89E36B9237}" dt="2025-09-22T06:19:39.327" v="947"/>
          <ac:spMkLst>
            <pc:docMk/>
            <pc:sldMk cId="4177109797" sldId="11457"/>
            <ac:spMk id="540" creationId="{B85F5969-E269-2514-CDEC-859AD3622A6A}"/>
          </ac:spMkLst>
        </pc:spChg>
        <pc:spChg chg="del mod">
          <ac:chgData name="Löcker, Hans Jürgen" userId="a72664b4-e718-48b1-8ea3-32df7930c927" providerId="ADAL" clId="{691E497B-67F2-4C1B-BACD-4E89E36B9237}" dt="2025-09-22T06:19:39.327" v="946"/>
          <ac:spMkLst>
            <pc:docMk/>
            <pc:sldMk cId="4177109797" sldId="11457"/>
            <ac:spMk id="541" creationId="{FACF4B7A-34E2-6012-350E-E5B78CDE2A80}"/>
          </ac:spMkLst>
        </pc:spChg>
        <pc:spChg chg="del mod">
          <ac:chgData name="Löcker, Hans Jürgen" userId="a72664b4-e718-48b1-8ea3-32df7930c927" providerId="ADAL" clId="{691E497B-67F2-4C1B-BACD-4E89E36B9237}" dt="2025-09-22T06:19:39.327" v="945"/>
          <ac:spMkLst>
            <pc:docMk/>
            <pc:sldMk cId="4177109797" sldId="11457"/>
            <ac:spMk id="542" creationId="{E11FB465-E878-67A6-E7B3-85B8A291BABB}"/>
          </ac:spMkLst>
        </pc:spChg>
        <pc:spChg chg="del mod">
          <ac:chgData name="Löcker, Hans Jürgen" userId="a72664b4-e718-48b1-8ea3-32df7930c927" providerId="ADAL" clId="{691E497B-67F2-4C1B-BACD-4E89E36B9237}" dt="2025-09-22T06:19:39.327" v="944"/>
          <ac:spMkLst>
            <pc:docMk/>
            <pc:sldMk cId="4177109797" sldId="11457"/>
            <ac:spMk id="543" creationId="{274E5732-82E7-4646-695B-9E478036165C}"/>
          </ac:spMkLst>
        </pc:spChg>
        <pc:spChg chg="del mod">
          <ac:chgData name="Löcker, Hans Jürgen" userId="a72664b4-e718-48b1-8ea3-32df7930c927" providerId="ADAL" clId="{691E497B-67F2-4C1B-BACD-4E89E36B9237}" dt="2025-09-22T06:19:39.330" v="954"/>
          <ac:spMkLst>
            <pc:docMk/>
            <pc:sldMk cId="4177109797" sldId="11457"/>
            <ac:spMk id="544" creationId="{8C3D4D4B-79E8-3172-C9E0-52319A846280}"/>
          </ac:spMkLst>
        </pc:spChg>
        <pc:spChg chg="del">
          <ac:chgData name="Löcker, Hans Jürgen" userId="a72664b4-e718-48b1-8ea3-32df7930c927" providerId="ADAL" clId="{691E497B-67F2-4C1B-BACD-4E89E36B9237}" dt="2025-09-22T06:19:39.286" v="829"/>
          <ac:spMkLst>
            <pc:docMk/>
            <pc:sldMk cId="4177109797" sldId="11457"/>
            <ac:spMk id="545" creationId="{CA84C764-00D4-4762-CF6F-F097DF5718D6}"/>
          </ac:spMkLst>
        </pc:spChg>
        <pc:spChg chg="del">
          <ac:chgData name="Löcker, Hans Jürgen" userId="a72664b4-e718-48b1-8ea3-32df7930c927" providerId="ADAL" clId="{691E497B-67F2-4C1B-BACD-4E89E36B9237}" dt="2025-09-22T06:19:39.296" v="861"/>
          <ac:spMkLst>
            <pc:docMk/>
            <pc:sldMk cId="4177109797" sldId="11457"/>
            <ac:spMk id="551" creationId="{8A410789-BA37-D39C-25FD-CA0AFF9344CB}"/>
          </ac:spMkLst>
        </pc:spChg>
        <pc:spChg chg="del">
          <ac:chgData name="Löcker, Hans Jürgen" userId="a72664b4-e718-48b1-8ea3-32df7930c927" providerId="ADAL" clId="{691E497B-67F2-4C1B-BACD-4E89E36B9237}" dt="2025-09-22T06:19:39.295" v="859"/>
          <ac:spMkLst>
            <pc:docMk/>
            <pc:sldMk cId="4177109797" sldId="11457"/>
            <ac:spMk id="552" creationId="{5B48EC7C-C3E1-E94F-755A-EC2CA477AA65}"/>
          </ac:spMkLst>
        </pc:spChg>
        <pc:spChg chg="del">
          <ac:chgData name="Löcker, Hans Jürgen" userId="a72664b4-e718-48b1-8ea3-32df7930c927" providerId="ADAL" clId="{691E497B-67F2-4C1B-BACD-4E89E36B9237}" dt="2025-09-22T06:19:39.295" v="857"/>
          <ac:spMkLst>
            <pc:docMk/>
            <pc:sldMk cId="4177109797" sldId="11457"/>
            <ac:spMk id="553" creationId="{9E8893EC-8380-1CED-B56D-80CCE8B8EC7C}"/>
          </ac:spMkLst>
        </pc:spChg>
        <pc:spChg chg="del">
          <ac:chgData name="Löcker, Hans Jürgen" userId="a72664b4-e718-48b1-8ea3-32df7930c927" providerId="ADAL" clId="{691E497B-67F2-4C1B-BACD-4E89E36B9237}" dt="2025-09-22T06:19:39.293" v="853"/>
          <ac:spMkLst>
            <pc:docMk/>
            <pc:sldMk cId="4177109797" sldId="11457"/>
            <ac:spMk id="555" creationId="{61DE066A-036E-E01B-C60D-246EEE739D5B}"/>
          </ac:spMkLst>
        </pc:spChg>
        <pc:spChg chg="del">
          <ac:chgData name="Löcker, Hans Jürgen" userId="a72664b4-e718-48b1-8ea3-32df7930c927" providerId="ADAL" clId="{691E497B-67F2-4C1B-BACD-4E89E36B9237}" dt="2025-09-22T06:19:39.293" v="851"/>
          <ac:spMkLst>
            <pc:docMk/>
            <pc:sldMk cId="4177109797" sldId="11457"/>
            <ac:spMk id="556" creationId="{90CA4C05-66EB-5AA2-F731-4059F09BD799}"/>
          </ac:spMkLst>
        </pc:spChg>
        <pc:spChg chg="del">
          <ac:chgData name="Löcker, Hans Jürgen" userId="a72664b4-e718-48b1-8ea3-32df7930c927" providerId="ADAL" clId="{691E497B-67F2-4C1B-BACD-4E89E36B9237}" dt="2025-09-22T06:19:39.291" v="845"/>
          <ac:spMkLst>
            <pc:docMk/>
            <pc:sldMk cId="4177109797" sldId="11457"/>
            <ac:spMk id="557" creationId="{396FEB26-1FE7-3245-8FC0-9C7D7A29B9CD}"/>
          </ac:spMkLst>
        </pc:spChg>
        <pc:spChg chg="del">
          <ac:chgData name="Löcker, Hans Jürgen" userId="a72664b4-e718-48b1-8ea3-32df7930c927" providerId="ADAL" clId="{691E497B-67F2-4C1B-BACD-4E89E36B9237}" dt="2025-09-22T06:19:39.290" v="843"/>
          <ac:spMkLst>
            <pc:docMk/>
            <pc:sldMk cId="4177109797" sldId="11457"/>
            <ac:spMk id="558" creationId="{C256FA7C-B4BC-55FB-5B3A-F136E4F01FC6}"/>
          </ac:spMkLst>
        </pc:spChg>
        <pc:spChg chg="del">
          <ac:chgData name="Löcker, Hans Jürgen" userId="a72664b4-e718-48b1-8ea3-32df7930c927" providerId="ADAL" clId="{691E497B-67F2-4C1B-BACD-4E89E36B9237}" dt="2025-09-22T06:19:39.289" v="839"/>
          <ac:spMkLst>
            <pc:docMk/>
            <pc:sldMk cId="4177109797" sldId="11457"/>
            <ac:spMk id="559" creationId="{C38DAF6E-FDA8-5825-92DC-38F1FD669E8B}"/>
          </ac:spMkLst>
        </pc:spChg>
        <pc:spChg chg="del">
          <ac:chgData name="Löcker, Hans Jürgen" userId="a72664b4-e718-48b1-8ea3-32df7930c927" providerId="ADAL" clId="{691E497B-67F2-4C1B-BACD-4E89E36B9237}" dt="2025-09-22T06:19:39.288" v="837"/>
          <ac:spMkLst>
            <pc:docMk/>
            <pc:sldMk cId="4177109797" sldId="11457"/>
            <ac:spMk id="560" creationId="{5FA6103A-B866-60EE-CC1E-2E2B17D69F41}"/>
          </ac:spMkLst>
        </pc:spChg>
        <pc:spChg chg="del">
          <ac:chgData name="Löcker, Hans Jürgen" userId="a72664b4-e718-48b1-8ea3-32df7930c927" providerId="ADAL" clId="{691E497B-67F2-4C1B-BACD-4E89E36B9237}" dt="2025-09-22T06:19:39.284" v="823"/>
          <ac:spMkLst>
            <pc:docMk/>
            <pc:sldMk cId="4177109797" sldId="11457"/>
            <ac:spMk id="561" creationId="{381574A6-2199-0ED7-4B58-E9A33F4603BA}"/>
          </ac:spMkLst>
        </pc:spChg>
        <pc:spChg chg="del">
          <ac:chgData name="Löcker, Hans Jürgen" userId="a72664b4-e718-48b1-8ea3-32df7930c927" providerId="ADAL" clId="{691E497B-67F2-4C1B-BACD-4E89E36B9237}" dt="2025-09-22T06:19:39.285" v="825"/>
          <ac:spMkLst>
            <pc:docMk/>
            <pc:sldMk cId="4177109797" sldId="11457"/>
            <ac:spMk id="562" creationId="{DC7C52FC-8F0A-243A-78F8-B791C64DFAD6}"/>
          </ac:spMkLst>
        </pc:spChg>
        <pc:spChg chg="del">
          <ac:chgData name="Löcker, Hans Jürgen" userId="a72664b4-e718-48b1-8ea3-32df7930c927" providerId="ADAL" clId="{691E497B-67F2-4C1B-BACD-4E89E36B9237}" dt="2025-09-22T06:19:39.281" v="811"/>
          <ac:spMkLst>
            <pc:docMk/>
            <pc:sldMk cId="4177109797" sldId="11457"/>
            <ac:spMk id="563" creationId="{E1850A9F-9890-EE73-8945-DBEC32DDA980}"/>
          </ac:spMkLst>
        </pc:spChg>
        <pc:spChg chg="del">
          <ac:chgData name="Löcker, Hans Jürgen" userId="a72664b4-e718-48b1-8ea3-32df7930c927" providerId="ADAL" clId="{691E497B-67F2-4C1B-BACD-4E89E36B9237}" dt="2025-09-22T06:19:39.280" v="809"/>
          <ac:spMkLst>
            <pc:docMk/>
            <pc:sldMk cId="4177109797" sldId="11457"/>
            <ac:spMk id="564" creationId="{1821704D-1008-ABE3-E82A-81ACF60583BF}"/>
          </ac:spMkLst>
        </pc:spChg>
        <pc:spChg chg="del">
          <ac:chgData name="Löcker, Hans Jürgen" userId="a72664b4-e718-48b1-8ea3-32df7930c927" providerId="ADAL" clId="{691E497B-67F2-4C1B-BACD-4E89E36B9237}" dt="2025-09-22T06:19:39.281" v="813"/>
          <ac:spMkLst>
            <pc:docMk/>
            <pc:sldMk cId="4177109797" sldId="11457"/>
            <ac:spMk id="565" creationId="{BCB944B5-5567-81BB-0B85-DCB33B5ADDDF}"/>
          </ac:spMkLst>
        </pc:spChg>
        <pc:spChg chg="del">
          <ac:chgData name="Löcker, Hans Jürgen" userId="a72664b4-e718-48b1-8ea3-32df7930c927" providerId="ADAL" clId="{691E497B-67F2-4C1B-BACD-4E89E36B9237}" dt="2025-09-22T06:19:39.282" v="815"/>
          <ac:spMkLst>
            <pc:docMk/>
            <pc:sldMk cId="4177109797" sldId="11457"/>
            <ac:spMk id="566" creationId="{A2A8BE7E-D006-EF86-69AA-0AA5571B3FB2}"/>
          </ac:spMkLst>
        </pc:spChg>
        <pc:spChg chg="del">
          <ac:chgData name="Löcker, Hans Jürgen" userId="a72664b4-e718-48b1-8ea3-32df7930c927" providerId="ADAL" clId="{691E497B-67F2-4C1B-BACD-4E89E36B9237}" dt="2025-09-22T06:19:39.279" v="807"/>
          <ac:spMkLst>
            <pc:docMk/>
            <pc:sldMk cId="4177109797" sldId="11457"/>
            <ac:spMk id="567" creationId="{2DC038C7-D874-E162-5247-8B86754453D1}"/>
          </ac:spMkLst>
        </pc:spChg>
        <pc:spChg chg="del">
          <ac:chgData name="Löcker, Hans Jürgen" userId="a72664b4-e718-48b1-8ea3-32df7930c927" providerId="ADAL" clId="{691E497B-67F2-4C1B-BACD-4E89E36B9237}" dt="2025-09-22T06:19:39.282" v="817"/>
          <ac:spMkLst>
            <pc:docMk/>
            <pc:sldMk cId="4177109797" sldId="11457"/>
            <ac:spMk id="568" creationId="{EF09F696-B93B-8FA6-0666-1E9D7B9B3F76}"/>
          </ac:spMkLst>
        </pc:spChg>
        <pc:spChg chg="del">
          <ac:chgData name="Löcker, Hans Jürgen" userId="a72664b4-e718-48b1-8ea3-32df7930c927" providerId="ADAL" clId="{691E497B-67F2-4C1B-BACD-4E89E36B9237}" dt="2025-09-22T06:19:39.277" v="803"/>
          <ac:spMkLst>
            <pc:docMk/>
            <pc:sldMk cId="4177109797" sldId="11457"/>
            <ac:spMk id="569" creationId="{42B41ED4-492B-32C0-5E3F-ED80F5EBD4ED}"/>
          </ac:spMkLst>
        </pc:spChg>
        <pc:spChg chg="del">
          <ac:chgData name="Löcker, Hans Jürgen" userId="a72664b4-e718-48b1-8ea3-32df7930c927" providerId="ADAL" clId="{691E497B-67F2-4C1B-BACD-4E89E36B9237}" dt="2025-09-22T06:19:39.277" v="801"/>
          <ac:spMkLst>
            <pc:docMk/>
            <pc:sldMk cId="4177109797" sldId="11457"/>
            <ac:spMk id="570" creationId="{D0D77CC4-D032-CE3D-BCA6-80C09D28553F}"/>
          </ac:spMkLst>
        </pc:spChg>
        <pc:spChg chg="del">
          <ac:chgData name="Löcker, Hans Jürgen" userId="a72664b4-e718-48b1-8ea3-32df7930c927" providerId="ADAL" clId="{691E497B-67F2-4C1B-BACD-4E89E36B9237}" dt="2025-09-22T06:19:39.276" v="799"/>
          <ac:spMkLst>
            <pc:docMk/>
            <pc:sldMk cId="4177109797" sldId="11457"/>
            <ac:spMk id="571" creationId="{070E4D66-6D2D-3229-CB1B-087E3685B9B2}"/>
          </ac:spMkLst>
        </pc:spChg>
        <pc:spChg chg="del">
          <ac:chgData name="Löcker, Hans Jürgen" userId="a72664b4-e718-48b1-8ea3-32df7930c927" providerId="ADAL" clId="{691E497B-67F2-4C1B-BACD-4E89E36B9237}" dt="2025-09-22T06:19:39.275" v="797"/>
          <ac:spMkLst>
            <pc:docMk/>
            <pc:sldMk cId="4177109797" sldId="11457"/>
            <ac:spMk id="572" creationId="{8F4EA34D-EE13-263A-7FDB-F3D632B14850}"/>
          </ac:spMkLst>
        </pc:spChg>
        <pc:spChg chg="del">
          <ac:chgData name="Löcker, Hans Jürgen" userId="a72664b4-e718-48b1-8ea3-32df7930c927" providerId="ADAL" clId="{691E497B-67F2-4C1B-BACD-4E89E36B9237}" dt="2025-09-22T06:19:39.275" v="795"/>
          <ac:spMkLst>
            <pc:docMk/>
            <pc:sldMk cId="4177109797" sldId="11457"/>
            <ac:spMk id="573" creationId="{0CC50042-3CE7-13A2-5C27-804A55326329}"/>
          </ac:spMkLst>
        </pc:spChg>
        <pc:spChg chg="del">
          <ac:chgData name="Löcker, Hans Jürgen" userId="a72664b4-e718-48b1-8ea3-32df7930c927" providerId="ADAL" clId="{691E497B-67F2-4C1B-BACD-4E89E36B9237}" dt="2025-09-22T06:19:39.274" v="793"/>
          <ac:spMkLst>
            <pc:docMk/>
            <pc:sldMk cId="4177109797" sldId="11457"/>
            <ac:spMk id="574" creationId="{69460E3D-990D-984E-EA65-4AD9D9F4F25E}"/>
          </ac:spMkLst>
        </pc:spChg>
        <pc:spChg chg="del">
          <ac:chgData name="Löcker, Hans Jürgen" userId="a72664b4-e718-48b1-8ea3-32df7930c927" providerId="ADAL" clId="{691E497B-67F2-4C1B-BACD-4E89E36B9237}" dt="2025-09-22T06:19:39.273" v="791"/>
          <ac:spMkLst>
            <pc:docMk/>
            <pc:sldMk cId="4177109797" sldId="11457"/>
            <ac:spMk id="575" creationId="{ED2DCB3C-820E-2AB9-81E7-A85CB559D2BC}"/>
          </ac:spMkLst>
        </pc:spChg>
        <pc:spChg chg="del mod">
          <ac:chgData name="Löcker, Hans Jürgen" userId="a72664b4-e718-48b1-8ea3-32df7930c927" providerId="ADAL" clId="{691E497B-67F2-4C1B-BACD-4E89E36B9237}" dt="2025-09-22T06:19:39.316" v="912"/>
          <ac:spMkLst>
            <pc:docMk/>
            <pc:sldMk cId="4177109797" sldId="11457"/>
            <ac:spMk id="576" creationId="{B050FE93-0D3C-3626-F75C-15A73812F57D}"/>
          </ac:spMkLst>
        </pc:spChg>
        <pc:spChg chg="del mod">
          <ac:chgData name="Löcker, Hans Jürgen" userId="a72664b4-e718-48b1-8ea3-32df7930c927" providerId="ADAL" clId="{691E497B-67F2-4C1B-BACD-4E89E36B9237}" dt="2025-09-22T06:19:39.315" v="911"/>
          <ac:spMkLst>
            <pc:docMk/>
            <pc:sldMk cId="4177109797" sldId="11457"/>
            <ac:spMk id="578" creationId="{A5F4CF3F-0A90-54D3-6AB8-D6D7B14E3A39}"/>
          </ac:spMkLst>
        </pc:spChg>
        <pc:spChg chg="del mod">
          <ac:chgData name="Löcker, Hans Jürgen" userId="a72664b4-e718-48b1-8ea3-32df7930c927" providerId="ADAL" clId="{691E497B-67F2-4C1B-BACD-4E89E36B9237}" dt="2025-09-22T06:19:39.315" v="910"/>
          <ac:spMkLst>
            <pc:docMk/>
            <pc:sldMk cId="4177109797" sldId="11457"/>
            <ac:spMk id="579" creationId="{22FC734B-5756-67D5-C966-4A9C07728710}"/>
          </ac:spMkLst>
        </pc:spChg>
        <pc:spChg chg="del mod">
          <ac:chgData name="Löcker, Hans Jürgen" userId="a72664b4-e718-48b1-8ea3-32df7930c927" providerId="ADAL" clId="{691E497B-67F2-4C1B-BACD-4E89E36B9237}" dt="2025-09-22T06:19:39.315" v="909"/>
          <ac:spMkLst>
            <pc:docMk/>
            <pc:sldMk cId="4177109797" sldId="11457"/>
            <ac:spMk id="580" creationId="{C453E0F3-9155-8332-2A6E-CAF2319DDC5D}"/>
          </ac:spMkLst>
        </pc:spChg>
        <pc:spChg chg="del mod">
          <ac:chgData name="Löcker, Hans Jürgen" userId="a72664b4-e718-48b1-8ea3-32df7930c927" providerId="ADAL" clId="{691E497B-67F2-4C1B-BACD-4E89E36B9237}" dt="2025-09-22T06:19:39.314" v="908"/>
          <ac:spMkLst>
            <pc:docMk/>
            <pc:sldMk cId="4177109797" sldId="11457"/>
            <ac:spMk id="581" creationId="{31CAB2F4-EEDB-6940-4633-19B93C17459F}"/>
          </ac:spMkLst>
        </pc:spChg>
        <pc:spChg chg="del mod">
          <ac:chgData name="Löcker, Hans Jürgen" userId="a72664b4-e718-48b1-8ea3-32df7930c927" providerId="ADAL" clId="{691E497B-67F2-4C1B-BACD-4E89E36B9237}" dt="2025-09-22T06:19:39.314" v="907"/>
          <ac:spMkLst>
            <pc:docMk/>
            <pc:sldMk cId="4177109797" sldId="11457"/>
            <ac:spMk id="582" creationId="{E609EAAA-E53C-5207-E5F3-7D299695457D}"/>
          </ac:spMkLst>
        </pc:spChg>
        <pc:spChg chg="del mod">
          <ac:chgData name="Löcker, Hans Jürgen" userId="a72664b4-e718-48b1-8ea3-32df7930c927" providerId="ADAL" clId="{691E497B-67F2-4C1B-BACD-4E89E36B9237}" dt="2025-09-22T06:19:39.313" v="906"/>
          <ac:spMkLst>
            <pc:docMk/>
            <pc:sldMk cId="4177109797" sldId="11457"/>
            <ac:spMk id="583" creationId="{4E64F2E1-1C59-703A-FAAA-BE1E4BB813E5}"/>
          </ac:spMkLst>
        </pc:spChg>
        <pc:spChg chg="del mod">
          <ac:chgData name="Löcker, Hans Jürgen" userId="a72664b4-e718-48b1-8ea3-32df7930c927" providerId="ADAL" clId="{691E497B-67F2-4C1B-BACD-4E89E36B9237}" dt="2025-09-22T06:19:39.313" v="905"/>
          <ac:spMkLst>
            <pc:docMk/>
            <pc:sldMk cId="4177109797" sldId="11457"/>
            <ac:spMk id="584" creationId="{59C66530-9F50-F441-61E7-808C76D513D1}"/>
          </ac:spMkLst>
        </pc:spChg>
        <pc:spChg chg="del mod">
          <ac:chgData name="Löcker, Hans Jürgen" userId="a72664b4-e718-48b1-8ea3-32df7930c927" providerId="ADAL" clId="{691E497B-67F2-4C1B-BACD-4E89E36B9237}" dt="2025-09-22T06:19:39.312" v="904"/>
          <ac:spMkLst>
            <pc:docMk/>
            <pc:sldMk cId="4177109797" sldId="11457"/>
            <ac:spMk id="585" creationId="{DB13E79A-1511-BFAE-6365-E2B099958537}"/>
          </ac:spMkLst>
        </pc:spChg>
        <pc:spChg chg="del mod">
          <ac:chgData name="Löcker, Hans Jürgen" userId="a72664b4-e718-48b1-8ea3-32df7930c927" providerId="ADAL" clId="{691E497B-67F2-4C1B-BACD-4E89E36B9237}" dt="2025-09-22T06:19:39.312" v="903"/>
          <ac:spMkLst>
            <pc:docMk/>
            <pc:sldMk cId="4177109797" sldId="11457"/>
            <ac:spMk id="586" creationId="{682EDEED-ECE2-C9D6-1FDB-95E8B5857FB7}"/>
          </ac:spMkLst>
        </pc:spChg>
        <pc:spChg chg="del mod">
          <ac:chgData name="Löcker, Hans Jürgen" userId="a72664b4-e718-48b1-8ea3-32df7930c927" providerId="ADAL" clId="{691E497B-67F2-4C1B-BACD-4E89E36B9237}" dt="2025-09-22T06:19:39.312" v="902"/>
          <ac:spMkLst>
            <pc:docMk/>
            <pc:sldMk cId="4177109797" sldId="11457"/>
            <ac:spMk id="587" creationId="{CA7C37F3-E6CE-306B-C954-68707B0EFEEE}"/>
          </ac:spMkLst>
        </pc:spChg>
        <pc:spChg chg="del mod">
          <ac:chgData name="Löcker, Hans Jürgen" userId="a72664b4-e718-48b1-8ea3-32df7930c927" providerId="ADAL" clId="{691E497B-67F2-4C1B-BACD-4E89E36B9237}" dt="2025-09-22T06:19:39.311" v="901"/>
          <ac:spMkLst>
            <pc:docMk/>
            <pc:sldMk cId="4177109797" sldId="11457"/>
            <ac:spMk id="588" creationId="{97F2EC7E-F512-38B2-9E70-AFB582F264C0}"/>
          </ac:spMkLst>
        </pc:spChg>
        <pc:spChg chg="del mod">
          <ac:chgData name="Löcker, Hans Jürgen" userId="a72664b4-e718-48b1-8ea3-32df7930c927" providerId="ADAL" clId="{691E497B-67F2-4C1B-BACD-4E89E36B9237}" dt="2025-09-22T06:19:39.326" v="943"/>
          <ac:spMkLst>
            <pc:docMk/>
            <pc:sldMk cId="4177109797" sldId="11457"/>
            <ac:spMk id="589" creationId="{EF19E7BC-57B6-8E75-0ED7-6312367C9A7E}"/>
          </ac:spMkLst>
        </pc:spChg>
        <pc:spChg chg="del mod">
          <ac:chgData name="Löcker, Hans Jürgen" userId="a72664b4-e718-48b1-8ea3-32df7930c927" providerId="ADAL" clId="{691E497B-67F2-4C1B-BACD-4E89E36B9237}" dt="2025-09-22T06:19:39.326" v="942"/>
          <ac:spMkLst>
            <pc:docMk/>
            <pc:sldMk cId="4177109797" sldId="11457"/>
            <ac:spMk id="590" creationId="{F106B471-0B04-0A44-358A-8E3199AE5FF4}"/>
          </ac:spMkLst>
        </pc:spChg>
        <pc:spChg chg="del mod">
          <ac:chgData name="Löcker, Hans Jürgen" userId="a72664b4-e718-48b1-8ea3-32df7930c927" providerId="ADAL" clId="{691E497B-67F2-4C1B-BACD-4E89E36B9237}" dt="2025-09-22T06:19:39.326" v="941"/>
          <ac:spMkLst>
            <pc:docMk/>
            <pc:sldMk cId="4177109797" sldId="11457"/>
            <ac:spMk id="591" creationId="{27D1D0D1-C6BD-E988-2CC1-4960B757E0DF}"/>
          </ac:spMkLst>
        </pc:spChg>
        <pc:spChg chg="del mod">
          <ac:chgData name="Löcker, Hans Jürgen" userId="a72664b4-e718-48b1-8ea3-32df7930c927" providerId="ADAL" clId="{691E497B-67F2-4C1B-BACD-4E89E36B9237}" dt="2025-09-22T06:19:39.325" v="940"/>
          <ac:spMkLst>
            <pc:docMk/>
            <pc:sldMk cId="4177109797" sldId="11457"/>
            <ac:spMk id="592" creationId="{F10746CB-E22B-DEF5-6454-159E96D6ED7A}"/>
          </ac:spMkLst>
        </pc:spChg>
        <pc:spChg chg="del mod">
          <ac:chgData name="Löcker, Hans Jürgen" userId="a72664b4-e718-48b1-8ea3-32df7930c927" providerId="ADAL" clId="{691E497B-67F2-4C1B-BACD-4E89E36B9237}" dt="2025-09-22T06:19:39.329" v="953"/>
          <ac:spMkLst>
            <pc:docMk/>
            <pc:sldMk cId="4177109797" sldId="11457"/>
            <ac:spMk id="593" creationId="{AFCAFE15-F63E-C825-2DD7-669FB498E408}"/>
          </ac:spMkLst>
        </pc:spChg>
        <pc:spChg chg="del">
          <ac:chgData name="Löcker, Hans Jürgen" userId="a72664b4-e718-48b1-8ea3-32df7930c927" providerId="ADAL" clId="{691E497B-67F2-4C1B-BACD-4E89E36B9237}" dt="2025-09-22T06:19:39.292" v="849"/>
          <ac:spMkLst>
            <pc:docMk/>
            <pc:sldMk cId="4177109797" sldId="11457"/>
            <ac:spMk id="599" creationId="{3E367064-62C3-916C-F0AB-120D48048296}"/>
          </ac:spMkLst>
        </pc:spChg>
        <pc:graphicFrameChg chg="mod">
          <ac:chgData name="Löcker, Hans Jürgen" userId="a72664b4-e718-48b1-8ea3-32df7930c927" providerId="ADAL" clId="{691E497B-67F2-4C1B-BACD-4E89E36B9237}" dt="2025-09-22T06:23:46.103" v="1109"/>
          <ac:graphicFrameMkLst>
            <pc:docMk/>
            <pc:sldMk cId="4177109797" sldId="11457"/>
            <ac:graphicFrameMk id="66" creationId="{4AA2EE3C-4918-5610-C6C8-9653A96F5E30}"/>
          </ac:graphicFrameMkLst>
        </pc:graphicFrameChg>
        <pc:picChg chg="add mod ord modCrop">
          <ac:chgData name="Löcker, Hans Jürgen" userId="a72664b4-e718-48b1-8ea3-32df7930c927" providerId="ADAL" clId="{691E497B-67F2-4C1B-BACD-4E89E36B9237}" dt="2025-09-22T06:23:46.097" v="1095"/>
          <ac:picMkLst>
            <pc:docMk/>
            <pc:sldMk cId="4177109797" sldId="11457"/>
            <ac:picMk id="15" creationId="{37250300-0A46-184C-DA53-853064ADBDAB}"/>
          </ac:picMkLst>
        </pc:picChg>
        <pc:picChg chg="add mod ord modCrop">
          <ac:chgData name="Löcker, Hans Jürgen" userId="a72664b4-e718-48b1-8ea3-32df7930c927" providerId="ADAL" clId="{691E497B-67F2-4C1B-BACD-4E89E36B9237}" dt="2025-09-22T06:23:46.101" v="1105"/>
          <ac:picMkLst>
            <pc:docMk/>
            <pc:sldMk cId="4177109797" sldId="11457"/>
            <ac:picMk id="19" creationId="{DBF00225-4C7D-E612-759F-A47BEC016348}"/>
          </ac:picMkLst>
        </pc:picChg>
        <pc:cxnChg chg="del">
          <ac:chgData name="Löcker, Hans Jürgen" userId="a72664b4-e718-48b1-8ea3-32df7930c927" providerId="ADAL" clId="{691E497B-67F2-4C1B-BACD-4E89E36B9237}" dt="2025-09-22T06:19:39.345" v="992"/>
          <ac:cxnSpMkLst>
            <pc:docMk/>
            <pc:sldMk cId="4177109797" sldId="11457"/>
            <ac:cxnSpMk id="61" creationId="{145A5AB2-473C-360C-4FEE-44E5A8C5A0C6}"/>
          </ac:cxnSpMkLst>
        </pc:cxnChg>
        <pc:cxnChg chg="del">
          <ac:chgData name="Löcker, Hans Jürgen" userId="a72664b4-e718-48b1-8ea3-32df7930c927" providerId="ADAL" clId="{691E497B-67F2-4C1B-BACD-4E89E36B9237}" dt="2025-09-22T06:19:39.343" v="988"/>
          <ac:cxnSpMkLst>
            <pc:docMk/>
            <pc:sldMk cId="4177109797" sldId="11457"/>
            <ac:cxnSpMk id="62" creationId="{E60A717F-3A10-A17F-4F54-66EE489F1D38}"/>
          </ac:cxnSpMkLst>
        </pc:cxnChg>
        <pc:cxnChg chg="del">
          <ac:chgData name="Löcker, Hans Jürgen" userId="a72664b4-e718-48b1-8ea3-32df7930c927" providerId="ADAL" clId="{691E497B-67F2-4C1B-BACD-4E89E36B9237}" dt="2025-09-22T06:19:39.342" v="984"/>
          <ac:cxnSpMkLst>
            <pc:docMk/>
            <pc:sldMk cId="4177109797" sldId="11457"/>
            <ac:cxnSpMk id="63" creationId="{42C7E1F3-D08B-2BCB-849B-A09B8BFA054B}"/>
          </ac:cxnSpMkLst>
        </pc:cxnChg>
        <pc:cxnChg chg="del">
          <ac:chgData name="Löcker, Hans Jürgen" userId="a72664b4-e718-48b1-8ea3-32df7930c927" providerId="ADAL" clId="{691E497B-67F2-4C1B-BACD-4E89E36B9237}" dt="2025-09-22T06:19:39.344" v="990"/>
          <ac:cxnSpMkLst>
            <pc:docMk/>
            <pc:sldMk cId="4177109797" sldId="11457"/>
            <ac:cxnSpMk id="64" creationId="{0A92F19B-ADF7-6F9C-12DD-276C8F8AFC42}"/>
          </ac:cxnSpMkLst>
        </pc:cxnChg>
        <pc:cxnChg chg="del">
          <ac:chgData name="Löcker, Hans Jürgen" userId="a72664b4-e718-48b1-8ea3-32df7930c927" providerId="ADAL" clId="{691E497B-67F2-4C1B-BACD-4E89E36B9237}" dt="2025-09-22T06:19:39.343" v="986"/>
          <ac:cxnSpMkLst>
            <pc:docMk/>
            <pc:sldMk cId="4177109797" sldId="11457"/>
            <ac:cxnSpMk id="65" creationId="{018D21D3-9DF7-4BD0-9769-3AAE914B3B0B}"/>
          </ac:cxnSpMkLst>
        </pc:cxnChg>
        <pc:cxnChg chg="del">
          <ac:chgData name="Löcker, Hans Jürgen" userId="a72664b4-e718-48b1-8ea3-32df7930c927" providerId="ADAL" clId="{691E497B-67F2-4C1B-BACD-4E89E36B9237}" dt="2025-09-22T06:19:39.341" v="982"/>
          <ac:cxnSpMkLst>
            <pc:docMk/>
            <pc:sldMk cId="4177109797" sldId="11457"/>
            <ac:cxnSpMk id="73" creationId="{12ED06C1-7D4D-FA7B-2A84-B6FE224626FE}"/>
          </ac:cxnSpMkLst>
        </pc:cxnChg>
        <pc:cxnChg chg="del">
          <ac:chgData name="Löcker, Hans Jürgen" userId="a72664b4-e718-48b1-8ea3-32df7930c927" providerId="ADAL" clId="{691E497B-67F2-4C1B-BACD-4E89E36B9237}" dt="2025-09-22T06:19:39.338" v="974"/>
          <ac:cxnSpMkLst>
            <pc:docMk/>
            <pc:sldMk cId="4177109797" sldId="11457"/>
            <ac:cxnSpMk id="408" creationId="{FA0B2C6C-679B-335A-6E5C-8E47BAD7095D}"/>
          </ac:cxnSpMkLst>
        </pc:cxnChg>
        <pc:cxnChg chg="del">
          <ac:chgData name="Löcker, Hans Jürgen" userId="a72664b4-e718-48b1-8ea3-32df7930c927" providerId="ADAL" clId="{691E497B-67F2-4C1B-BACD-4E89E36B9237}" dt="2025-09-22T06:19:39.338" v="972"/>
          <ac:cxnSpMkLst>
            <pc:docMk/>
            <pc:sldMk cId="4177109797" sldId="11457"/>
            <ac:cxnSpMk id="409" creationId="{EBB36B0A-0221-F7A0-93E7-B7D2ADAF3742}"/>
          </ac:cxnSpMkLst>
        </pc:cxnChg>
        <pc:cxnChg chg="del">
          <ac:chgData name="Löcker, Hans Jürgen" userId="a72664b4-e718-48b1-8ea3-32df7930c927" providerId="ADAL" clId="{691E497B-67F2-4C1B-BACD-4E89E36B9237}" dt="2025-09-22T06:19:39.337" v="970"/>
          <ac:cxnSpMkLst>
            <pc:docMk/>
            <pc:sldMk cId="4177109797" sldId="11457"/>
            <ac:cxnSpMk id="410" creationId="{FD33DC41-4161-0673-2436-B11D204146E2}"/>
          </ac:cxnSpMkLst>
        </pc:cxnChg>
        <pc:cxnChg chg="del">
          <ac:chgData name="Löcker, Hans Jürgen" userId="a72664b4-e718-48b1-8ea3-32df7930c927" providerId="ADAL" clId="{691E497B-67F2-4C1B-BACD-4E89E36B9237}" dt="2025-09-22T06:19:39.336" v="968"/>
          <ac:cxnSpMkLst>
            <pc:docMk/>
            <pc:sldMk cId="4177109797" sldId="11457"/>
            <ac:cxnSpMk id="411" creationId="{D24C29B6-1E3F-D6E9-90A9-317891164AF1}"/>
          </ac:cxnSpMkLst>
        </pc:cxnChg>
        <pc:cxnChg chg="del">
          <ac:chgData name="Löcker, Hans Jürgen" userId="a72664b4-e718-48b1-8ea3-32df7930c927" providerId="ADAL" clId="{691E497B-67F2-4C1B-BACD-4E89E36B9237}" dt="2025-09-22T06:19:39.336" v="966"/>
          <ac:cxnSpMkLst>
            <pc:docMk/>
            <pc:sldMk cId="4177109797" sldId="11457"/>
            <ac:cxnSpMk id="412" creationId="{598A51C4-71A8-8311-21BA-823406F73823}"/>
          </ac:cxnSpMkLst>
        </pc:cxnChg>
        <pc:cxnChg chg="del">
          <ac:chgData name="Löcker, Hans Jürgen" userId="a72664b4-e718-48b1-8ea3-32df7930c927" providerId="ADAL" clId="{691E497B-67F2-4C1B-BACD-4E89E36B9237}" dt="2025-09-22T06:19:39.335" v="964"/>
          <ac:cxnSpMkLst>
            <pc:docMk/>
            <pc:sldMk cId="4177109797" sldId="11457"/>
            <ac:cxnSpMk id="413" creationId="{7EDFB86E-0D20-D875-F1C4-461B4B3BE470}"/>
          </ac:cxnSpMkLst>
        </pc:cxnChg>
        <pc:cxnChg chg="del">
          <ac:chgData name="Löcker, Hans Jürgen" userId="a72664b4-e718-48b1-8ea3-32df7930c927" providerId="ADAL" clId="{691E497B-67F2-4C1B-BACD-4E89E36B9237}" dt="2025-09-22T06:19:39.341" v="980"/>
          <ac:cxnSpMkLst>
            <pc:docMk/>
            <pc:sldMk cId="4177109797" sldId="11457"/>
            <ac:cxnSpMk id="420" creationId="{21F6A878-4FCF-4C0D-E1E0-526768170A4E}"/>
          </ac:cxnSpMkLst>
        </pc:cxnChg>
        <pc:cxnChg chg="del">
          <ac:chgData name="Löcker, Hans Jürgen" userId="a72664b4-e718-48b1-8ea3-32df7930c927" providerId="ADAL" clId="{691E497B-67F2-4C1B-BACD-4E89E36B9237}" dt="2025-09-22T06:19:39.340" v="978"/>
          <ac:cxnSpMkLst>
            <pc:docMk/>
            <pc:sldMk cId="4177109797" sldId="11457"/>
            <ac:cxnSpMk id="421" creationId="{C95F9155-5C8B-576D-50E0-AE1FE6E6A5D5}"/>
          </ac:cxnSpMkLst>
        </pc:cxnChg>
        <pc:cxnChg chg="del">
          <ac:chgData name="Löcker, Hans Jürgen" userId="a72664b4-e718-48b1-8ea3-32df7930c927" providerId="ADAL" clId="{691E497B-67F2-4C1B-BACD-4E89E36B9237}" dt="2025-09-22T06:19:39.334" v="962"/>
          <ac:cxnSpMkLst>
            <pc:docMk/>
            <pc:sldMk cId="4177109797" sldId="11457"/>
            <ac:cxnSpMk id="438" creationId="{717F784E-2E11-0093-0AC9-E6670DCC9347}"/>
          </ac:cxnSpMkLst>
        </pc:cxnChg>
        <pc:cxnChg chg="del">
          <ac:chgData name="Löcker, Hans Jürgen" userId="a72664b4-e718-48b1-8ea3-32df7930c927" providerId="ADAL" clId="{691E497B-67F2-4C1B-BACD-4E89E36B9237}" dt="2025-09-22T06:19:39.333" v="960"/>
          <ac:cxnSpMkLst>
            <pc:docMk/>
            <pc:sldMk cId="4177109797" sldId="11457"/>
            <ac:cxnSpMk id="439" creationId="{F8E16467-1D81-B353-A771-33E147696D83}"/>
          </ac:cxnSpMkLst>
        </pc:cxnChg>
        <pc:cxnChg chg="del">
          <ac:chgData name="Löcker, Hans Jürgen" userId="a72664b4-e718-48b1-8ea3-32df7930c927" providerId="ADAL" clId="{691E497B-67F2-4C1B-BACD-4E89E36B9237}" dt="2025-09-22T06:19:39.332" v="958"/>
          <ac:cxnSpMkLst>
            <pc:docMk/>
            <pc:sldMk cId="4177109797" sldId="11457"/>
            <ac:cxnSpMk id="440" creationId="{B34FF28A-FEEF-8FE1-C752-327918D34707}"/>
          </ac:cxnSpMkLst>
        </pc:cxnChg>
        <pc:cxnChg chg="del">
          <ac:chgData name="Löcker, Hans Jürgen" userId="a72664b4-e718-48b1-8ea3-32df7930c927" providerId="ADAL" clId="{691E497B-67F2-4C1B-BACD-4E89E36B9237}" dt="2025-09-22T06:19:39.297" v="865"/>
          <ac:cxnSpMkLst>
            <pc:docMk/>
            <pc:sldMk cId="4177109797" sldId="11457"/>
            <ac:cxnSpMk id="463" creationId="{15731157-5097-D972-728C-2AC13F3CFD37}"/>
          </ac:cxnSpMkLst>
        </pc:cxnChg>
        <pc:cxnChg chg="del">
          <ac:chgData name="Löcker, Hans Jürgen" userId="a72664b4-e718-48b1-8ea3-32df7930c927" providerId="ADAL" clId="{691E497B-67F2-4C1B-BACD-4E89E36B9237}" dt="2025-09-22T06:19:39.284" v="821"/>
          <ac:cxnSpMkLst>
            <pc:docMk/>
            <pc:sldMk cId="4177109797" sldId="11457"/>
            <ac:cxnSpMk id="464" creationId="{AC5FFD72-A18A-6A83-0BC3-7C07E8ED2A25}"/>
          </ac:cxnSpMkLst>
        </pc:cxnChg>
        <pc:cxnChg chg="del">
          <ac:chgData name="Löcker, Hans Jürgen" userId="a72664b4-e718-48b1-8ea3-32df7930c927" providerId="ADAL" clId="{691E497B-67F2-4C1B-BACD-4E89E36B9237}" dt="2025-09-22T06:19:39.339" v="976"/>
          <ac:cxnSpMkLst>
            <pc:docMk/>
            <pc:sldMk cId="4177109797" sldId="11457"/>
            <ac:cxnSpMk id="507" creationId="{D74D2053-6184-E427-3ACD-954CD3FAE38A}"/>
          </ac:cxnSpMkLst>
        </pc:cxnChg>
      </pc:sldChg>
      <pc:sldChg chg="add">
        <pc:chgData name="Löcker, Hans Jürgen" userId="a72664b4-e718-48b1-8ea3-32df7930c927" providerId="ADAL" clId="{691E497B-67F2-4C1B-BACD-4E89E36B9237}" dt="2025-09-21T14:35:24.220" v="493"/>
        <pc:sldMkLst>
          <pc:docMk/>
          <pc:sldMk cId="1346550222" sldId="11458"/>
        </pc:sldMkLst>
      </pc:sldChg>
      <pc:sldChg chg="addSp delSp modSp add del mod">
        <pc:chgData name="Löcker, Hans Jürgen" userId="a72664b4-e718-48b1-8ea3-32df7930c927" providerId="ADAL" clId="{691E497B-67F2-4C1B-BACD-4E89E36B9237}" dt="2025-09-22T06:30:38.080" v="1532" actId="47"/>
        <pc:sldMkLst>
          <pc:docMk/>
          <pc:sldMk cId="1528386973" sldId="11459"/>
        </pc:sldMkLst>
        <pc:spChg chg="mod ord">
          <ac:chgData name="Löcker, Hans Jürgen" userId="a72664b4-e718-48b1-8ea3-32df7930c927" providerId="ADAL" clId="{691E497B-67F2-4C1B-BACD-4E89E36B9237}" dt="2025-09-22T06:26:15.370" v="1487"/>
          <ac:spMkLst>
            <pc:docMk/>
            <pc:sldMk cId="1528386973" sldId="11459"/>
            <ac:spMk id="2" creationId="{4449B6D7-8EC1-6368-5B6C-C00B2C4C383B}"/>
          </ac:spMkLst>
        </pc:spChg>
        <pc:spChg chg="del">
          <ac:chgData name="Löcker, Hans Jürgen" userId="a72664b4-e718-48b1-8ea3-32df7930c927" providerId="ADAL" clId="{691E497B-67F2-4C1B-BACD-4E89E36B9237}" dt="2025-09-22T06:25:04.324" v="1178"/>
          <ac:spMkLst>
            <pc:docMk/>
            <pc:sldMk cId="1528386973" sldId="11459"/>
            <ac:spMk id="3" creationId="{F3173B26-5204-349C-49E0-B4AF0BCD136E}"/>
          </ac:spMkLst>
        </pc:spChg>
        <pc:spChg chg="mod ord">
          <ac:chgData name="Löcker, Hans Jürgen" userId="a72664b4-e718-48b1-8ea3-32df7930c927" providerId="ADAL" clId="{691E497B-67F2-4C1B-BACD-4E89E36B9237}" dt="2025-09-22T06:26:15.371" v="1489"/>
          <ac:spMkLst>
            <pc:docMk/>
            <pc:sldMk cId="1528386973" sldId="11459"/>
            <ac:spMk id="4" creationId="{4A5E325A-5D82-CA79-81CF-6075BD961076}"/>
          </ac:spMkLst>
        </pc:spChg>
        <pc:spChg chg="mod ord">
          <ac:chgData name="Löcker, Hans Jürgen" userId="a72664b4-e718-48b1-8ea3-32df7930c927" providerId="ADAL" clId="{691E497B-67F2-4C1B-BACD-4E89E36B9237}" dt="2025-09-22T06:26:15.372" v="1491"/>
          <ac:spMkLst>
            <pc:docMk/>
            <pc:sldMk cId="1528386973" sldId="11459"/>
            <ac:spMk id="5" creationId="{7B9ABFC3-D84D-0024-B00A-A58F6B8F0B75}"/>
          </ac:spMkLst>
        </pc:spChg>
        <pc:spChg chg="del">
          <ac:chgData name="Löcker, Hans Jürgen" userId="a72664b4-e718-48b1-8ea3-32df7930c927" providerId="ADAL" clId="{691E497B-67F2-4C1B-BACD-4E89E36B9237}" dt="2025-09-22T06:25:13.784" v="1321"/>
          <ac:spMkLst>
            <pc:docMk/>
            <pc:sldMk cId="1528386973" sldId="11459"/>
            <ac:spMk id="6" creationId="{ECBE9250-FE61-BFB6-EFF1-772538B7B2DE}"/>
          </ac:spMkLst>
        </pc:spChg>
        <pc:spChg chg="del">
          <ac:chgData name="Löcker, Hans Jürgen" userId="a72664b4-e718-48b1-8ea3-32df7930c927" providerId="ADAL" clId="{691E497B-67F2-4C1B-BACD-4E89E36B9237}" dt="2025-09-22T06:25:13.782" v="1315"/>
          <ac:spMkLst>
            <pc:docMk/>
            <pc:sldMk cId="1528386973" sldId="11459"/>
            <ac:spMk id="8" creationId="{F5094691-9928-86BC-B241-E4648C058359}"/>
          </ac:spMkLst>
        </pc:spChg>
        <pc:spChg chg="mod ord">
          <ac:chgData name="Löcker, Hans Jürgen" userId="a72664b4-e718-48b1-8ea3-32df7930c927" providerId="ADAL" clId="{691E497B-67F2-4C1B-BACD-4E89E36B9237}" dt="2025-09-22T06:26:15.372" v="1493"/>
          <ac:spMkLst>
            <pc:docMk/>
            <pc:sldMk cId="1528386973" sldId="11459"/>
            <ac:spMk id="9" creationId="{B8C44222-2EE0-9E4C-150C-6C670A4AA120}"/>
          </ac:spMkLst>
        </pc:spChg>
        <pc:spChg chg="del">
          <ac:chgData name="Löcker, Hans Jürgen" userId="a72664b4-e718-48b1-8ea3-32df7930c927" providerId="ADAL" clId="{691E497B-67F2-4C1B-BACD-4E89E36B9237}" dt="2025-09-22T06:25:13.781" v="1311"/>
          <ac:spMkLst>
            <pc:docMk/>
            <pc:sldMk cId="1528386973" sldId="11459"/>
            <ac:spMk id="10" creationId="{233A27B4-83FE-AF65-3CEF-D296D0287720}"/>
          </ac:spMkLst>
        </pc:spChg>
        <pc:spChg chg="del">
          <ac:chgData name="Löcker, Hans Jürgen" userId="a72664b4-e718-48b1-8ea3-32df7930c927" providerId="ADAL" clId="{691E497B-67F2-4C1B-BACD-4E89E36B9237}" dt="2025-09-22T06:25:13.777" v="1297"/>
          <ac:spMkLst>
            <pc:docMk/>
            <pc:sldMk cId="1528386973" sldId="11459"/>
            <ac:spMk id="11" creationId="{3C0F3A1C-A7FC-F439-3E0C-17F6D9083CF4}"/>
          </ac:spMkLst>
        </pc:spChg>
        <pc:spChg chg="del">
          <ac:chgData name="Löcker, Hans Jürgen" userId="a72664b4-e718-48b1-8ea3-32df7930c927" providerId="ADAL" clId="{691E497B-67F2-4C1B-BACD-4E89E36B9237}" dt="2025-09-22T06:25:13.765" v="1257"/>
          <ac:spMkLst>
            <pc:docMk/>
            <pc:sldMk cId="1528386973" sldId="11459"/>
            <ac:spMk id="12" creationId="{0E2F1FCC-EA33-3F86-C3FB-F89A03853080}"/>
          </ac:spMkLst>
        </pc:spChg>
        <pc:spChg chg="del">
          <ac:chgData name="Löcker, Hans Jürgen" userId="a72664b4-e718-48b1-8ea3-32df7930c927" providerId="ADAL" clId="{691E497B-67F2-4C1B-BACD-4E89E36B9237}" dt="2025-09-22T06:25:13.763" v="1249"/>
          <ac:spMkLst>
            <pc:docMk/>
            <pc:sldMk cId="1528386973" sldId="11459"/>
            <ac:spMk id="13" creationId="{E23FFEE9-549A-F526-3768-CFA49A27B762}"/>
          </ac:spMkLst>
        </pc:spChg>
        <pc:spChg chg="del">
          <ac:chgData name="Löcker, Hans Jürgen" userId="a72664b4-e718-48b1-8ea3-32df7930c927" providerId="ADAL" clId="{691E497B-67F2-4C1B-BACD-4E89E36B9237}" dt="2025-09-22T06:25:13.786" v="1328"/>
          <ac:spMkLst>
            <pc:docMk/>
            <pc:sldMk cId="1528386973" sldId="11459"/>
            <ac:spMk id="14" creationId="{02AD8B8A-8FBB-3DD9-D2DC-336FDB8DF5DA}"/>
          </ac:spMkLst>
        </pc:spChg>
        <pc:spChg chg="del">
          <ac:chgData name="Löcker, Hans Jürgen" userId="a72664b4-e718-48b1-8ea3-32df7930c927" providerId="ADAL" clId="{691E497B-67F2-4C1B-BACD-4E89E36B9237}" dt="2025-09-22T06:25:13.783" v="1317"/>
          <ac:spMkLst>
            <pc:docMk/>
            <pc:sldMk cId="1528386973" sldId="11459"/>
            <ac:spMk id="15" creationId="{833764A8-0013-4224-4E15-EFB31F59AC15}"/>
          </ac:spMkLst>
        </pc:spChg>
        <pc:spChg chg="del">
          <ac:chgData name="Löcker, Hans Jürgen" userId="a72664b4-e718-48b1-8ea3-32df7930c927" providerId="ADAL" clId="{691E497B-67F2-4C1B-BACD-4E89E36B9237}" dt="2025-09-22T06:25:13.782" v="1313"/>
          <ac:spMkLst>
            <pc:docMk/>
            <pc:sldMk cId="1528386973" sldId="11459"/>
            <ac:spMk id="16" creationId="{F3D32778-DFC4-EA41-E292-9E6297F90928}"/>
          </ac:spMkLst>
        </pc:spChg>
        <pc:spChg chg="del">
          <ac:chgData name="Löcker, Hans Jürgen" userId="a72664b4-e718-48b1-8ea3-32df7930c927" providerId="ADAL" clId="{691E497B-67F2-4C1B-BACD-4E89E36B9237}" dt="2025-09-22T06:25:13.778" v="1299"/>
          <ac:spMkLst>
            <pc:docMk/>
            <pc:sldMk cId="1528386973" sldId="11459"/>
            <ac:spMk id="17" creationId="{9B6F04E1-930F-3E5E-4FC9-22FCB9C18439}"/>
          </ac:spMkLst>
        </pc:spChg>
        <pc:spChg chg="del">
          <ac:chgData name="Löcker, Hans Jürgen" userId="a72664b4-e718-48b1-8ea3-32df7930c927" providerId="ADAL" clId="{691E497B-67F2-4C1B-BACD-4E89E36B9237}" dt="2025-09-22T06:25:13.773" v="1281"/>
          <ac:spMkLst>
            <pc:docMk/>
            <pc:sldMk cId="1528386973" sldId="11459"/>
            <ac:spMk id="18" creationId="{0957E7E1-3EAF-DD79-35BE-ACEA84DB3F35}"/>
          </ac:spMkLst>
        </pc:spChg>
        <pc:spChg chg="add del mod modVis">
          <ac:chgData name="Löcker, Hans Jürgen" userId="a72664b4-e718-48b1-8ea3-32df7930c927" providerId="ADAL" clId="{691E497B-67F2-4C1B-BACD-4E89E36B9237}" dt="2025-09-22T06:25:13.834" v="1450"/>
          <ac:spMkLst>
            <pc:docMk/>
            <pc:sldMk cId="1528386973" sldId="11459"/>
            <ac:spMk id="20" creationId="{35D706F9-6764-E2F0-35D4-99A2F6404374}"/>
          </ac:spMkLst>
        </pc:spChg>
        <pc:spChg chg="del">
          <ac:chgData name="Löcker, Hans Jürgen" userId="a72664b4-e718-48b1-8ea3-32df7930c927" providerId="ADAL" clId="{691E497B-67F2-4C1B-BACD-4E89E36B9237}" dt="2025-09-22T06:25:13.744" v="1185"/>
          <ac:spMkLst>
            <pc:docMk/>
            <pc:sldMk cId="1528386973" sldId="11459"/>
            <ac:spMk id="23" creationId="{55EA31C8-1D6B-C3E9-A3D3-7269BB4FCA7A}"/>
          </ac:spMkLst>
        </pc:spChg>
        <pc:spChg chg="del">
          <ac:chgData name="Löcker, Hans Jürgen" userId="a72664b4-e718-48b1-8ea3-32df7930c927" providerId="ADAL" clId="{691E497B-67F2-4C1B-BACD-4E89E36B9237}" dt="2025-09-22T06:25:13.745" v="1187"/>
          <ac:spMkLst>
            <pc:docMk/>
            <pc:sldMk cId="1528386973" sldId="11459"/>
            <ac:spMk id="31" creationId="{F00615F8-7C26-A950-5E39-902EE289F452}"/>
          </ac:spMkLst>
        </pc:spChg>
        <pc:spChg chg="del">
          <ac:chgData name="Löcker, Hans Jürgen" userId="a72664b4-e718-48b1-8ea3-32df7930c927" providerId="ADAL" clId="{691E497B-67F2-4C1B-BACD-4E89E36B9237}" dt="2025-09-22T06:25:13.796" v="1369"/>
          <ac:spMkLst>
            <pc:docMk/>
            <pc:sldMk cId="1528386973" sldId="11459"/>
            <ac:spMk id="38" creationId="{0684366F-132D-1E03-D5DB-44D48C542AF2}"/>
          </ac:spMkLst>
        </pc:spChg>
        <pc:spChg chg="del">
          <ac:chgData name="Löcker, Hans Jürgen" userId="a72664b4-e718-48b1-8ea3-32df7930c927" providerId="ADAL" clId="{691E497B-67F2-4C1B-BACD-4E89E36B9237}" dt="2025-09-22T06:25:13.796" v="1368"/>
          <ac:spMkLst>
            <pc:docMk/>
            <pc:sldMk cId="1528386973" sldId="11459"/>
            <ac:spMk id="39" creationId="{B3DEBA9B-6ACE-5F3C-8F3E-E4FCABC361AD}"/>
          </ac:spMkLst>
        </pc:spChg>
        <pc:spChg chg="del">
          <ac:chgData name="Löcker, Hans Jürgen" userId="a72664b4-e718-48b1-8ea3-32df7930c927" providerId="ADAL" clId="{691E497B-67F2-4C1B-BACD-4E89E36B9237}" dt="2025-09-22T06:25:13.796" v="1367"/>
          <ac:spMkLst>
            <pc:docMk/>
            <pc:sldMk cId="1528386973" sldId="11459"/>
            <ac:spMk id="40" creationId="{0B4E99AD-9316-9D14-9EB0-EF4C72804091}"/>
          </ac:spMkLst>
        </pc:spChg>
        <pc:spChg chg="del">
          <ac:chgData name="Löcker, Hans Jürgen" userId="a72664b4-e718-48b1-8ea3-32df7930c927" providerId="ADAL" clId="{691E497B-67F2-4C1B-BACD-4E89E36B9237}" dt="2025-09-22T06:25:13.786" v="1326"/>
          <ac:spMkLst>
            <pc:docMk/>
            <pc:sldMk cId="1528386973" sldId="11459"/>
            <ac:spMk id="41" creationId="{CE17B31E-0B45-DC00-95A9-8606092CEF3D}"/>
          </ac:spMkLst>
        </pc:spChg>
        <pc:spChg chg="del">
          <ac:chgData name="Löcker, Hans Jürgen" userId="a72664b4-e718-48b1-8ea3-32df7930c927" providerId="ADAL" clId="{691E497B-67F2-4C1B-BACD-4E89E36B9237}" dt="2025-09-22T06:25:13.785" v="1325"/>
          <ac:spMkLst>
            <pc:docMk/>
            <pc:sldMk cId="1528386973" sldId="11459"/>
            <ac:spMk id="42" creationId="{83B3DD7D-2B73-1A4A-6F5D-F2B828FDBDD5}"/>
          </ac:spMkLst>
        </pc:spChg>
        <pc:spChg chg="del">
          <ac:chgData name="Löcker, Hans Jürgen" userId="a72664b4-e718-48b1-8ea3-32df7930c927" providerId="ADAL" clId="{691E497B-67F2-4C1B-BACD-4E89E36B9237}" dt="2025-09-22T06:25:13.744" v="1183"/>
          <ac:spMkLst>
            <pc:docMk/>
            <pc:sldMk cId="1528386973" sldId="11459"/>
            <ac:spMk id="45" creationId="{37C77E0E-3607-8FA2-1487-9150CC88E43F}"/>
          </ac:spMkLst>
        </pc:spChg>
        <pc:spChg chg="del">
          <ac:chgData name="Löcker, Hans Jürgen" userId="a72664b4-e718-48b1-8ea3-32df7930c927" providerId="ADAL" clId="{691E497B-67F2-4C1B-BACD-4E89E36B9237}" dt="2025-09-22T06:25:13.797" v="1371"/>
          <ac:spMkLst>
            <pc:docMk/>
            <pc:sldMk cId="1528386973" sldId="11459"/>
            <ac:spMk id="52" creationId="{F4E3AD68-B932-F892-A6E2-8572643D299F}"/>
          </ac:spMkLst>
        </pc:spChg>
        <pc:spChg chg="del">
          <ac:chgData name="Löcker, Hans Jürgen" userId="a72664b4-e718-48b1-8ea3-32df7930c927" providerId="ADAL" clId="{691E497B-67F2-4C1B-BACD-4E89E36B9237}" dt="2025-09-22T06:25:13.797" v="1370"/>
          <ac:spMkLst>
            <pc:docMk/>
            <pc:sldMk cId="1528386973" sldId="11459"/>
            <ac:spMk id="54" creationId="{60FF7400-5E4B-9FD2-2198-4DAE0976D992}"/>
          </ac:spMkLst>
        </pc:spChg>
        <pc:spChg chg="del">
          <ac:chgData name="Löcker, Hans Jürgen" userId="a72664b4-e718-48b1-8ea3-32df7930c927" providerId="ADAL" clId="{691E497B-67F2-4C1B-BACD-4E89E36B9237}" dt="2025-09-22T06:25:13.780" v="1309"/>
          <ac:spMkLst>
            <pc:docMk/>
            <pc:sldMk cId="1528386973" sldId="11459"/>
            <ac:spMk id="55" creationId="{60704092-2ED2-5AD2-DCB7-B15AD0AB3FB2}"/>
          </ac:spMkLst>
        </pc:spChg>
        <pc:spChg chg="del">
          <ac:chgData name="Löcker, Hans Jürgen" userId="a72664b4-e718-48b1-8ea3-32df7930c927" providerId="ADAL" clId="{691E497B-67F2-4C1B-BACD-4E89E36B9237}" dt="2025-09-22T06:25:13.743" v="1181"/>
          <ac:spMkLst>
            <pc:docMk/>
            <pc:sldMk cId="1528386973" sldId="11459"/>
            <ac:spMk id="58" creationId="{D0CC27DB-AF7C-893D-7295-5DEE5E60468B}"/>
          </ac:spMkLst>
        </pc:spChg>
        <pc:spChg chg="del">
          <ac:chgData name="Löcker, Hans Jürgen" userId="a72664b4-e718-48b1-8ea3-32df7930c927" providerId="ADAL" clId="{691E497B-67F2-4C1B-BACD-4E89E36B9237}" dt="2025-09-22T06:25:13.761" v="1241"/>
          <ac:spMkLst>
            <pc:docMk/>
            <pc:sldMk cId="1528386973" sldId="11459"/>
            <ac:spMk id="67" creationId="{AB243871-F9C6-394C-618D-E153BF57389F}"/>
          </ac:spMkLst>
        </pc:spChg>
        <pc:spChg chg="del">
          <ac:chgData name="Löcker, Hans Jürgen" userId="a72664b4-e718-48b1-8ea3-32df7930c927" providerId="ADAL" clId="{691E497B-67F2-4C1B-BACD-4E89E36B9237}" dt="2025-09-22T06:25:13.771" v="1277"/>
          <ac:spMkLst>
            <pc:docMk/>
            <pc:sldMk cId="1528386973" sldId="11459"/>
            <ac:spMk id="69" creationId="{F78C03AC-D095-682B-144E-A734D789485A}"/>
          </ac:spMkLst>
        </pc:spChg>
        <pc:spChg chg="del">
          <ac:chgData name="Löcker, Hans Jürgen" userId="a72664b4-e718-48b1-8ea3-32df7930c927" providerId="ADAL" clId="{691E497B-67F2-4C1B-BACD-4E89E36B9237}" dt="2025-09-22T06:25:13.786" v="1327"/>
          <ac:spMkLst>
            <pc:docMk/>
            <pc:sldMk cId="1528386973" sldId="11459"/>
            <ac:spMk id="71" creationId="{51BB6C6E-94D7-E264-25D9-7F81E8B5B77A}"/>
          </ac:spMkLst>
        </pc:spChg>
        <pc:spChg chg="del">
          <ac:chgData name="Löcker, Hans Jürgen" userId="a72664b4-e718-48b1-8ea3-32df7930c927" providerId="ADAL" clId="{691E497B-67F2-4C1B-BACD-4E89E36B9237}" dt="2025-09-22T06:25:13.784" v="1320"/>
          <ac:spMkLst>
            <pc:docMk/>
            <pc:sldMk cId="1528386973" sldId="11459"/>
            <ac:spMk id="74" creationId="{8CF250EE-6A7E-3CC5-1E9E-D2C446EF8C1D}"/>
          </ac:spMkLst>
        </pc:spChg>
        <pc:spChg chg="del">
          <ac:chgData name="Löcker, Hans Jürgen" userId="a72664b4-e718-48b1-8ea3-32df7930c927" providerId="ADAL" clId="{691E497B-67F2-4C1B-BACD-4E89E36B9237}" dt="2025-09-22T06:25:13.782" v="1314"/>
          <ac:spMkLst>
            <pc:docMk/>
            <pc:sldMk cId="1528386973" sldId="11459"/>
            <ac:spMk id="76" creationId="{201BF838-C7BE-8676-BC31-77239FC81C9F}"/>
          </ac:spMkLst>
        </pc:spChg>
        <pc:spChg chg="del">
          <ac:chgData name="Löcker, Hans Jürgen" userId="a72664b4-e718-48b1-8ea3-32df7930c927" providerId="ADAL" clId="{691E497B-67F2-4C1B-BACD-4E89E36B9237}" dt="2025-09-22T06:25:13.781" v="1310"/>
          <ac:spMkLst>
            <pc:docMk/>
            <pc:sldMk cId="1528386973" sldId="11459"/>
            <ac:spMk id="78" creationId="{3034C240-251B-1C8F-7B1E-BD4B84060705}"/>
          </ac:spMkLst>
        </pc:spChg>
        <pc:spChg chg="del">
          <ac:chgData name="Löcker, Hans Jürgen" userId="a72664b4-e718-48b1-8ea3-32df7930c927" providerId="ADAL" clId="{691E497B-67F2-4C1B-BACD-4E89E36B9237}" dt="2025-09-22T06:25:13.777" v="1296"/>
          <ac:spMkLst>
            <pc:docMk/>
            <pc:sldMk cId="1528386973" sldId="11459"/>
            <ac:spMk id="80" creationId="{37750E72-10D9-71CF-57F4-7DE7AA20994A}"/>
          </ac:spMkLst>
        </pc:spChg>
        <pc:spChg chg="del">
          <ac:chgData name="Löcker, Hans Jürgen" userId="a72664b4-e718-48b1-8ea3-32df7930c927" providerId="ADAL" clId="{691E497B-67F2-4C1B-BACD-4E89E36B9237}" dt="2025-09-22T06:25:13.761" v="1240"/>
          <ac:spMkLst>
            <pc:docMk/>
            <pc:sldMk cId="1528386973" sldId="11459"/>
            <ac:spMk id="82" creationId="{23E7194D-7B29-2766-9DF0-FCFC637316C3}"/>
          </ac:spMkLst>
        </pc:spChg>
        <pc:spChg chg="del">
          <ac:chgData name="Löcker, Hans Jürgen" userId="a72664b4-e718-48b1-8ea3-32df7930c927" providerId="ADAL" clId="{691E497B-67F2-4C1B-BACD-4E89E36B9237}" dt="2025-09-22T06:25:13.768" v="1267"/>
          <ac:spMkLst>
            <pc:docMk/>
            <pc:sldMk cId="1528386973" sldId="11459"/>
            <ac:spMk id="84" creationId="{3889CDE0-05AF-B605-1DD0-10B27E806678}"/>
          </ac:spMkLst>
        </pc:spChg>
        <pc:spChg chg="del">
          <ac:chgData name="Löcker, Hans Jürgen" userId="a72664b4-e718-48b1-8ea3-32df7930c927" providerId="ADAL" clId="{691E497B-67F2-4C1B-BACD-4E89E36B9237}" dt="2025-09-22T06:25:13.758" v="1231"/>
          <ac:spMkLst>
            <pc:docMk/>
            <pc:sldMk cId="1528386973" sldId="11459"/>
            <ac:spMk id="86" creationId="{9B4CF470-5773-C790-8AC0-979D0FC099F6}"/>
          </ac:spMkLst>
        </pc:spChg>
        <pc:spChg chg="del">
          <ac:chgData name="Löcker, Hans Jürgen" userId="a72664b4-e718-48b1-8ea3-32df7930c927" providerId="ADAL" clId="{691E497B-67F2-4C1B-BACD-4E89E36B9237}" dt="2025-09-22T06:25:13.755" v="1221"/>
          <ac:spMkLst>
            <pc:docMk/>
            <pc:sldMk cId="1528386973" sldId="11459"/>
            <ac:spMk id="88" creationId="{DBF95C75-1CDB-270C-755C-F2BDB7F46CFC}"/>
          </ac:spMkLst>
        </pc:spChg>
        <pc:spChg chg="del">
          <ac:chgData name="Löcker, Hans Jürgen" userId="a72664b4-e718-48b1-8ea3-32df7930c927" providerId="ADAL" clId="{691E497B-67F2-4C1B-BACD-4E89E36B9237}" dt="2025-09-22T06:25:13.750" v="1205"/>
          <ac:spMkLst>
            <pc:docMk/>
            <pc:sldMk cId="1528386973" sldId="11459"/>
            <ac:spMk id="90" creationId="{7808BA71-83E5-F934-5FC1-6221A5D59DBD}"/>
          </ac:spMkLst>
        </pc:spChg>
        <pc:spChg chg="del">
          <ac:chgData name="Löcker, Hans Jürgen" userId="a72664b4-e718-48b1-8ea3-32df7930c927" providerId="ADAL" clId="{691E497B-67F2-4C1B-BACD-4E89E36B9237}" dt="2025-09-22T06:25:13.771" v="1276"/>
          <ac:spMkLst>
            <pc:docMk/>
            <pc:sldMk cId="1528386973" sldId="11459"/>
            <ac:spMk id="92" creationId="{BA7D3C91-1456-951D-B65B-46757BBDF015}"/>
          </ac:spMkLst>
        </pc:spChg>
        <pc:spChg chg="del">
          <ac:chgData name="Löcker, Hans Jürgen" userId="a72664b4-e718-48b1-8ea3-32df7930c927" providerId="ADAL" clId="{691E497B-67F2-4C1B-BACD-4E89E36B9237}" dt="2025-09-22T06:25:13.765" v="1256"/>
          <ac:spMkLst>
            <pc:docMk/>
            <pc:sldMk cId="1528386973" sldId="11459"/>
            <ac:spMk id="94" creationId="{E2331A59-2EC9-201E-B07F-7720EE4790BD}"/>
          </ac:spMkLst>
        </pc:spChg>
        <pc:spChg chg="del">
          <ac:chgData name="Löcker, Hans Jürgen" userId="a72664b4-e718-48b1-8ea3-32df7930c927" providerId="ADAL" clId="{691E497B-67F2-4C1B-BACD-4E89E36B9237}" dt="2025-09-22T06:25:13.763" v="1248"/>
          <ac:spMkLst>
            <pc:docMk/>
            <pc:sldMk cId="1528386973" sldId="11459"/>
            <ac:spMk id="96" creationId="{BA942611-9E5E-AF35-0FD8-7F4A3EE2C281}"/>
          </ac:spMkLst>
        </pc:spChg>
        <pc:spChg chg="del">
          <ac:chgData name="Löcker, Hans Jürgen" userId="a72664b4-e718-48b1-8ea3-32df7930c927" providerId="ADAL" clId="{691E497B-67F2-4C1B-BACD-4E89E36B9237}" dt="2025-09-22T06:25:13.768" v="1266"/>
          <ac:spMkLst>
            <pc:docMk/>
            <pc:sldMk cId="1528386973" sldId="11459"/>
            <ac:spMk id="98" creationId="{7D07C640-A873-A626-56B6-636EBD4CD9F5}"/>
          </ac:spMkLst>
        </pc:spChg>
        <pc:spChg chg="del">
          <ac:chgData name="Löcker, Hans Jürgen" userId="a72664b4-e718-48b1-8ea3-32df7930c927" providerId="ADAL" clId="{691E497B-67F2-4C1B-BACD-4E89E36B9237}" dt="2025-09-22T06:25:13.758" v="1230"/>
          <ac:spMkLst>
            <pc:docMk/>
            <pc:sldMk cId="1528386973" sldId="11459"/>
            <ac:spMk id="100" creationId="{58248E0A-8092-18BC-2FC7-71FB7BC3C4A5}"/>
          </ac:spMkLst>
        </pc:spChg>
        <pc:spChg chg="del">
          <ac:chgData name="Löcker, Hans Jürgen" userId="a72664b4-e718-48b1-8ea3-32df7930c927" providerId="ADAL" clId="{691E497B-67F2-4C1B-BACD-4E89E36B9237}" dt="2025-09-22T06:25:13.755" v="1220"/>
          <ac:spMkLst>
            <pc:docMk/>
            <pc:sldMk cId="1528386973" sldId="11459"/>
            <ac:spMk id="102" creationId="{5EC4A90D-D0E7-15E8-05D1-A7BBC8F6AC10}"/>
          </ac:spMkLst>
        </pc:spChg>
        <pc:spChg chg="del">
          <ac:chgData name="Löcker, Hans Jürgen" userId="a72664b4-e718-48b1-8ea3-32df7930c927" providerId="ADAL" clId="{691E497B-67F2-4C1B-BACD-4E89E36B9237}" dt="2025-09-22T06:25:13.750" v="1204"/>
          <ac:spMkLst>
            <pc:docMk/>
            <pc:sldMk cId="1528386973" sldId="11459"/>
            <ac:spMk id="104" creationId="{F063B375-C5B2-1C4F-DA4E-1DBB648EE36A}"/>
          </ac:spMkLst>
        </pc:spChg>
        <pc:spChg chg="del">
          <ac:chgData name="Löcker, Hans Jürgen" userId="a72664b4-e718-48b1-8ea3-32df7930c927" providerId="ADAL" clId="{691E497B-67F2-4C1B-BACD-4E89E36B9237}" dt="2025-09-22T06:25:13.801" v="1385"/>
          <ac:spMkLst>
            <pc:docMk/>
            <pc:sldMk cId="1528386973" sldId="11459"/>
            <ac:spMk id="406" creationId="{EC61A413-958D-7C65-D152-313B61447FB5}"/>
          </ac:spMkLst>
        </pc:spChg>
        <pc:spChg chg="del">
          <ac:chgData name="Löcker, Hans Jürgen" userId="a72664b4-e718-48b1-8ea3-32df7930c927" providerId="ADAL" clId="{691E497B-67F2-4C1B-BACD-4E89E36B9237}" dt="2025-09-22T06:25:13.800" v="1384"/>
          <ac:spMkLst>
            <pc:docMk/>
            <pc:sldMk cId="1528386973" sldId="11459"/>
            <ac:spMk id="407" creationId="{E0E780D7-54DB-CFBE-E174-6AF6E8C72D89}"/>
          </ac:spMkLst>
        </pc:spChg>
        <pc:spChg chg="del">
          <ac:chgData name="Löcker, Hans Jürgen" userId="a72664b4-e718-48b1-8ea3-32df7930c927" providerId="ADAL" clId="{691E497B-67F2-4C1B-BACD-4E89E36B9237}" dt="2025-09-22T06:25:13.802" v="1389"/>
          <ac:spMkLst>
            <pc:docMk/>
            <pc:sldMk cId="1528386973" sldId="11459"/>
            <ac:spMk id="419" creationId="{D18E7A3F-C516-8BA8-066D-3D84F17BCBB2}"/>
          </ac:spMkLst>
        </pc:spChg>
        <pc:spChg chg="del">
          <ac:chgData name="Löcker, Hans Jürgen" userId="a72664b4-e718-48b1-8ea3-32df7930c927" providerId="ADAL" clId="{691E497B-67F2-4C1B-BACD-4E89E36B9237}" dt="2025-09-22T06:25:13.784" v="1319"/>
          <ac:spMkLst>
            <pc:docMk/>
            <pc:sldMk cId="1528386973" sldId="11459"/>
            <ac:spMk id="447" creationId="{F67C318F-B352-46FA-122F-B9F5CE69E0F9}"/>
          </ac:spMkLst>
        </pc:spChg>
        <pc:spChg chg="del">
          <ac:chgData name="Löcker, Hans Jürgen" userId="a72664b4-e718-48b1-8ea3-32df7930c927" providerId="ADAL" clId="{691E497B-67F2-4C1B-BACD-4E89E36B9237}" dt="2025-09-22T06:25:13.751" v="1207"/>
          <ac:spMkLst>
            <pc:docMk/>
            <pc:sldMk cId="1528386973" sldId="11459"/>
            <ac:spMk id="448" creationId="{7E62CA23-1967-8F6C-16BF-85C38EF1C50B}"/>
          </ac:spMkLst>
        </pc:spChg>
        <pc:spChg chg="del">
          <ac:chgData name="Löcker, Hans Jürgen" userId="a72664b4-e718-48b1-8ea3-32df7930c927" providerId="ADAL" clId="{691E497B-67F2-4C1B-BACD-4E89E36B9237}" dt="2025-09-22T06:25:13.746" v="1189"/>
          <ac:spMkLst>
            <pc:docMk/>
            <pc:sldMk cId="1528386973" sldId="11459"/>
            <ac:spMk id="449" creationId="{B5598880-9D0D-9005-A101-0099EBADBAA5}"/>
          </ac:spMkLst>
        </pc:spChg>
        <pc:spChg chg="del">
          <ac:chgData name="Löcker, Hans Jürgen" userId="a72664b4-e718-48b1-8ea3-32df7930c927" providerId="ADAL" clId="{691E497B-67F2-4C1B-BACD-4E89E36B9237}" dt="2025-09-22T06:25:13.787" v="1329"/>
          <ac:spMkLst>
            <pc:docMk/>
            <pc:sldMk cId="1528386973" sldId="11459"/>
            <ac:spMk id="450" creationId="{F4D6955C-6F4F-6016-D499-BA06B6984C08}"/>
          </ac:spMkLst>
        </pc:spChg>
        <pc:spChg chg="del">
          <ac:chgData name="Löcker, Hans Jürgen" userId="a72664b4-e718-48b1-8ea3-32df7930c927" providerId="ADAL" clId="{691E497B-67F2-4C1B-BACD-4E89E36B9237}" dt="2025-09-22T06:25:13.764" v="1251"/>
          <ac:spMkLst>
            <pc:docMk/>
            <pc:sldMk cId="1528386973" sldId="11459"/>
            <ac:spMk id="451" creationId="{F53E0467-BC41-8372-8890-6C75EE685AF8}"/>
          </ac:spMkLst>
        </pc:spChg>
        <pc:spChg chg="del">
          <ac:chgData name="Löcker, Hans Jürgen" userId="a72664b4-e718-48b1-8ea3-32df7930c927" providerId="ADAL" clId="{691E497B-67F2-4C1B-BACD-4E89E36B9237}" dt="2025-09-22T06:25:13.766" v="1259"/>
          <ac:spMkLst>
            <pc:docMk/>
            <pc:sldMk cId="1528386973" sldId="11459"/>
            <ac:spMk id="462" creationId="{F3A97A74-2917-204B-CECF-BFF9D9B77C38}"/>
          </ac:spMkLst>
        </pc:spChg>
        <pc:spChg chg="del">
          <ac:chgData name="Löcker, Hans Jürgen" userId="a72664b4-e718-48b1-8ea3-32df7930c927" providerId="ADAL" clId="{691E497B-67F2-4C1B-BACD-4E89E36B9237}" dt="2025-09-22T06:25:13.780" v="1307"/>
          <ac:spMkLst>
            <pc:docMk/>
            <pc:sldMk cId="1528386973" sldId="11459"/>
            <ac:spMk id="466" creationId="{ACE41557-F0B2-38BB-6BBA-BB5777F856F6}"/>
          </ac:spMkLst>
        </pc:spChg>
        <pc:spChg chg="del">
          <ac:chgData name="Löcker, Hans Jürgen" userId="a72664b4-e718-48b1-8ea3-32df7930c927" providerId="ADAL" clId="{691E497B-67F2-4C1B-BACD-4E89E36B9237}" dt="2025-09-22T06:25:13.779" v="1305"/>
          <ac:spMkLst>
            <pc:docMk/>
            <pc:sldMk cId="1528386973" sldId="11459"/>
            <ac:spMk id="467" creationId="{8E9D0F6C-29B0-EEA1-ED74-8C10220D066F}"/>
          </ac:spMkLst>
        </pc:spChg>
        <pc:spChg chg="del">
          <ac:chgData name="Löcker, Hans Jürgen" userId="a72664b4-e718-48b1-8ea3-32df7930c927" providerId="ADAL" clId="{691E497B-67F2-4C1B-BACD-4E89E36B9237}" dt="2025-09-22T06:25:13.759" v="1233"/>
          <ac:spMkLst>
            <pc:docMk/>
            <pc:sldMk cId="1528386973" sldId="11459"/>
            <ac:spMk id="468" creationId="{76706D99-F1D7-747B-D935-51CC4FF46A5C}"/>
          </ac:spMkLst>
        </pc:spChg>
        <pc:spChg chg="del">
          <ac:chgData name="Löcker, Hans Jürgen" userId="a72664b4-e718-48b1-8ea3-32df7930c927" providerId="ADAL" clId="{691E497B-67F2-4C1B-BACD-4E89E36B9237}" dt="2025-09-22T06:25:13.796" v="1366"/>
          <ac:spMkLst>
            <pc:docMk/>
            <pc:sldMk cId="1528386973" sldId="11459"/>
            <ac:spMk id="469" creationId="{0E79596E-82A7-0C1C-BC23-4B4107EA5CC3}"/>
          </ac:spMkLst>
        </pc:spChg>
        <pc:spChg chg="del">
          <ac:chgData name="Löcker, Hans Jürgen" userId="a72664b4-e718-48b1-8ea3-32df7930c927" providerId="ADAL" clId="{691E497B-67F2-4C1B-BACD-4E89E36B9237}" dt="2025-09-22T06:25:13.757" v="1225"/>
          <ac:spMkLst>
            <pc:docMk/>
            <pc:sldMk cId="1528386973" sldId="11459"/>
            <ac:spMk id="470" creationId="{BC51E7C7-6AAF-1184-4BC2-774F9F8B9909}"/>
          </ac:spMkLst>
        </pc:spChg>
        <pc:spChg chg="del">
          <ac:chgData name="Löcker, Hans Jürgen" userId="a72664b4-e718-48b1-8ea3-32df7930c927" providerId="ADAL" clId="{691E497B-67F2-4C1B-BACD-4E89E36B9237}" dt="2025-09-22T06:25:13.779" v="1303"/>
          <ac:spMkLst>
            <pc:docMk/>
            <pc:sldMk cId="1528386973" sldId="11459"/>
            <ac:spMk id="471" creationId="{F61BD2AB-6A8E-E205-FB92-6E56D5602E0E}"/>
          </ac:spMkLst>
        </pc:spChg>
        <pc:spChg chg="del">
          <ac:chgData name="Löcker, Hans Jürgen" userId="a72664b4-e718-48b1-8ea3-32df7930c927" providerId="ADAL" clId="{691E497B-67F2-4C1B-BACD-4E89E36B9237}" dt="2025-09-22T06:25:13.795" v="1365"/>
          <ac:spMkLst>
            <pc:docMk/>
            <pc:sldMk cId="1528386973" sldId="11459"/>
            <ac:spMk id="472" creationId="{8045271B-CE5A-6B5F-C403-532A21259144}"/>
          </ac:spMkLst>
        </pc:spChg>
        <pc:spChg chg="del">
          <ac:chgData name="Löcker, Hans Jürgen" userId="a72664b4-e718-48b1-8ea3-32df7930c927" providerId="ADAL" clId="{691E497B-67F2-4C1B-BACD-4E89E36B9237}" dt="2025-09-22T06:25:13.762" v="1243"/>
          <ac:spMkLst>
            <pc:docMk/>
            <pc:sldMk cId="1528386973" sldId="11459"/>
            <ac:spMk id="473" creationId="{9F3412D2-2E45-8909-58FD-2CA8542DD882}"/>
          </ac:spMkLst>
        </pc:spChg>
        <pc:spChg chg="del">
          <ac:chgData name="Löcker, Hans Jürgen" userId="a72664b4-e718-48b1-8ea3-32df7930c927" providerId="ADAL" clId="{691E497B-67F2-4C1B-BACD-4E89E36B9237}" dt="2025-09-22T06:25:13.795" v="1364"/>
          <ac:spMkLst>
            <pc:docMk/>
            <pc:sldMk cId="1528386973" sldId="11459"/>
            <ac:spMk id="474" creationId="{DFF77A9D-BCFF-2CF1-76A6-694B474DEBD2}"/>
          </ac:spMkLst>
        </pc:spChg>
        <pc:spChg chg="del">
          <ac:chgData name="Löcker, Hans Jürgen" userId="a72664b4-e718-48b1-8ea3-32df7930c927" providerId="ADAL" clId="{691E497B-67F2-4C1B-BACD-4E89E36B9237}" dt="2025-09-22T06:25:13.795" v="1363"/>
          <ac:spMkLst>
            <pc:docMk/>
            <pc:sldMk cId="1528386973" sldId="11459"/>
            <ac:spMk id="475" creationId="{009AF13B-77CB-05F1-AD20-92B38FC5D18B}"/>
          </ac:spMkLst>
        </pc:spChg>
        <pc:spChg chg="del">
          <ac:chgData name="Löcker, Hans Jürgen" userId="a72664b4-e718-48b1-8ea3-32df7930c927" providerId="ADAL" clId="{691E497B-67F2-4C1B-BACD-4E89E36B9237}" dt="2025-09-22T06:25:13.795" v="1362"/>
          <ac:spMkLst>
            <pc:docMk/>
            <pc:sldMk cId="1528386973" sldId="11459"/>
            <ac:spMk id="476" creationId="{D4304D3B-0BC4-B1EA-7A02-275479B11845}"/>
          </ac:spMkLst>
        </pc:spChg>
        <pc:spChg chg="del">
          <ac:chgData name="Löcker, Hans Jürgen" userId="a72664b4-e718-48b1-8ea3-32df7930c927" providerId="ADAL" clId="{691E497B-67F2-4C1B-BACD-4E89E36B9237}" dt="2025-09-22T06:25:13.795" v="1361"/>
          <ac:spMkLst>
            <pc:docMk/>
            <pc:sldMk cId="1528386973" sldId="11459"/>
            <ac:spMk id="477" creationId="{9F5D5231-8EA5-E86F-739D-6CBD49B746FE}"/>
          </ac:spMkLst>
        </pc:spChg>
        <pc:spChg chg="del">
          <ac:chgData name="Löcker, Hans Jürgen" userId="a72664b4-e718-48b1-8ea3-32df7930c927" providerId="ADAL" clId="{691E497B-67F2-4C1B-BACD-4E89E36B9237}" dt="2025-09-22T06:25:13.794" v="1360"/>
          <ac:spMkLst>
            <pc:docMk/>
            <pc:sldMk cId="1528386973" sldId="11459"/>
            <ac:spMk id="478" creationId="{2A882E0A-6BC1-635E-7F96-2C6C948B28E0}"/>
          </ac:spMkLst>
        </pc:spChg>
        <pc:spChg chg="del">
          <ac:chgData name="Löcker, Hans Jürgen" userId="a72664b4-e718-48b1-8ea3-32df7930c927" providerId="ADAL" clId="{691E497B-67F2-4C1B-BACD-4E89E36B9237}" dt="2025-09-22T06:25:13.794" v="1359"/>
          <ac:spMkLst>
            <pc:docMk/>
            <pc:sldMk cId="1528386973" sldId="11459"/>
            <ac:spMk id="479" creationId="{A14DCA56-E887-3A90-4D7A-7BE5751B29C0}"/>
          </ac:spMkLst>
        </pc:spChg>
        <pc:spChg chg="del">
          <ac:chgData name="Löcker, Hans Jürgen" userId="a72664b4-e718-48b1-8ea3-32df7930c927" providerId="ADAL" clId="{691E497B-67F2-4C1B-BACD-4E89E36B9237}" dt="2025-09-22T06:25:13.794" v="1358"/>
          <ac:spMkLst>
            <pc:docMk/>
            <pc:sldMk cId="1528386973" sldId="11459"/>
            <ac:spMk id="480" creationId="{FE829ED4-C35A-5275-4E7D-0A6630690434}"/>
          </ac:spMkLst>
        </pc:spChg>
        <pc:spChg chg="del">
          <ac:chgData name="Löcker, Hans Jürgen" userId="a72664b4-e718-48b1-8ea3-32df7930c927" providerId="ADAL" clId="{691E497B-67F2-4C1B-BACD-4E89E36B9237}" dt="2025-09-22T06:25:13.794" v="1357"/>
          <ac:spMkLst>
            <pc:docMk/>
            <pc:sldMk cId="1528386973" sldId="11459"/>
            <ac:spMk id="481" creationId="{1F3ABCB0-D540-D900-9E90-E68DADE40EDB}"/>
          </ac:spMkLst>
        </pc:spChg>
        <pc:spChg chg="del">
          <ac:chgData name="Löcker, Hans Jürgen" userId="a72664b4-e718-48b1-8ea3-32df7930c927" providerId="ADAL" clId="{691E497B-67F2-4C1B-BACD-4E89E36B9237}" dt="2025-09-22T06:25:13.793" v="1356"/>
          <ac:spMkLst>
            <pc:docMk/>
            <pc:sldMk cId="1528386973" sldId="11459"/>
            <ac:spMk id="482" creationId="{356D6AAE-3A29-C76B-958A-41D6B7B1BC89}"/>
          </ac:spMkLst>
        </pc:spChg>
        <pc:spChg chg="del">
          <ac:chgData name="Löcker, Hans Jürgen" userId="a72664b4-e718-48b1-8ea3-32df7930c927" providerId="ADAL" clId="{691E497B-67F2-4C1B-BACD-4E89E36B9237}" dt="2025-09-22T06:25:13.793" v="1355"/>
          <ac:spMkLst>
            <pc:docMk/>
            <pc:sldMk cId="1528386973" sldId="11459"/>
            <ac:spMk id="483" creationId="{EC0156A8-7DFA-DAF5-2B04-D09EC2147DF7}"/>
          </ac:spMkLst>
        </pc:spChg>
        <pc:spChg chg="del">
          <ac:chgData name="Löcker, Hans Jürgen" userId="a72664b4-e718-48b1-8ea3-32df7930c927" providerId="ADAL" clId="{691E497B-67F2-4C1B-BACD-4E89E36B9237}" dt="2025-09-22T06:25:13.793" v="1354"/>
          <ac:spMkLst>
            <pc:docMk/>
            <pc:sldMk cId="1528386973" sldId="11459"/>
            <ac:spMk id="484" creationId="{2E7EFBB1-D73C-388A-71EE-ACA3DE6CFA4C}"/>
          </ac:spMkLst>
        </pc:spChg>
        <pc:spChg chg="del">
          <ac:chgData name="Löcker, Hans Jürgen" userId="a72664b4-e718-48b1-8ea3-32df7930c927" providerId="ADAL" clId="{691E497B-67F2-4C1B-BACD-4E89E36B9237}" dt="2025-09-22T06:25:13.769" v="1269"/>
          <ac:spMkLst>
            <pc:docMk/>
            <pc:sldMk cId="1528386973" sldId="11459"/>
            <ac:spMk id="485" creationId="{3F13BC0B-4778-E516-D1A1-EA74AC868C2E}"/>
          </ac:spMkLst>
        </pc:spChg>
        <pc:spChg chg="del">
          <ac:chgData name="Löcker, Hans Jürgen" userId="a72664b4-e718-48b1-8ea3-32df7930c927" providerId="ADAL" clId="{691E497B-67F2-4C1B-BACD-4E89E36B9237}" dt="2025-09-22T06:25:13.800" v="1383"/>
          <ac:spMkLst>
            <pc:docMk/>
            <pc:sldMk cId="1528386973" sldId="11459"/>
            <ac:spMk id="497" creationId="{9384554E-5BCB-358A-3540-CF551A72B83A}"/>
          </ac:spMkLst>
        </pc:spChg>
        <pc:spChg chg="del">
          <ac:chgData name="Löcker, Hans Jürgen" userId="a72664b4-e718-48b1-8ea3-32df7930c927" providerId="ADAL" clId="{691E497B-67F2-4C1B-BACD-4E89E36B9237}" dt="2025-09-22T06:25:13.800" v="1382"/>
          <ac:spMkLst>
            <pc:docMk/>
            <pc:sldMk cId="1528386973" sldId="11459"/>
            <ac:spMk id="498" creationId="{2374E873-AA3D-5082-A8B9-3072274D134A}"/>
          </ac:spMkLst>
        </pc:spChg>
        <pc:spChg chg="del">
          <ac:chgData name="Löcker, Hans Jürgen" userId="a72664b4-e718-48b1-8ea3-32df7930c927" providerId="ADAL" clId="{691E497B-67F2-4C1B-BACD-4E89E36B9237}" dt="2025-09-22T06:25:13.800" v="1381"/>
          <ac:spMkLst>
            <pc:docMk/>
            <pc:sldMk cId="1528386973" sldId="11459"/>
            <ac:spMk id="499" creationId="{FCEC3FB5-08BF-8F96-B325-A1D9894FC674}"/>
          </ac:spMkLst>
        </pc:spChg>
        <pc:spChg chg="del">
          <ac:chgData name="Löcker, Hans Jürgen" userId="a72664b4-e718-48b1-8ea3-32df7930c927" providerId="ADAL" clId="{691E497B-67F2-4C1B-BACD-4E89E36B9237}" dt="2025-09-22T06:25:13.799" v="1380"/>
          <ac:spMkLst>
            <pc:docMk/>
            <pc:sldMk cId="1528386973" sldId="11459"/>
            <ac:spMk id="500" creationId="{F28607A0-C546-C802-C0AD-290BA47194B6}"/>
          </ac:spMkLst>
        </pc:spChg>
        <pc:spChg chg="del">
          <ac:chgData name="Löcker, Hans Jürgen" userId="a72664b4-e718-48b1-8ea3-32df7930c927" providerId="ADAL" clId="{691E497B-67F2-4C1B-BACD-4E89E36B9237}" dt="2025-09-22T06:25:13.801" v="1388"/>
          <ac:spMkLst>
            <pc:docMk/>
            <pc:sldMk cId="1528386973" sldId="11459"/>
            <ac:spMk id="505" creationId="{4AD3A112-9D5D-DDBB-1A5B-E5C70964F443}"/>
          </ac:spMkLst>
        </pc:spChg>
        <pc:spChg chg="del">
          <ac:chgData name="Löcker, Hans Jürgen" userId="a72664b4-e718-48b1-8ea3-32df7930c927" providerId="ADAL" clId="{691E497B-67F2-4C1B-BACD-4E89E36B9237}" dt="2025-09-22T06:25:13.778" v="1301"/>
          <ac:spMkLst>
            <pc:docMk/>
            <pc:sldMk cId="1528386973" sldId="11459"/>
            <ac:spMk id="516" creationId="{317B66D1-059E-9E0A-890D-C4488A9C479E}"/>
          </ac:spMkLst>
        </pc:spChg>
        <pc:spChg chg="del">
          <ac:chgData name="Löcker, Hans Jürgen" userId="a72664b4-e718-48b1-8ea3-32df7930c927" providerId="ADAL" clId="{691E497B-67F2-4C1B-BACD-4E89E36B9237}" dt="2025-09-22T06:25:13.776" v="1295"/>
          <ac:spMkLst>
            <pc:docMk/>
            <pc:sldMk cId="1528386973" sldId="11459"/>
            <ac:spMk id="517" creationId="{DD9B6808-E315-3DBD-CBAD-90DB69789F7A}"/>
          </ac:spMkLst>
        </pc:spChg>
        <pc:spChg chg="del">
          <ac:chgData name="Löcker, Hans Jürgen" userId="a72664b4-e718-48b1-8ea3-32df7930c927" providerId="ADAL" clId="{691E497B-67F2-4C1B-BACD-4E89E36B9237}" dt="2025-09-22T06:25:13.776" v="1293"/>
          <ac:spMkLst>
            <pc:docMk/>
            <pc:sldMk cId="1528386973" sldId="11459"/>
            <ac:spMk id="518" creationId="{57E7E655-EA74-2404-ADC3-A1C835E285A2}"/>
          </ac:spMkLst>
        </pc:spChg>
        <pc:spChg chg="del">
          <ac:chgData name="Löcker, Hans Jürgen" userId="a72664b4-e718-48b1-8ea3-32df7930c927" providerId="ADAL" clId="{691E497B-67F2-4C1B-BACD-4E89E36B9237}" dt="2025-09-22T06:25:13.775" v="1289"/>
          <ac:spMkLst>
            <pc:docMk/>
            <pc:sldMk cId="1528386973" sldId="11459"/>
            <ac:spMk id="519" creationId="{EF8E2E46-C3F7-9BD4-2CD9-0DE8E3056C2B}"/>
          </ac:spMkLst>
        </pc:spChg>
        <pc:spChg chg="del">
          <ac:chgData name="Löcker, Hans Jürgen" userId="a72664b4-e718-48b1-8ea3-32df7930c927" providerId="ADAL" clId="{691E497B-67F2-4C1B-BACD-4E89E36B9237}" dt="2025-09-22T06:25:13.775" v="1291"/>
          <ac:spMkLst>
            <pc:docMk/>
            <pc:sldMk cId="1528386973" sldId="11459"/>
            <ac:spMk id="520" creationId="{2FBF1254-FEBA-9C5B-D455-66C4A7E920A9}"/>
          </ac:spMkLst>
        </pc:spChg>
        <pc:spChg chg="del">
          <ac:chgData name="Löcker, Hans Jürgen" userId="a72664b4-e718-48b1-8ea3-32df7930c927" providerId="ADAL" clId="{691E497B-67F2-4C1B-BACD-4E89E36B9237}" dt="2025-09-22T06:25:13.774" v="1287"/>
          <ac:spMkLst>
            <pc:docMk/>
            <pc:sldMk cId="1528386973" sldId="11459"/>
            <ac:spMk id="521" creationId="{3ECD94D6-2035-2978-D2CB-321D43DC8DCB}"/>
          </ac:spMkLst>
        </pc:spChg>
        <pc:spChg chg="del">
          <ac:chgData name="Löcker, Hans Jürgen" userId="a72664b4-e718-48b1-8ea3-32df7930c927" providerId="ADAL" clId="{691E497B-67F2-4C1B-BACD-4E89E36B9237}" dt="2025-09-22T06:25:13.774" v="1285"/>
          <ac:spMkLst>
            <pc:docMk/>
            <pc:sldMk cId="1528386973" sldId="11459"/>
            <ac:spMk id="522" creationId="{9DB8BD42-BC7A-2E9B-02C5-79229AA818E8}"/>
          </ac:spMkLst>
        </pc:spChg>
        <pc:spChg chg="del">
          <ac:chgData name="Löcker, Hans Jürgen" userId="a72664b4-e718-48b1-8ea3-32df7930c927" providerId="ADAL" clId="{691E497B-67F2-4C1B-BACD-4E89E36B9237}" dt="2025-09-22T06:25:13.773" v="1283"/>
          <ac:spMkLst>
            <pc:docMk/>
            <pc:sldMk cId="1528386973" sldId="11459"/>
            <ac:spMk id="523" creationId="{094C4013-D290-368F-3A0B-7D6EC9668B53}"/>
          </ac:spMkLst>
        </pc:spChg>
        <pc:spChg chg="del">
          <ac:chgData name="Löcker, Hans Jürgen" userId="a72664b4-e718-48b1-8ea3-32df7930c927" providerId="ADAL" clId="{691E497B-67F2-4C1B-BACD-4E89E36B9237}" dt="2025-09-22T06:25:13.760" v="1239"/>
          <ac:spMkLst>
            <pc:docMk/>
            <pc:sldMk cId="1528386973" sldId="11459"/>
            <ac:spMk id="524" creationId="{1CFD6F59-4C7B-B313-B825-BE9211B0ED77}"/>
          </ac:spMkLst>
        </pc:spChg>
        <pc:spChg chg="del">
          <ac:chgData name="Löcker, Hans Jürgen" userId="a72664b4-e718-48b1-8ea3-32df7930c927" providerId="ADAL" clId="{691E497B-67F2-4C1B-BACD-4E89E36B9237}" dt="2025-09-22T06:25:13.760" v="1237"/>
          <ac:spMkLst>
            <pc:docMk/>
            <pc:sldMk cId="1528386973" sldId="11459"/>
            <ac:spMk id="525" creationId="{C08E5C3A-85D3-384F-710F-C1FEA15DBA5E}"/>
          </ac:spMkLst>
        </pc:spChg>
        <pc:spChg chg="del">
          <ac:chgData name="Löcker, Hans Jürgen" userId="a72664b4-e718-48b1-8ea3-32df7930c927" providerId="ADAL" clId="{691E497B-67F2-4C1B-BACD-4E89E36B9237}" dt="2025-09-22T06:25:13.793" v="1353"/>
          <ac:spMkLst>
            <pc:docMk/>
            <pc:sldMk cId="1528386973" sldId="11459"/>
            <ac:spMk id="527" creationId="{BE0A816C-9ED4-F863-DFD8-E4A0E7EA1BE5}"/>
          </ac:spMkLst>
        </pc:spChg>
        <pc:spChg chg="del">
          <ac:chgData name="Löcker, Hans Jürgen" userId="a72664b4-e718-48b1-8ea3-32df7930c927" providerId="ADAL" clId="{691E497B-67F2-4C1B-BACD-4E89E36B9237}" dt="2025-09-22T06:25:13.792" v="1352"/>
          <ac:spMkLst>
            <pc:docMk/>
            <pc:sldMk cId="1528386973" sldId="11459"/>
            <ac:spMk id="529" creationId="{4321C051-F3C1-7671-2AC1-5C57293AFB09}"/>
          </ac:spMkLst>
        </pc:spChg>
        <pc:spChg chg="del">
          <ac:chgData name="Löcker, Hans Jürgen" userId="a72664b4-e718-48b1-8ea3-32df7930c927" providerId="ADAL" clId="{691E497B-67F2-4C1B-BACD-4E89E36B9237}" dt="2025-09-22T06:25:13.792" v="1351"/>
          <ac:spMkLst>
            <pc:docMk/>
            <pc:sldMk cId="1528386973" sldId="11459"/>
            <ac:spMk id="530" creationId="{F04DADB1-263A-783D-6C8D-A4B8CAAC3132}"/>
          </ac:spMkLst>
        </pc:spChg>
        <pc:spChg chg="del">
          <ac:chgData name="Löcker, Hans Jürgen" userId="a72664b4-e718-48b1-8ea3-32df7930c927" providerId="ADAL" clId="{691E497B-67F2-4C1B-BACD-4E89E36B9237}" dt="2025-09-22T06:25:13.792" v="1350"/>
          <ac:spMkLst>
            <pc:docMk/>
            <pc:sldMk cId="1528386973" sldId="11459"/>
            <ac:spMk id="531" creationId="{3E25B84A-83F5-E318-21C5-922305900A6B}"/>
          </ac:spMkLst>
        </pc:spChg>
        <pc:spChg chg="del">
          <ac:chgData name="Löcker, Hans Jürgen" userId="a72664b4-e718-48b1-8ea3-32df7930c927" providerId="ADAL" clId="{691E497B-67F2-4C1B-BACD-4E89E36B9237}" dt="2025-09-22T06:25:13.792" v="1349"/>
          <ac:spMkLst>
            <pc:docMk/>
            <pc:sldMk cId="1528386973" sldId="11459"/>
            <ac:spMk id="532" creationId="{81E1A7B2-9981-5107-2AAB-9EDBF81EBC1F}"/>
          </ac:spMkLst>
        </pc:spChg>
        <pc:spChg chg="del">
          <ac:chgData name="Löcker, Hans Jürgen" userId="a72664b4-e718-48b1-8ea3-32df7930c927" providerId="ADAL" clId="{691E497B-67F2-4C1B-BACD-4E89E36B9237}" dt="2025-09-22T06:25:13.791" v="1348"/>
          <ac:spMkLst>
            <pc:docMk/>
            <pc:sldMk cId="1528386973" sldId="11459"/>
            <ac:spMk id="533" creationId="{8DFEB909-8CFF-22B1-E703-7DE3149A163E}"/>
          </ac:spMkLst>
        </pc:spChg>
        <pc:spChg chg="del">
          <ac:chgData name="Löcker, Hans Jürgen" userId="a72664b4-e718-48b1-8ea3-32df7930c927" providerId="ADAL" clId="{691E497B-67F2-4C1B-BACD-4E89E36B9237}" dt="2025-09-22T06:25:13.791" v="1347"/>
          <ac:spMkLst>
            <pc:docMk/>
            <pc:sldMk cId="1528386973" sldId="11459"/>
            <ac:spMk id="534" creationId="{0C0DC741-8D6C-2D56-A0B3-347D6FE8E659}"/>
          </ac:spMkLst>
        </pc:spChg>
        <pc:spChg chg="del">
          <ac:chgData name="Löcker, Hans Jürgen" userId="a72664b4-e718-48b1-8ea3-32df7930c927" providerId="ADAL" clId="{691E497B-67F2-4C1B-BACD-4E89E36B9237}" dt="2025-09-22T06:25:13.791" v="1346"/>
          <ac:spMkLst>
            <pc:docMk/>
            <pc:sldMk cId="1528386973" sldId="11459"/>
            <ac:spMk id="535" creationId="{EF3EF163-7A42-AF45-3C3A-DC85D155369E}"/>
          </ac:spMkLst>
        </pc:spChg>
        <pc:spChg chg="del">
          <ac:chgData name="Löcker, Hans Jürgen" userId="a72664b4-e718-48b1-8ea3-32df7930c927" providerId="ADAL" clId="{691E497B-67F2-4C1B-BACD-4E89E36B9237}" dt="2025-09-22T06:25:13.791" v="1345"/>
          <ac:spMkLst>
            <pc:docMk/>
            <pc:sldMk cId="1528386973" sldId="11459"/>
            <ac:spMk id="536" creationId="{4267EE02-5D0A-EA52-16B9-7BD7AD08A32B}"/>
          </ac:spMkLst>
        </pc:spChg>
        <pc:spChg chg="del">
          <ac:chgData name="Löcker, Hans Jürgen" userId="a72664b4-e718-48b1-8ea3-32df7930c927" providerId="ADAL" clId="{691E497B-67F2-4C1B-BACD-4E89E36B9237}" dt="2025-09-22T06:25:13.790" v="1344"/>
          <ac:spMkLst>
            <pc:docMk/>
            <pc:sldMk cId="1528386973" sldId="11459"/>
            <ac:spMk id="537" creationId="{EB25A722-F16A-F9BD-A147-CA69480CFA49}"/>
          </ac:spMkLst>
        </pc:spChg>
        <pc:spChg chg="del">
          <ac:chgData name="Löcker, Hans Jürgen" userId="a72664b4-e718-48b1-8ea3-32df7930c927" providerId="ADAL" clId="{691E497B-67F2-4C1B-BACD-4E89E36B9237}" dt="2025-09-22T06:25:13.790" v="1343"/>
          <ac:spMkLst>
            <pc:docMk/>
            <pc:sldMk cId="1528386973" sldId="11459"/>
            <ac:spMk id="538" creationId="{75666DC8-5E0A-EAAD-4106-714CC8580A9B}"/>
          </ac:spMkLst>
        </pc:spChg>
        <pc:spChg chg="del">
          <ac:chgData name="Löcker, Hans Jürgen" userId="a72664b4-e718-48b1-8ea3-32df7930c927" providerId="ADAL" clId="{691E497B-67F2-4C1B-BACD-4E89E36B9237}" dt="2025-09-22T06:25:13.790" v="1342"/>
          <ac:spMkLst>
            <pc:docMk/>
            <pc:sldMk cId="1528386973" sldId="11459"/>
            <ac:spMk id="539" creationId="{89B8F796-2B25-7B9F-8730-72CFB8141463}"/>
          </ac:spMkLst>
        </pc:spChg>
        <pc:spChg chg="del">
          <ac:chgData name="Löcker, Hans Jürgen" userId="a72664b4-e718-48b1-8ea3-32df7930c927" providerId="ADAL" clId="{691E497B-67F2-4C1B-BACD-4E89E36B9237}" dt="2025-09-22T06:25:13.799" v="1379"/>
          <ac:spMkLst>
            <pc:docMk/>
            <pc:sldMk cId="1528386973" sldId="11459"/>
            <ac:spMk id="540" creationId="{0CFB76E7-549D-4406-86C7-EBF8506065B6}"/>
          </ac:spMkLst>
        </pc:spChg>
        <pc:spChg chg="del">
          <ac:chgData name="Löcker, Hans Jürgen" userId="a72664b4-e718-48b1-8ea3-32df7930c927" providerId="ADAL" clId="{691E497B-67F2-4C1B-BACD-4E89E36B9237}" dt="2025-09-22T06:25:13.799" v="1378"/>
          <ac:spMkLst>
            <pc:docMk/>
            <pc:sldMk cId="1528386973" sldId="11459"/>
            <ac:spMk id="541" creationId="{754553EB-83F5-1CD6-C059-B282B460818C}"/>
          </ac:spMkLst>
        </pc:spChg>
        <pc:spChg chg="del">
          <ac:chgData name="Löcker, Hans Jürgen" userId="a72664b4-e718-48b1-8ea3-32df7930c927" providerId="ADAL" clId="{691E497B-67F2-4C1B-BACD-4E89E36B9237}" dt="2025-09-22T06:25:13.798" v="1377"/>
          <ac:spMkLst>
            <pc:docMk/>
            <pc:sldMk cId="1528386973" sldId="11459"/>
            <ac:spMk id="542" creationId="{386BFD83-8223-97B7-4E61-2ACB06F3DD00}"/>
          </ac:spMkLst>
        </pc:spChg>
        <pc:spChg chg="del">
          <ac:chgData name="Löcker, Hans Jürgen" userId="a72664b4-e718-48b1-8ea3-32df7930c927" providerId="ADAL" clId="{691E497B-67F2-4C1B-BACD-4E89E36B9237}" dt="2025-09-22T06:25:13.798" v="1376"/>
          <ac:spMkLst>
            <pc:docMk/>
            <pc:sldMk cId="1528386973" sldId="11459"/>
            <ac:spMk id="543" creationId="{43823672-E345-2A49-B649-95878494D368}"/>
          </ac:spMkLst>
        </pc:spChg>
        <pc:spChg chg="del">
          <ac:chgData name="Löcker, Hans Jürgen" userId="a72664b4-e718-48b1-8ea3-32df7930c927" providerId="ADAL" clId="{691E497B-67F2-4C1B-BACD-4E89E36B9237}" dt="2025-09-22T06:25:13.801" v="1387"/>
          <ac:spMkLst>
            <pc:docMk/>
            <pc:sldMk cId="1528386973" sldId="11459"/>
            <ac:spMk id="544" creationId="{C4E28AB0-CE30-C4CF-4194-0D65CB78F039}"/>
          </ac:spMkLst>
        </pc:spChg>
        <pc:spChg chg="del">
          <ac:chgData name="Löcker, Hans Jürgen" userId="a72664b4-e718-48b1-8ea3-32df7930c927" providerId="ADAL" clId="{691E497B-67F2-4C1B-BACD-4E89E36B9237}" dt="2025-09-22T06:25:13.759" v="1235"/>
          <ac:spMkLst>
            <pc:docMk/>
            <pc:sldMk cId="1528386973" sldId="11459"/>
            <ac:spMk id="545" creationId="{24A8905C-2C4D-A9DD-708F-BE5E2C5DD5F8}"/>
          </ac:spMkLst>
        </pc:spChg>
        <pc:spChg chg="del">
          <ac:chgData name="Löcker, Hans Jürgen" userId="a72664b4-e718-48b1-8ea3-32df7930c927" providerId="ADAL" clId="{691E497B-67F2-4C1B-BACD-4E89E36B9237}" dt="2025-09-22T06:25:13.771" v="1275"/>
          <ac:spMkLst>
            <pc:docMk/>
            <pc:sldMk cId="1528386973" sldId="11459"/>
            <ac:spMk id="551" creationId="{FC42F4C8-0382-7102-7584-302D8C218C4B}"/>
          </ac:spMkLst>
        </pc:spChg>
        <pc:spChg chg="del">
          <ac:chgData name="Löcker, Hans Jürgen" userId="a72664b4-e718-48b1-8ea3-32df7930c927" providerId="ADAL" clId="{691E497B-67F2-4C1B-BACD-4E89E36B9237}" dt="2025-09-22T06:25:13.770" v="1273"/>
          <ac:spMkLst>
            <pc:docMk/>
            <pc:sldMk cId="1528386973" sldId="11459"/>
            <ac:spMk id="552" creationId="{6DBEE7A7-EB94-75CE-06ED-5A5CD8584D9E}"/>
          </ac:spMkLst>
        </pc:spChg>
        <pc:spChg chg="del">
          <ac:chgData name="Löcker, Hans Jürgen" userId="a72664b4-e718-48b1-8ea3-32df7930c927" providerId="ADAL" clId="{691E497B-67F2-4C1B-BACD-4E89E36B9237}" dt="2025-09-22T06:25:13.770" v="1271"/>
          <ac:spMkLst>
            <pc:docMk/>
            <pc:sldMk cId="1528386973" sldId="11459"/>
            <ac:spMk id="553" creationId="{AD7A7AA1-F377-16D2-CE25-58CECD4D666E}"/>
          </ac:spMkLst>
        </pc:spChg>
        <pc:spChg chg="del">
          <ac:chgData name="Löcker, Hans Jürgen" userId="a72664b4-e718-48b1-8ea3-32df7930c927" providerId="ADAL" clId="{691E497B-67F2-4C1B-BACD-4E89E36B9237}" dt="2025-09-22T06:25:13.768" v="1265"/>
          <ac:spMkLst>
            <pc:docMk/>
            <pc:sldMk cId="1528386973" sldId="11459"/>
            <ac:spMk id="555" creationId="{E00ACD56-F310-F52E-2CD4-204F8DA8C227}"/>
          </ac:spMkLst>
        </pc:spChg>
        <pc:spChg chg="del">
          <ac:chgData name="Löcker, Hans Jürgen" userId="a72664b4-e718-48b1-8ea3-32df7930c927" providerId="ADAL" clId="{691E497B-67F2-4C1B-BACD-4E89E36B9237}" dt="2025-09-22T06:25:13.767" v="1263"/>
          <ac:spMkLst>
            <pc:docMk/>
            <pc:sldMk cId="1528386973" sldId="11459"/>
            <ac:spMk id="556" creationId="{6ADB0212-EC8D-C4CF-D41E-FE48FC717AE6}"/>
          </ac:spMkLst>
        </pc:spChg>
        <pc:spChg chg="del">
          <ac:chgData name="Löcker, Hans Jürgen" userId="a72664b4-e718-48b1-8ea3-32df7930c927" providerId="ADAL" clId="{691E497B-67F2-4C1B-BACD-4E89E36B9237}" dt="2025-09-22T06:25:13.765" v="1255"/>
          <ac:spMkLst>
            <pc:docMk/>
            <pc:sldMk cId="1528386973" sldId="11459"/>
            <ac:spMk id="557" creationId="{125F18A5-428D-7DB3-BF1A-9AA732332F6C}"/>
          </ac:spMkLst>
        </pc:spChg>
        <pc:spChg chg="del">
          <ac:chgData name="Löcker, Hans Jürgen" userId="a72664b4-e718-48b1-8ea3-32df7930c927" providerId="ADAL" clId="{691E497B-67F2-4C1B-BACD-4E89E36B9237}" dt="2025-09-22T06:25:13.764" v="1253"/>
          <ac:spMkLst>
            <pc:docMk/>
            <pc:sldMk cId="1528386973" sldId="11459"/>
            <ac:spMk id="558" creationId="{75481924-FE27-CC2E-541F-12ABC7BF0E44}"/>
          </ac:spMkLst>
        </pc:spChg>
        <pc:spChg chg="del">
          <ac:chgData name="Löcker, Hans Jürgen" userId="a72664b4-e718-48b1-8ea3-32df7930c927" providerId="ADAL" clId="{691E497B-67F2-4C1B-BACD-4E89E36B9237}" dt="2025-09-22T06:25:13.763" v="1247"/>
          <ac:spMkLst>
            <pc:docMk/>
            <pc:sldMk cId="1528386973" sldId="11459"/>
            <ac:spMk id="559" creationId="{3C6E2955-C62C-603C-B00E-D8E2F0A31FE4}"/>
          </ac:spMkLst>
        </pc:spChg>
        <pc:spChg chg="del">
          <ac:chgData name="Löcker, Hans Jürgen" userId="a72664b4-e718-48b1-8ea3-32df7930c927" providerId="ADAL" clId="{691E497B-67F2-4C1B-BACD-4E89E36B9237}" dt="2025-09-22T06:25:13.762" v="1245"/>
          <ac:spMkLst>
            <pc:docMk/>
            <pc:sldMk cId="1528386973" sldId="11459"/>
            <ac:spMk id="560" creationId="{DEEBE226-8216-8570-E6DB-041CD4A224F6}"/>
          </ac:spMkLst>
        </pc:spChg>
        <pc:spChg chg="del">
          <ac:chgData name="Löcker, Hans Jürgen" userId="a72664b4-e718-48b1-8ea3-32df7930c927" providerId="ADAL" clId="{691E497B-67F2-4C1B-BACD-4E89E36B9237}" dt="2025-09-22T06:25:13.757" v="1227"/>
          <ac:spMkLst>
            <pc:docMk/>
            <pc:sldMk cId="1528386973" sldId="11459"/>
            <ac:spMk id="561" creationId="{D4BD5A2C-5C32-62D9-C396-FF243F97F197}"/>
          </ac:spMkLst>
        </pc:spChg>
        <pc:spChg chg="del">
          <ac:chgData name="Löcker, Hans Jürgen" userId="a72664b4-e718-48b1-8ea3-32df7930c927" providerId="ADAL" clId="{691E497B-67F2-4C1B-BACD-4E89E36B9237}" dt="2025-09-22T06:25:13.758" v="1229"/>
          <ac:spMkLst>
            <pc:docMk/>
            <pc:sldMk cId="1528386973" sldId="11459"/>
            <ac:spMk id="562" creationId="{08DA16D7-0409-FE2F-ED08-1E15F21E3A7D}"/>
          </ac:spMkLst>
        </pc:spChg>
        <pc:spChg chg="del">
          <ac:chgData name="Löcker, Hans Jürgen" userId="a72664b4-e718-48b1-8ea3-32df7930c927" providerId="ADAL" clId="{691E497B-67F2-4C1B-BACD-4E89E36B9237}" dt="2025-09-22T06:25:13.753" v="1213"/>
          <ac:spMkLst>
            <pc:docMk/>
            <pc:sldMk cId="1528386973" sldId="11459"/>
            <ac:spMk id="563" creationId="{FCABAD55-A18D-8CFE-1FE5-D51A4B63C3B1}"/>
          </ac:spMkLst>
        </pc:spChg>
        <pc:spChg chg="del">
          <ac:chgData name="Löcker, Hans Jürgen" userId="a72664b4-e718-48b1-8ea3-32df7930c927" providerId="ADAL" clId="{691E497B-67F2-4C1B-BACD-4E89E36B9237}" dt="2025-09-22T06:25:13.752" v="1211"/>
          <ac:spMkLst>
            <pc:docMk/>
            <pc:sldMk cId="1528386973" sldId="11459"/>
            <ac:spMk id="564" creationId="{54345BFF-012B-6744-503E-CD6597A58A97}"/>
          </ac:spMkLst>
        </pc:spChg>
        <pc:spChg chg="del">
          <ac:chgData name="Löcker, Hans Jürgen" userId="a72664b4-e718-48b1-8ea3-32df7930c927" providerId="ADAL" clId="{691E497B-67F2-4C1B-BACD-4E89E36B9237}" dt="2025-09-22T06:25:13.754" v="1215"/>
          <ac:spMkLst>
            <pc:docMk/>
            <pc:sldMk cId="1528386973" sldId="11459"/>
            <ac:spMk id="565" creationId="{E65A9C10-382D-CC93-8CE8-72435D1E80DA}"/>
          </ac:spMkLst>
        </pc:spChg>
        <pc:spChg chg="del">
          <ac:chgData name="Löcker, Hans Jürgen" userId="a72664b4-e718-48b1-8ea3-32df7930c927" providerId="ADAL" clId="{691E497B-67F2-4C1B-BACD-4E89E36B9237}" dt="2025-09-22T06:25:13.754" v="1217"/>
          <ac:spMkLst>
            <pc:docMk/>
            <pc:sldMk cId="1528386973" sldId="11459"/>
            <ac:spMk id="566" creationId="{B869BC01-0BE8-4851-4C3E-F5CB618B7A06}"/>
          </ac:spMkLst>
        </pc:spChg>
        <pc:spChg chg="del">
          <ac:chgData name="Löcker, Hans Jürgen" userId="a72664b4-e718-48b1-8ea3-32df7930c927" providerId="ADAL" clId="{691E497B-67F2-4C1B-BACD-4E89E36B9237}" dt="2025-09-22T06:25:13.752" v="1209"/>
          <ac:spMkLst>
            <pc:docMk/>
            <pc:sldMk cId="1528386973" sldId="11459"/>
            <ac:spMk id="567" creationId="{C4C98BE5-44F9-F5C8-DA86-A6ACC81E2906}"/>
          </ac:spMkLst>
        </pc:spChg>
        <pc:spChg chg="del">
          <ac:chgData name="Löcker, Hans Jürgen" userId="a72664b4-e718-48b1-8ea3-32df7930c927" providerId="ADAL" clId="{691E497B-67F2-4C1B-BACD-4E89E36B9237}" dt="2025-09-22T06:25:13.755" v="1219"/>
          <ac:spMkLst>
            <pc:docMk/>
            <pc:sldMk cId="1528386973" sldId="11459"/>
            <ac:spMk id="568" creationId="{883DDE02-87FB-0BA0-7CDE-C3344C33ED58}"/>
          </ac:spMkLst>
        </pc:spChg>
        <pc:spChg chg="del">
          <ac:chgData name="Löcker, Hans Jürgen" userId="a72664b4-e718-48b1-8ea3-32df7930c927" providerId="ADAL" clId="{691E497B-67F2-4C1B-BACD-4E89E36B9237}" dt="2025-09-22T06:25:13.750" v="1203"/>
          <ac:spMkLst>
            <pc:docMk/>
            <pc:sldMk cId="1528386973" sldId="11459"/>
            <ac:spMk id="569" creationId="{C413FC10-8DEF-A352-2916-E6902A798589}"/>
          </ac:spMkLst>
        </pc:spChg>
        <pc:spChg chg="del">
          <ac:chgData name="Löcker, Hans Jürgen" userId="a72664b4-e718-48b1-8ea3-32df7930c927" providerId="ADAL" clId="{691E497B-67F2-4C1B-BACD-4E89E36B9237}" dt="2025-09-22T06:25:13.749" v="1201"/>
          <ac:spMkLst>
            <pc:docMk/>
            <pc:sldMk cId="1528386973" sldId="11459"/>
            <ac:spMk id="570" creationId="{F8BA55A3-3023-83B4-3806-17D6188E7A67}"/>
          </ac:spMkLst>
        </pc:spChg>
        <pc:spChg chg="del">
          <ac:chgData name="Löcker, Hans Jürgen" userId="a72664b4-e718-48b1-8ea3-32df7930c927" providerId="ADAL" clId="{691E497B-67F2-4C1B-BACD-4E89E36B9237}" dt="2025-09-22T06:25:13.749" v="1199"/>
          <ac:spMkLst>
            <pc:docMk/>
            <pc:sldMk cId="1528386973" sldId="11459"/>
            <ac:spMk id="571" creationId="{723A138A-55E7-8E13-BBE5-892B398D9C2D}"/>
          </ac:spMkLst>
        </pc:spChg>
        <pc:spChg chg="del">
          <ac:chgData name="Löcker, Hans Jürgen" userId="a72664b4-e718-48b1-8ea3-32df7930c927" providerId="ADAL" clId="{691E497B-67F2-4C1B-BACD-4E89E36B9237}" dt="2025-09-22T06:25:13.748" v="1197"/>
          <ac:spMkLst>
            <pc:docMk/>
            <pc:sldMk cId="1528386973" sldId="11459"/>
            <ac:spMk id="572" creationId="{1EA0C084-66A1-1490-7D87-3886CE2C5ADD}"/>
          </ac:spMkLst>
        </pc:spChg>
        <pc:spChg chg="del">
          <ac:chgData name="Löcker, Hans Jürgen" userId="a72664b4-e718-48b1-8ea3-32df7930c927" providerId="ADAL" clId="{691E497B-67F2-4C1B-BACD-4E89E36B9237}" dt="2025-09-22T06:25:13.747" v="1195"/>
          <ac:spMkLst>
            <pc:docMk/>
            <pc:sldMk cId="1528386973" sldId="11459"/>
            <ac:spMk id="573" creationId="{AB78C18A-9E2B-5195-313E-D6B293F2CAEF}"/>
          </ac:spMkLst>
        </pc:spChg>
        <pc:spChg chg="del">
          <ac:chgData name="Löcker, Hans Jürgen" userId="a72664b4-e718-48b1-8ea3-32df7930c927" providerId="ADAL" clId="{691E497B-67F2-4C1B-BACD-4E89E36B9237}" dt="2025-09-22T06:25:13.747" v="1193"/>
          <ac:spMkLst>
            <pc:docMk/>
            <pc:sldMk cId="1528386973" sldId="11459"/>
            <ac:spMk id="574" creationId="{CDD2E833-5FE2-D104-0231-60FFA0E87795}"/>
          </ac:spMkLst>
        </pc:spChg>
        <pc:spChg chg="del">
          <ac:chgData name="Löcker, Hans Jürgen" userId="a72664b4-e718-48b1-8ea3-32df7930c927" providerId="ADAL" clId="{691E497B-67F2-4C1B-BACD-4E89E36B9237}" dt="2025-09-22T06:25:13.746" v="1191"/>
          <ac:spMkLst>
            <pc:docMk/>
            <pc:sldMk cId="1528386973" sldId="11459"/>
            <ac:spMk id="575" creationId="{76CB7BCF-09A4-9586-40ED-8A3E83E1E77D}"/>
          </ac:spMkLst>
        </pc:spChg>
        <pc:spChg chg="del">
          <ac:chgData name="Löcker, Hans Jürgen" userId="a72664b4-e718-48b1-8ea3-32df7930c927" providerId="ADAL" clId="{691E497B-67F2-4C1B-BACD-4E89E36B9237}" dt="2025-09-22T06:25:13.790" v="1341"/>
          <ac:spMkLst>
            <pc:docMk/>
            <pc:sldMk cId="1528386973" sldId="11459"/>
            <ac:spMk id="576" creationId="{77B4633A-9E51-505F-620C-3D6540D62B26}"/>
          </ac:spMkLst>
        </pc:spChg>
        <pc:spChg chg="del">
          <ac:chgData name="Löcker, Hans Jürgen" userId="a72664b4-e718-48b1-8ea3-32df7930c927" providerId="ADAL" clId="{691E497B-67F2-4C1B-BACD-4E89E36B9237}" dt="2025-09-22T06:25:13.789" v="1340"/>
          <ac:spMkLst>
            <pc:docMk/>
            <pc:sldMk cId="1528386973" sldId="11459"/>
            <ac:spMk id="578" creationId="{9D8AA0CB-4D3E-0CCD-1464-783FF1AC62AD}"/>
          </ac:spMkLst>
        </pc:spChg>
        <pc:spChg chg="del">
          <ac:chgData name="Löcker, Hans Jürgen" userId="a72664b4-e718-48b1-8ea3-32df7930c927" providerId="ADAL" clId="{691E497B-67F2-4C1B-BACD-4E89E36B9237}" dt="2025-09-22T06:25:13.789" v="1339"/>
          <ac:spMkLst>
            <pc:docMk/>
            <pc:sldMk cId="1528386973" sldId="11459"/>
            <ac:spMk id="579" creationId="{DC78AF3F-58EE-83E9-085B-708868DA3A4F}"/>
          </ac:spMkLst>
        </pc:spChg>
        <pc:spChg chg="del">
          <ac:chgData name="Löcker, Hans Jürgen" userId="a72664b4-e718-48b1-8ea3-32df7930c927" providerId="ADAL" clId="{691E497B-67F2-4C1B-BACD-4E89E36B9237}" dt="2025-09-22T06:25:13.789" v="1338"/>
          <ac:spMkLst>
            <pc:docMk/>
            <pc:sldMk cId="1528386973" sldId="11459"/>
            <ac:spMk id="580" creationId="{413DA0D3-969C-F02E-31A6-B59BC717A7EA}"/>
          </ac:spMkLst>
        </pc:spChg>
        <pc:spChg chg="del">
          <ac:chgData name="Löcker, Hans Jürgen" userId="a72664b4-e718-48b1-8ea3-32df7930c927" providerId="ADAL" clId="{691E497B-67F2-4C1B-BACD-4E89E36B9237}" dt="2025-09-22T06:25:13.789" v="1337"/>
          <ac:spMkLst>
            <pc:docMk/>
            <pc:sldMk cId="1528386973" sldId="11459"/>
            <ac:spMk id="581" creationId="{E479D2E4-F20C-BFBD-2CA2-8094FC54E55E}"/>
          </ac:spMkLst>
        </pc:spChg>
        <pc:spChg chg="del">
          <ac:chgData name="Löcker, Hans Jürgen" userId="a72664b4-e718-48b1-8ea3-32df7930c927" providerId="ADAL" clId="{691E497B-67F2-4C1B-BACD-4E89E36B9237}" dt="2025-09-22T06:25:13.788" v="1336"/>
          <ac:spMkLst>
            <pc:docMk/>
            <pc:sldMk cId="1528386973" sldId="11459"/>
            <ac:spMk id="582" creationId="{D2DABAA6-6377-AAA8-0AB7-F88DAA9C4C1F}"/>
          </ac:spMkLst>
        </pc:spChg>
        <pc:spChg chg="del">
          <ac:chgData name="Löcker, Hans Jürgen" userId="a72664b4-e718-48b1-8ea3-32df7930c927" providerId="ADAL" clId="{691E497B-67F2-4C1B-BACD-4E89E36B9237}" dt="2025-09-22T06:25:13.788" v="1335"/>
          <ac:spMkLst>
            <pc:docMk/>
            <pc:sldMk cId="1528386973" sldId="11459"/>
            <ac:spMk id="583" creationId="{869ED54B-BC6D-EC48-6914-CD308DC849C3}"/>
          </ac:spMkLst>
        </pc:spChg>
        <pc:spChg chg="del">
          <ac:chgData name="Löcker, Hans Jürgen" userId="a72664b4-e718-48b1-8ea3-32df7930c927" providerId="ADAL" clId="{691E497B-67F2-4C1B-BACD-4E89E36B9237}" dt="2025-09-22T06:25:13.788" v="1334"/>
          <ac:spMkLst>
            <pc:docMk/>
            <pc:sldMk cId="1528386973" sldId="11459"/>
            <ac:spMk id="584" creationId="{667E2748-3394-91EA-F1DF-9E06D5D4B604}"/>
          </ac:spMkLst>
        </pc:spChg>
        <pc:spChg chg="del">
          <ac:chgData name="Löcker, Hans Jürgen" userId="a72664b4-e718-48b1-8ea3-32df7930c927" providerId="ADAL" clId="{691E497B-67F2-4C1B-BACD-4E89E36B9237}" dt="2025-09-22T06:25:13.788" v="1333"/>
          <ac:spMkLst>
            <pc:docMk/>
            <pc:sldMk cId="1528386973" sldId="11459"/>
            <ac:spMk id="585" creationId="{C8FC8CE9-C065-7169-F2CF-DBDC2DB84655}"/>
          </ac:spMkLst>
        </pc:spChg>
        <pc:spChg chg="del">
          <ac:chgData name="Löcker, Hans Jürgen" userId="a72664b4-e718-48b1-8ea3-32df7930c927" providerId="ADAL" clId="{691E497B-67F2-4C1B-BACD-4E89E36B9237}" dt="2025-09-22T06:25:13.787" v="1332"/>
          <ac:spMkLst>
            <pc:docMk/>
            <pc:sldMk cId="1528386973" sldId="11459"/>
            <ac:spMk id="586" creationId="{41DEAF49-285D-DF15-4958-74017696500F}"/>
          </ac:spMkLst>
        </pc:spChg>
        <pc:spChg chg="del">
          <ac:chgData name="Löcker, Hans Jürgen" userId="a72664b4-e718-48b1-8ea3-32df7930c927" providerId="ADAL" clId="{691E497B-67F2-4C1B-BACD-4E89E36B9237}" dt="2025-09-22T06:25:13.787" v="1331"/>
          <ac:spMkLst>
            <pc:docMk/>
            <pc:sldMk cId="1528386973" sldId="11459"/>
            <ac:spMk id="587" creationId="{D1BCF6B2-B05B-ED31-9ACB-C55381C4EB1D}"/>
          </ac:spMkLst>
        </pc:spChg>
        <pc:spChg chg="del">
          <ac:chgData name="Löcker, Hans Jürgen" userId="a72664b4-e718-48b1-8ea3-32df7930c927" providerId="ADAL" clId="{691E497B-67F2-4C1B-BACD-4E89E36B9237}" dt="2025-09-22T06:25:13.787" v="1330"/>
          <ac:spMkLst>
            <pc:docMk/>
            <pc:sldMk cId="1528386973" sldId="11459"/>
            <ac:spMk id="588" creationId="{C81974EC-977A-4573-B9D6-6B362817E0F6}"/>
          </ac:spMkLst>
        </pc:spChg>
        <pc:spChg chg="del">
          <ac:chgData name="Löcker, Hans Jürgen" userId="a72664b4-e718-48b1-8ea3-32df7930c927" providerId="ADAL" clId="{691E497B-67F2-4C1B-BACD-4E89E36B9237}" dt="2025-09-22T06:25:13.798" v="1375"/>
          <ac:spMkLst>
            <pc:docMk/>
            <pc:sldMk cId="1528386973" sldId="11459"/>
            <ac:spMk id="589" creationId="{F5E487D8-046F-2B80-D10B-46892EB2769B}"/>
          </ac:spMkLst>
        </pc:spChg>
        <pc:spChg chg="del">
          <ac:chgData name="Löcker, Hans Jürgen" userId="a72664b4-e718-48b1-8ea3-32df7930c927" providerId="ADAL" clId="{691E497B-67F2-4C1B-BACD-4E89E36B9237}" dt="2025-09-22T06:25:13.798" v="1374"/>
          <ac:spMkLst>
            <pc:docMk/>
            <pc:sldMk cId="1528386973" sldId="11459"/>
            <ac:spMk id="590" creationId="{50BE573A-8E23-34F9-FEE7-231889C7AAFD}"/>
          </ac:spMkLst>
        </pc:spChg>
        <pc:spChg chg="del">
          <ac:chgData name="Löcker, Hans Jürgen" userId="a72664b4-e718-48b1-8ea3-32df7930c927" providerId="ADAL" clId="{691E497B-67F2-4C1B-BACD-4E89E36B9237}" dt="2025-09-22T06:25:13.797" v="1373"/>
          <ac:spMkLst>
            <pc:docMk/>
            <pc:sldMk cId="1528386973" sldId="11459"/>
            <ac:spMk id="591" creationId="{48E619C9-919C-86F7-BCCE-05E00F6C3AFD}"/>
          </ac:spMkLst>
        </pc:spChg>
        <pc:spChg chg="del">
          <ac:chgData name="Löcker, Hans Jürgen" userId="a72664b4-e718-48b1-8ea3-32df7930c927" providerId="ADAL" clId="{691E497B-67F2-4C1B-BACD-4E89E36B9237}" dt="2025-09-22T06:25:13.797" v="1372"/>
          <ac:spMkLst>
            <pc:docMk/>
            <pc:sldMk cId="1528386973" sldId="11459"/>
            <ac:spMk id="592" creationId="{A5DB198F-808A-B91D-C4A0-38F807A3B904}"/>
          </ac:spMkLst>
        </pc:spChg>
        <pc:spChg chg="del">
          <ac:chgData name="Löcker, Hans Jürgen" userId="a72664b4-e718-48b1-8ea3-32df7930c927" providerId="ADAL" clId="{691E497B-67F2-4C1B-BACD-4E89E36B9237}" dt="2025-09-22T06:25:13.801" v="1386"/>
          <ac:spMkLst>
            <pc:docMk/>
            <pc:sldMk cId="1528386973" sldId="11459"/>
            <ac:spMk id="593" creationId="{8C1519FA-BF12-4681-93E5-7FFB42C96868}"/>
          </ac:spMkLst>
        </pc:spChg>
        <pc:spChg chg="del">
          <ac:chgData name="Löcker, Hans Jürgen" userId="a72664b4-e718-48b1-8ea3-32df7930c927" providerId="ADAL" clId="{691E497B-67F2-4C1B-BACD-4E89E36B9237}" dt="2025-09-22T06:25:13.767" v="1261"/>
          <ac:spMkLst>
            <pc:docMk/>
            <pc:sldMk cId="1528386973" sldId="11459"/>
            <ac:spMk id="599" creationId="{12304079-F56B-3F18-4E83-58737D095B5F}"/>
          </ac:spMkLst>
        </pc:spChg>
        <pc:graphicFrameChg chg="mod">
          <ac:chgData name="Löcker, Hans Jürgen" userId="a72664b4-e718-48b1-8ea3-32df7930c927" providerId="ADAL" clId="{691E497B-67F2-4C1B-BACD-4E89E36B9237}" dt="2025-09-22T06:26:15.374" v="1499"/>
          <ac:graphicFrameMkLst>
            <pc:docMk/>
            <pc:sldMk cId="1528386973" sldId="11459"/>
            <ac:graphicFrameMk id="66" creationId="{48C80436-0CF6-741B-BBE5-F68E5DAC8C52}"/>
          </ac:graphicFrameMkLst>
        </pc:graphicFrameChg>
        <pc:picChg chg="add mod ord modCrop">
          <ac:chgData name="Löcker, Hans Jürgen" userId="a72664b4-e718-48b1-8ea3-32df7930c927" providerId="ADAL" clId="{691E497B-67F2-4C1B-BACD-4E89E36B9237}" dt="2025-09-22T06:29:52.426" v="1525" actId="14100"/>
          <ac:picMkLst>
            <pc:docMk/>
            <pc:sldMk cId="1528386973" sldId="11459"/>
            <ac:picMk id="19" creationId="{071F24E4-45CE-C1BC-AD96-72F9F23AC513}"/>
          </ac:picMkLst>
        </pc:picChg>
        <pc:picChg chg="add mod ord modCrop">
          <ac:chgData name="Löcker, Hans Jürgen" userId="a72664b4-e718-48b1-8ea3-32df7930c927" providerId="ADAL" clId="{691E497B-67F2-4C1B-BACD-4E89E36B9237}" dt="2025-09-22T06:29:58.566" v="1526" actId="1076"/>
          <ac:picMkLst>
            <pc:docMk/>
            <pc:sldMk cId="1528386973" sldId="11459"/>
            <ac:picMk id="22" creationId="{51472669-372D-7974-73D3-A5290A9C78D9}"/>
          </ac:picMkLst>
        </pc:picChg>
        <pc:picChg chg="add mod modCrop">
          <ac:chgData name="Löcker, Hans Jürgen" userId="a72664b4-e718-48b1-8ea3-32df7930c927" providerId="ADAL" clId="{691E497B-67F2-4C1B-BACD-4E89E36B9237}" dt="2025-09-22T06:30:02.406" v="1527" actId="1076"/>
          <ac:picMkLst>
            <pc:docMk/>
            <pc:sldMk cId="1528386973" sldId="11459"/>
            <ac:picMk id="25" creationId="{01FD5B78-43F3-E377-9BBD-7281C5AE6DE0}"/>
          </ac:picMkLst>
        </pc:picChg>
        <pc:cxnChg chg="del">
          <ac:chgData name="Löcker, Hans Jürgen" userId="a72664b4-e718-48b1-8ea3-32df7930c927" providerId="ADAL" clId="{691E497B-67F2-4C1B-BACD-4E89E36B9237}" dt="2025-09-22T06:25:13.785" v="1323"/>
          <ac:cxnSpMkLst>
            <pc:docMk/>
            <pc:sldMk cId="1528386973" sldId="11459"/>
            <ac:cxnSpMk id="43" creationId="{D90A30A9-A943-F84D-BA9A-6D609106EE30}"/>
          </ac:cxnSpMkLst>
        </pc:cxnChg>
        <pc:cxnChg chg="del">
          <ac:chgData name="Löcker, Hans Jürgen" userId="a72664b4-e718-48b1-8ea3-32df7930c927" providerId="ADAL" clId="{691E497B-67F2-4C1B-BACD-4E89E36B9237}" dt="2025-09-22T06:25:13.813" v="1427"/>
          <ac:cxnSpMkLst>
            <pc:docMk/>
            <pc:sldMk cId="1528386973" sldId="11459"/>
            <ac:cxnSpMk id="61" creationId="{937D88A6-2488-BC22-8D0F-CAF519CFB420}"/>
          </ac:cxnSpMkLst>
        </pc:cxnChg>
        <pc:cxnChg chg="del">
          <ac:chgData name="Löcker, Hans Jürgen" userId="a72664b4-e718-48b1-8ea3-32df7930c927" providerId="ADAL" clId="{691E497B-67F2-4C1B-BACD-4E89E36B9237}" dt="2025-09-22T06:25:13.812" v="1423"/>
          <ac:cxnSpMkLst>
            <pc:docMk/>
            <pc:sldMk cId="1528386973" sldId="11459"/>
            <ac:cxnSpMk id="62" creationId="{BF184D2E-CF0E-2CAA-3BD3-EECF3289E987}"/>
          </ac:cxnSpMkLst>
        </pc:cxnChg>
        <pc:cxnChg chg="del">
          <ac:chgData name="Löcker, Hans Jürgen" userId="a72664b4-e718-48b1-8ea3-32df7930c927" providerId="ADAL" clId="{691E497B-67F2-4C1B-BACD-4E89E36B9237}" dt="2025-09-22T06:25:13.811" v="1419"/>
          <ac:cxnSpMkLst>
            <pc:docMk/>
            <pc:sldMk cId="1528386973" sldId="11459"/>
            <ac:cxnSpMk id="63" creationId="{D29809FD-3E58-E114-D089-5AE74F701EE0}"/>
          </ac:cxnSpMkLst>
        </pc:cxnChg>
        <pc:cxnChg chg="del">
          <ac:chgData name="Löcker, Hans Jürgen" userId="a72664b4-e718-48b1-8ea3-32df7930c927" providerId="ADAL" clId="{691E497B-67F2-4C1B-BACD-4E89E36B9237}" dt="2025-09-22T06:25:13.813" v="1425"/>
          <ac:cxnSpMkLst>
            <pc:docMk/>
            <pc:sldMk cId="1528386973" sldId="11459"/>
            <ac:cxnSpMk id="64" creationId="{2724D1CD-3B4F-B2A7-3EB7-9EFF845FDB70}"/>
          </ac:cxnSpMkLst>
        </pc:cxnChg>
        <pc:cxnChg chg="del">
          <ac:chgData name="Löcker, Hans Jürgen" userId="a72664b4-e718-48b1-8ea3-32df7930c927" providerId="ADAL" clId="{691E497B-67F2-4C1B-BACD-4E89E36B9237}" dt="2025-09-22T06:25:13.812" v="1421"/>
          <ac:cxnSpMkLst>
            <pc:docMk/>
            <pc:sldMk cId="1528386973" sldId="11459"/>
            <ac:cxnSpMk id="65" creationId="{1188D398-669D-4411-8350-65F380867A0A}"/>
          </ac:cxnSpMkLst>
        </pc:cxnChg>
        <pc:cxnChg chg="del">
          <ac:chgData name="Löcker, Hans Jürgen" userId="a72664b4-e718-48b1-8ea3-32df7930c927" providerId="ADAL" clId="{691E497B-67F2-4C1B-BACD-4E89E36B9237}" dt="2025-09-22T06:25:13.811" v="1417"/>
          <ac:cxnSpMkLst>
            <pc:docMk/>
            <pc:sldMk cId="1528386973" sldId="11459"/>
            <ac:cxnSpMk id="73" creationId="{92809755-D329-33A9-8450-D489F9DEB9B6}"/>
          </ac:cxnSpMkLst>
        </pc:cxnChg>
        <pc:cxnChg chg="del">
          <ac:chgData name="Löcker, Hans Jürgen" userId="a72664b4-e718-48b1-8ea3-32df7930c927" providerId="ADAL" clId="{691E497B-67F2-4C1B-BACD-4E89E36B9237}" dt="2025-09-22T06:25:13.808" v="1409"/>
          <ac:cxnSpMkLst>
            <pc:docMk/>
            <pc:sldMk cId="1528386973" sldId="11459"/>
            <ac:cxnSpMk id="408" creationId="{F59BFB78-93BF-8569-5615-DD14A2BACA53}"/>
          </ac:cxnSpMkLst>
        </pc:cxnChg>
        <pc:cxnChg chg="del">
          <ac:chgData name="Löcker, Hans Jürgen" userId="a72664b4-e718-48b1-8ea3-32df7930c927" providerId="ADAL" clId="{691E497B-67F2-4C1B-BACD-4E89E36B9237}" dt="2025-09-22T06:25:13.808" v="1407"/>
          <ac:cxnSpMkLst>
            <pc:docMk/>
            <pc:sldMk cId="1528386973" sldId="11459"/>
            <ac:cxnSpMk id="409" creationId="{3670BE47-34AF-C7E1-D0F4-F838EFEF7635}"/>
          </ac:cxnSpMkLst>
        </pc:cxnChg>
        <pc:cxnChg chg="del">
          <ac:chgData name="Löcker, Hans Jürgen" userId="a72664b4-e718-48b1-8ea3-32df7930c927" providerId="ADAL" clId="{691E497B-67F2-4C1B-BACD-4E89E36B9237}" dt="2025-09-22T06:25:13.807" v="1405"/>
          <ac:cxnSpMkLst>
            <pc:docMk/>
            <pc:sldMk cId="1528386973" sldId="11459"/>
            <ac:cxnSpMk id="410" creationId="{A617E327-7910-03D9-31EE-837C6D47BB50}"/>
          </ac:cxnSpMkLst>
        </pc:cxnChg>
        <pc:cxnChg chg="del">
          <ac:chgData name="Löcker, Hans Jürgen" userId="a72664b4-e718-48b1-8ea3-32df7930c927" providerId="ADAL" clId="{691E497B-67F2-4C1B-BACD-4E89E36B9237}" dt="2025-09-22T06:25:13.807" v="1403"/>
          <ac:cxnSpMkLst>
            <pc:docMk/>
            <pc:sldMk cId="1528386973" sldId="11459"/>
            <ac:cxnSpMk id="411" creationId="{4FC22342-F231-9798-06A8-BABFBCC2E4A7}"/>
          </ac:cxnSpMkLst>
        </pc:cxnChg>
        <pc:cxnChg chg="del">
          <ac:chgData name="Löcker, Hans Jürgen" userId="a72664b4-e718-48b1-8ea3-32df7930c927" providerId="ADAL" clId="{691E497B-67F2-4C1B-BACD-4E89E36B9237}" dt="2025-09-22T06:25:13.806" v="1401"/>
          <ac:cxnSpMkLst>
            <pc:docMk/>
            <pc:sldMk cId="1528386973" sldId="11459"/>
            <ac:cxnSpMk id="412" creationId="{392BD9FE-40C7-CE07-74F5-9C3BA8383B7E}"/>
          </ac:cxnSpMkLst>
        </pc:cxnChg>
        <pc:cxnChg chg="del">
          <ac:chgData name="Löcker, Hans Jürgen" userId="a72664b4-e718-48b1-8ea3-32df7930c927" providerId="ADAL" clId="{691E497B-67F2-4C1B-BACD-4E89E36B9237}" dt="2025-09-22T06:25:13.805" v="1399"/>
          <ac:cxnSpMkLst>
            <pc:docMk/>
            <pc:sldMk cId="1528386973" sldId="11459"/>
            <ac:cxnSpMk id="413" creationId="{C43BC489-A608-AD85-1B9D-2B3F4AB39D5E}"/>
          </ac:cxnSpMkLst>
        </pc:cxnChg>
        <pc:cxnChg chg="del">
          <ac:chgData name="Löcker, Hans Jürgen" userId="a72664b4-e718-48b1-8ea3-32df7930c927" providerId="ADAL" clId="{691E497B-67F2-4C1B-BACD-4E89E36B9237}" dt="2025-09-22T06:25:13.810" v="1415"/>
          <ac:cxnSpMkLst>
            <pc:docMk/>
            <pc:sldMk cId="1528386973" sldId="11459"/>
            <ac:cxnSpMk id="420" creationId="{04C7A447-DAB3-640A-9CC0-DD48B31D4B97}"/>
          </ac:cxnSpMkLst>
        </pc:cxnChg>
        <pc:cxnChg chg="del">
          <ac:chgData name="Löcker, Hans Jürgen" userId="a72664b4-e718-48b1-8ea3-32df7930c927" providerId="ADAL" clId="{691E497B-67F2-4C1B-BACD-4E89E36B9237}" dt="2025-09-22T06:25:13.810" v="1413"/>
          <ac:cxnSpMkLst>
            <pc:docMk/>
            <pc:sldMk cId="1528386973" sldId="11459"/>
            <ac:cxnSpMk id="421" creationId="{01054BC5-7996-C509-7D93-4C94FE5328E5}"/>
          </ac:cxnSpMkLst>
        </pc:cxnChg>
        <pc:cxnChg chg="del">
          <ac:chgData name="Löcker, Hans Jürgen" userId="a72664b4-e718-48b1-8ea3-32df7930c927" providerId="ADAL" clId="{691E497B-67F2-4C1B-BACD-4E89E36B9237}" dt="2025-09-22T06:25:13.804" v="1397"/>
          <ac:cxnSpMkLst>
            <pc:docMk/>
            <pc:sldMk cId="1528386973" sldId="11459"/>
            <ac:cxnSpMk id="438" creationId="{85DD67A7-7955-738A-3843-789C2266508B}"/>
          </ac:cxnSpMkLst>
        </pc:cxnChg>
        <pc:cxnChg chg="del">
          <ac:chgData name="Löcker, Hans Jürgen" userId="a72664b4-e718-48b1-8ea3-32df7930c927" providerId="ADAL" clId="{691E497B-67F2-4C1B-BACD-4E89E36B9237}" dt="2025-09-22T06:25:13.804" v="1395"/>
          <ac:cxnSpMkLst>
            <pc:docMk/>
            <pc:sldMk cId="1528386973" sldId="11459"/>
            <ac:cxnSpMk id="439" creationId="{977D9BBC-AD00-D00F-468E-4D4B731D9FE3}"/>
          </ac:cxnSpMkLst>
        </pc:cxnChg>
        <pc:cxnChg chg="del">
          <ac:chgData name="Löcker, Hans Jürgen" userId="a72664b4-e718-48b1-8ea3-32df7930c927" providerId="ADAL" clId="{691E497B-67F2-4C1B-BACD-4E89E36B9237}" dt="2025-09-22T06:25:13.803" v="1393"/>
          <ac:cxnSpMkLst>
            <pc:docMk/>
            <pc:sldMk cId="1528386973" sldId="11459"/>
            <ac:cxnSpMk id="440" creationId="{A122B541-DEC0-99D6-3252-B516A87F38E4}"/>
          </ac:cxnSpMkLst>
        </pc:cxnChg>
        <pc:cxnChg chg="del">
          <ac:chgData name="Löcker, Hans Jürgen" userId="a72664b4-e718-48b1-8ea3-32df7930c927" providerId="ADAL" clId="{691E497B-67F2-4C1B-BACD-4E89E36B9237}" dt="2025-09-22T06:25:13.772" v="1279"/>
          <ac:cxnSpMkLst>
            <pc:docMk/>
            <pc:sldMk cId="1528386973" sldId="11459"/>
            <ac:cxnSpMk id="463" creationId="{C4EFAC61-D2E2-AD2B-4B19-54B4CA544418}"/>
          </ac:cxnSpMkLst>
        </pc:cxnChg>
        <pc:cxnChg chg="del">
          <ac:chgData name="Löcker, Hans Jürgen" userId="a72664b4-e718-48b1-8ea3-32df7930c927" providerId="ADAL" clId="{691E497B-67F2-4C1B-BACD-4E89E36B9237}" dt="2025-09-22T06:25:13.756" v="1223"/>
          <ac:cxnSpMkLst>
            <pc:docMk/>
            <pc:sldMk cId="1528386973" sldId="11459"/>
            <ac:cxnSpMk id="464" creationId="{B2B24CE1-2854-39DE-381A-7A746D8DAF54}"/>
          </ac:cxnSpMkLst>
        </pc:cxnChg>
        <pc:cxnChg chg="del">
          <ac:chgData name="Löcker, Hans Jürgen" userId="a72664b4-e718-48b1-8ea3-32df7930c927" providerId="ADAL" clId="{691E497B-67F2-4C1B-BACD-4E89E36B9237}" dt="2025-09-22T06:25:13.809" v="1411"/>
          <ac:cxnSpMkLst>
            <pc:docMk/>
            <pc:sldMk cId="1528386973" sldId="11459"/>
            <ac:cxnSpMk id="507" creationId="{E7100BA1-F7F1-7DE5-65A1-12B1488FA07A}"/>
          </ac:cxnSpMkLst>
        </pc:cxnChg>
        <pc:cxnChg chg="del">
          <ac:chgData name="Löcker, Hans Jürgen" userId="a72664b4-e718-48b1-8ea3-32df7930c927" providerId="ADAL" clId="{691E497B-67F2-4C1B-BACD-4E89E36B9237}" dt="2025-09-22T06:25:13.802" v="1391"/>
          <ac:cxnSpMkLst>
            <pc:docMk/>
            <pc:sldMk cId="1528386973" sldId="11459"/>
            <ac:cxnSpMk id="509" creationId="{F95D7FD8-946B-BCFC-9F74-7196BB44A589}"/>
          </ac:cxnSpMkLst>
        </pc:cxnChg>
      </pc:sldChg>
      <pc:sldChg chg="addSp delSp modSp add mod">
        <pc:chgData name="Löcker, Hans Jürgen" userId="a72664b4-e718-48b1-8ea3-32df7930c927" providerId="ADAL" clId="{691E497B-67F2-4C1B-BACD-4E89E36B9237}" dt="2025-09-22T13:09:48.324" v="1730" actId="478"/>
        <pc:sldMkLst>
          <pc:docMk/>
          <pc:sldMk cId="2900943918" sldId="11460"/>
        </pc:sldMkLst>
        <pc:spChg chg="add del mod">
          <ac:chgData name="Löcker, Hans Jürgen" userId="a72664b4-e718-48b1-8ea3-32df7930c927" providerId="ADAL" clId="{691E497B-67F2-4C1B-BACD-4E89E36B9237}" dt="2025-09-22T13:09:48.324" v="1730" actId="478"/>
          <ac:spMkLst>
            <pc:docMk/>
            <pc:sldMk cId="2900943918" sldId="11460"/>
            <ac:spMk id="7" creationId="{7A04DD94-792D-4F2D-1F30-F7E22D685E77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"/>
          <p:cNvSpPr>
            <a:spLocks noGrp="1" noRot="1" noChangeAspect="1"/>
          </p:cNvSpPr>
          <p:nvPr>
            <p:ph type="sldImg" idx="2"/>
          </p:nvPr>
        </p:nvSpPr>
        <p:spPr>
          <a:xfrm>
            <a:off x="365400" y="421200"/>
            <a:ext cx="6127200" cy="3446550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"/>
          <p:cNvSpPr>
            <a:spLocks noGrp="1"/>
          </p:cNvSpPr>
          <p:nvPr>
            <p:ph type="body" sz="quarter" idx="3"/>
          </p:nvPr>
        </p:nvSpPr>
        <p:spPr>
          <a:xfrm>
            <a:off x="365400" y="4100400"/>
            <a:ext cx="6127200" cy="46224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</p:txBody>
      </p:sp>
      <p:sp>
        <p:nvSpPr>
          <p:cNvPr id="6" name="footer"/>
          <p:cNvSpPr>
            <a:spLocks noGrp="1"/>
          </p:cNvSpPr>
          <p:nvPr>
            <p:ph type="ftr" sz="quarter" idx="4"/>
          </p:nvPr>
        </p:nvSpPr>
        <p:spPr>
          <a:xfrm>
            <a:off x="365400" y="8841454"/>
            <a:ext cx="44748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"/>
          <p:cNvSpPr>
            <a:spLocks noGrp="1"/>
          </p:cNvSpPr>
          <p:nvPr>
            <p:ph type="dt" idx="1"/>
          </p:nvPr>
        </p:nvSpPr>
        <p:spPr>
          <a:xfrm>
            <a:off x="4885200" y="8841454"/>
            <a:ext cx="8064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fld id="{0F9E1635-0D22-4C81-A492-00B8F3FF4A47}" type="datetimeFigureOut">
              <a:rPr lang="en-US"/>
              <a:pPr/>
              <a:t>9/22/2025</a:t>
            </a:fld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5"/>
          </p:nvPr>
        </p:nvSpPr>
        <p:spPr>
          <a:xfrm>
            <a:off x="5736600" y="8841454"/>
            <a:ext cx="756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fld id="{E33337FA-5DE4-419D-82C3-B7D1182AE74F}" type="slidenum">
              <a:rPr lang="en-US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30288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lnSpc>
        <a:spcPct val="100000"/>
      </a:lnSpc>
      <a:spcBef>
        <a:spcPts val="200"/>
      </a:spcBef>
      <a:spcAft>
        <a:spcPts val="200"/>
      </a:spcAft>
      <a:buFontTx/>
      <a:buNone/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0" indent="-252000" algn="l" defTabSz="914400" rtl="0" eaLnBrk="1" latinLnBrk="0" hangingPunct="1">
      <a:lnSpc>
        <a:spcPct val="100000"/>
      </a:lnSpc>
      <a:spcBef>
        <a:spcPts val="0"/>
      </a:spcBef>
      <a:spcAft>
        <a:spcPts val="200"/>
      </a:spcAft>
      <a:buFont typeface="Symbol" panose="05050102010706020507" pitchFamily="18" charset="2"/>
      <a:buChar char="-"/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504000" indent="-252000" algn="l" defTabSz="914400" rtl="0" eaLnBrk="1" latinLnBrk="0" hangingPunct="1">
      <a:lnSpc>
        <a:spcPct val="100000"/>
      </a:lnSpc>
      <a:spcBef>
        <a:spcPts val="0"/>
      </a:spcBef>
      <a:spcAft>
        <a:spcPts val="200"/>
      </a:spcAft>
      <a:buFont typeface="Symbol" panose="05050102010706020507" pitchFamily="18" charset="2"/>
      <a:buChar char="-"/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756000" indent="-252000" algn="l" defTabSz="914400" rtl="0" eaLnBrk="1" latinLnBrk="0" hangingPunct="1">
      <a:lnSpc>
        <a:spcPct val="100000"/>
      </a:lnSpc>
      <a:spcBef>
        <a:spcPts val="0"/>
      </a:spcBef>
      <a:spcAft>
        <a:spcPts val="200"/>
      </a:spcAft>
      <a:buFont typeface="Symbol" panose="05050102010706020507" pitchFamily="18" charset="2"/>
      <a:buChar char="-"/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0" indent="0" algn="l" defTabSz="914400" rtl="0" eaLnBrk="1" latinLnBrk="0" hangingPunct="1">
      <a:lnSpc>
        <a:spcPct val="100000"/>
      </a:lnSpc>
      <a:spcBef>
        <a:spcPts val="200"/>
      </a:spcBef>
      <a:spcAft>
        <a:spcPts val="200"/>
      </a:spcAft>
      <a:buFontTx/>
      <a:buNone/>
      <a:defRPr sz="1400" b="1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0" marR="0" indent="0" algn="l" defTabSz="914400" rtl="0" eaLnBrk="1" fontAlgn="auto" latinLnBrk="0" hangingPunct="1">
      <a:lnSpc>
        <a:spcPct val="100000"/>
      </a:lnSpc>
      <a:spcBef>
        <a:spcPts val="200"/>
      </a:spcBef>
      <a:spcAft>
        <a:spcPts val="200"/>
      </a:spcAft>
      <a:buClrTx/>
      <a:buSzTx/>
      <a:buFontTx/>
      <a:buNone/>
      <a:tabLst/>
      <a:defRPr sz="1400" b="1" kern="1200" cap="all" baseline="0">
        <a:solidFill>
          <a:schemeClr val="accent3"/>
        </a:solidFill>
        <a:latin typeface="Calibri" panose="020F0502020204030204" pitchFamily="34" charset="0"/>
        <a:ea typeface="+mn-ea"/>
        <a:cs typeface="+mn-cs"/>
      </a:defRPr>
    </a:lvl6pPr>
    <a:lvl7pPr marL="0" indent="0" algn="l" defTabSz="914400" rtl="0" eaLnBrk="1" latinLnBrk="0" hangingPunct="1">
      <a:lnSpc>
        <a:spcPct val="100000"/>
      </a:lnSpc>
      <a:spcBef>
        <a:spcPts val="200"/>
      </a:spcBef>
      <a:spcAft>
        <a:spcPts val="200"/>
      </a:spcAft>
      <a:defRPr sz="1400" b="1" kern="1200" cap="all" baseline="0">
        <a:solidFill>
          <a:schemeClr val="accent1"/>
        </a:solidFill>
        <a:latin typeface="Calibri" panose="020F0502020204030204" pitchFamily="34" charset="0"/>
        <a:ea typeface="+mn-ea"/>
        <a:cs typeface="+mn-cs"/>
      </a:defRPr>
    </a:lvl7pPr>
    <a:lvl8pPr marL="0" indent="0" algn="l" defTabSz="914400" rtl="0" eaLnBrk="1" latinLnBrk="0" hangingPunct="1">
      <a:lnSpc>
        <a:spcPct val="100000"/>
      </a:lnSpc>
      <a:spcBef>
        <a:spcPts val="200"/>
      </a:spcBef>
      <a:spcAft>
        <a:spcPts val="200"/>
      </a:spcAft>
      <a:defRPr sz="9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65125" y="420688"/>
            <a:ext cx="6127750" cy="34464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3337FA-5DE4-419D-82C3-B7D1182AE74F}" type="slidenum">
              <a:rPr lang="de-DE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3279804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7B1D94-7121-860E-28B7-CF36F62EAA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7D0E67C7-CCB5-EDE7-17F4-B17C3A7986F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65125" y="420688"/>
            <a:ext cx="6127750" cy="3446462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B5C2DFE9-3A5E-7090-3F7F-311C7AB3AF5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071486A-3E66-FDE2-C79B-6614995DEAA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3337FA-5DE4-419D-82C3-B7D1182AE74F}" type="slidenum">
              <a:rPr lang="de-DE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085779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F9426B-7998-D1F5-7258-0E9DCEBD25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F8FB3952-C2CC-B14C-F4A7-37533121A9E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65125" y="420688"/>
            <a:ext cx="6127750" cy="3446462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B9CBD4AE-4B24-DB22-DEBE-A6F456A3302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D40FE71-89A8-CECE-D44B-8F4E8553618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3337FA-5DE4-419D-82C3-B7D1182AE74F}" type="slidenum">
              <a:rPr lang="de-DE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0192633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728123-BBC0-15CD-7799-FC14604315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A68C2B2A-A334-8194-2C1D-4239D69075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65125" y="420688"/>
            <a:ext cx="6127750" cy="3446462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8A477179-62BB-1375-B64B-FE74819FDE0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1794BEC-7816-6C41-2A41-762FD6FB2FE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3337FA-5DE4-419D-82C3-B7D1182AE74F}" type="slidenum">
              <a:rPr lang="de-DE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9487795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5125" y="420688"/>
            <a:ext cx="6127750" cy="34464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D6D886-B13B-4038-82CA-6C7F030E0C7F}" type="slidenum">
              <a:rPr lang="de-DE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846945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A63EBC-A317-D320-1506-663F44EDEB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47FC9A1D-A1F3-B284-6CC9-262D9C4FD45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65125" y="420688"/>
            <a:ext cx="6127750" cy="3446462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FE986A3-B09F-3D25-9357-B1457BDE7B8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D6367B7-74CE-FBCD-1AAD-5B93A07C71D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3337FA-5DE4-419D-82C3-B7D1182AE74F}" type="slidenum">
              <a:rPr lang="de-DE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8811601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C8BBAC-0003-774D-F69C-1A11808054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B7632873-1642-374C-0886-771F02A180C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65125" y="420688"/>
            <a:ext cx="6127750" cy="3446462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42A187B1-54B3-1AAD-5587-AE8D948B9EF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5E042C1-E353-0CEF-6FF1-A9552A39ACA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3337FA-5DE4-419D-82C3-B7D1182AE74F}" type="slidenum">
              <a:rPr lang="de-DE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414851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AB4FC6-CC34-542A-2AE7-25F7B787A5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F0A77AB-B70B-CF41-1F99-E5B9EC6888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65125" y="420688"/>
            <a:ext cx="6127750" cy="3446462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82BBA8E8-CC77-B9BB-E439-9D2E499982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3291FCB-B124-1304-502E-C4464461A9E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3337FA-5DE4-419D-82C3-B7D1182AE74F}" type="slidenum">
              <a:rPr lang="de-DE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683754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B26754-8238-FFF8-703B-3009173A7E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151FE111-DF7F-7868-F7AD-FE4FF2BB889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65125" y="420688"/>
            <a:ext cx="6127750" cy="3446462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D73E2DA7-E841-760E-6EDE-D2FC650B925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27C0DD8-7AE7-799E-5903-2E9FF65FAB4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3337FA-5DE4-419D-82C3-B7D1182AE74F}" type="slidenum">
              <a:rPr lang="de-DE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594498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54C95F-555D-A2E3-95A0-22D5ED1723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F461269D-99F1-F7D5-27E4-56E164CADB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65125" y="420688"/>
            <a:ext cx="6127750" cy="3446462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2F010767-1312-9850-EDED-A5AE0220421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475902D-8FE8-F117-85B2-F2FA36273A8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3337FA-5DE4-419D-82C3-B7D1182AE74F}" type="slidenum">
              <a:rPr lang="de-DE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9844160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DD0D0F-2E3B-D4A9-4EB9-6DAAD1E60E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C9BAB8BF-A860-7711-6327-6E4CFEA2FEB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65125" y="420688"/>
            <a:ext cx="6127750" cy="3446462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6F471D9-72B9-6685-EB04-E1FACA586A2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1D11197-8497-599D-2C3B-559360D4027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3337FA-5DE4-419D-82C3-B7D1182AE74F}" type="slidenum">
              <a:rPr lang="de-DE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090270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5125" y="420688"/>
            <a:ext cx="6127750" cy="34464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D6D886-B13B-4038-82CA-6C7F030E0C7F}" type="slidenum">
              <a:rPr lang="de-DE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846945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5125" y="420688"/>
            <a:ext cx="6127750" cy="34464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D6D886-B13B-4038-82CA-6C7F030E0C7F}" type="slidenum">
              <a:rPr lang="de-DE"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846945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CA3EE9-61AC-1331-E751-8738467950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F75DC777-70C7-C1A5-B864-DE13B98A34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65125" y="420688"/>
            <a:ext cx="6127750" cy="3446462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E6A24B8D-0ECA-F776-4AD6-22C2EEEFEA8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0403420-112E-4B9D-EC2A-D8AC8E4AB9F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3337FA-5DE4-419D-82C3-B7D1182AE74F}" type="slidenum">
              <a:rPr lang="de-DE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752290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65125" y="420688"/>
            <a:ext cx="6127750" cy="34464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3337FA-5DE4-419D-82C3-B7D1182AE74F}" type="slidenum">
              <a:rPr lang="de-DE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901306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36053E-A984-B27A-8C9A-4F22FE0719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FEC10744-EB5C-E632-FC68-4423A5E0CCB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65125" y="420688"/>
            <a:ext cx="6127750" cy="3446462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7C9F8EF3-E43A-00B3-F035-AF0AEB412C7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B68C19B-9F0B-3CD4-C5A7-A8A6310770D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3337FA-5DE4-419D-82C3-B7D1182AE74F}" type="slidenum">
              <a:rPr lang="de-DE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335160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5125" y="420688"/>
            <a:ext cx="6127750" cy="34464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D6D886-B13B-4038-82CA-6C7F030E0C7F}" type="slidenum">
              <a:rPr lang="de-DE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84694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65125" y="420688"/>
            <a:ext cx="6127750" cy="34464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3337FA-5DE4-419D-82C3-B7D1182AE74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9828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5125" y="420688"/>
            <a:ext cx="6127750" cy="34464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D6D886-B13B-4038-82CA-6C7F030E0C7F}" type="slidenum">
              <a:rPr lang="de-DE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84694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2B752D-09D7-9415-170E-DCB73FCA92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EBA25B9C-BEE8-2FBE-3CAC-AE59D469FD7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65125" y="420688"/>
            <a:ext cx="6127750" cy="3446462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1592DACA-32AC-8A79-7EB9-B05FD9E2E36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D8A10C-2211-EF86-EE92-7CECE69788B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3337FA-5DE4-419D-82C3-B7D1182AE74F}" type="slidenum">
              <a:rPr lang="de-DE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32528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AD6581-431D-96E5-657C-13BF13A59B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1E0FA019-E69B-EE54-55CB-018A9383878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65125" y="420688"/>
            <a:ext cx="6127750" cy="3446462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E935FD73-E63C-51E6-1EE2-F372B1E4FB1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2C04F4D-C62A-1E90-69AA-F9216BDA6F5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3337FA-5DE4-419D-82C3-B7D1182AE74F}" type="slidenum">
              <a:rPr lang="de-DE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827290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5125" y="420688"/>
            <a:ext cx="6127750" cy="34464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D6D886-B13B-4038-82CA-6C7F030E0C7F}" type="slidenum">
              <a:rPr lang="de-DE"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84694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">
            <a:extLst>
              <a:ext uri="{FF2B5EF4-FFF2-40B4-BE49-F238E27FC236}">
                <a16:creationId xmlns:a16="http://schemas.microsoft.com/office/drawing/2014/main" id="{8919D487-50E1-1679-0064-D5650639F52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background white">
            <a:extLst>
              <a:ext uri="{FF2B5EF4-FFF2-40B4-BE49-F238E27FC236}">
                <a16:creationId xmlns:a16="http://schemas.microsoft.com/office/drawing/2014/main" id="{6162F8FB-2790-F0AF-7AFF-E15BAC3531CD}"/>
              </a:ext>
            </a:extLst>
          </p:cNvPr>
          <p:cNvSpPr>
            <a:spLocks noChangeAspect="1"/>
          </p:cNvSpPr>
          <p:nvPr/>
        </p:nvSpPr>
        <p:spPr>
          <a:xfrm>
            <a:off x="0" y="-1"/>
            <a:ext cx="6689089" cy="6858001"/>
          </a:xfrm>
          <a:custGeom>
            <a:avLst/>
            <a:gdLst>
              <a:gd name="connsiteX0" fmla="*/ 2180588 w 6689089"/>
              <a:gd name="connsiteY0" fmla="*/ 0 h 6858001"/>
              <a:gd name="connsiteX1" fmla="*/ 2180589 w 6689089"/>
              <a:gd name="connsiteY1" fmla="*/ 1 h 6858001"/>
              <a:gd name="connsiteX2" fmla="*/ 2180589 w 6689089"/>
              <a:gd name="connsiteY2" fmla="*/ 2 h 6858001"/>
              <a:gd name="connsiteX3" fmla="*/ 6689089 w 6689089"/>
              <a:gd name="connsiteY3" fmla="*/ 6858001 h 6858001"/>
              <a:gd name="connsiteX4" fmla="*/ 2180589 w 6689089"/>
              <a:gd name="connsiteY4" fmla="*/ 6858001 h 6858001"/>
              <a:gd name="connsiteX5" fmla="*/ 2180588 w 6689089"/>
              <a:gd name="connsiteY5" fmla="*/ 6858001 h 6858001"/>
              <a:gd name="connsiteX6" fmla="*/ 0 w 6689089"/>
              <a:gd name="connsiteY6" fmla="*/ 6858001 h 6858001"/>
              <a:gd name="connsiteX7" fmla="*/ 0 w 6689089"/>
              <a:gd name="connsiteY7" fmla="*/ 1 h 6858001"/>
              <a:gd name="connsiteX8" fmla="*/ 2180588 w 6689089"/>
              <a:gd name="connsiteY8" fmla="*/ 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689089" h="6858001">
                <a:moveTo>
                  <a:pt x="2180588" y="0"/>
                </a:moveTo>
                <a:lnTo>
                  <a:pt x="2180589" y="1"/>
                </a:lnTo>
                <a:lnTo>
                  <a:pt x="2180589" y="2"/>
                </a:lnTo>
                <a:lnTo>
                  <a:pt x="6689089" y="6858001"/>
                </a:lnTo>
                <a:lnTo>
                  <a:pt x="2180589" y="6858001"/>
                </a:lnTo>
                <a:lnTo>
                  <a:pt x="2180588" y="6858001"/>
                </a:lnTo>
                <a:lnTo>
                  <a:pt x="0" y="6858001"/>
                </a:lnTo>
                <a:lnTo>
                  <a:pt x="0" y="1"/>
                </a:lnTo>
                <a:lnTo>
                  <a:pt x="2180588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de-DE" sz="1400" err="1"/>
          </a:p>
        </p:txBody>
      </p:sp>
      <p:grpSp>
        <p:nvGrpSpPr>
          <p:cNvPr id="19" name="design element">
            <a:extLst>
              <a:ext uri="{FF2B5EF4-FFF2-40B4-BE49-F238E27FC236}">
                <a16:creationId xmlns:a16="http://schemas.microsoft.com/office/drawing/2014/main" id="{D0A0C28E-BA7E-12D3-A367-CABEE0478508}"/>
              </a:ext>
            </a:extLst>
          </p:cNvPr>
          <p:cNvGrpSpPr>
            <a:grpSpLocks noChangeAspect="1"/>
          </p:cNvGrpSpPr>
          <p:nvPr/>
        </p:nvGrpSpPr>
        <p:grpSpPr>
          <a:xfrm>
            <a:off x="2635867" y="0"/>
            <a:ext cx="5198927" cy="6858002"/>
            <a:chOff x="2635867" y="0"/>
            <a:chExt cx="5198927" cy="6858002"/>
          </a:xfrm>
        </p:grpSpPr>
        <p:sp>
          <p:nvSpPr>
            <p:cNvPr id="2" name="white">
              <a:extLst>
                <a:ext uri="{FF2B5EF4-FFF2-40B4-BE49-F238E27FC236}">
                  <a16:creationId xmlns:a16="http://schemas.microsoft.com/office/drawing/2014/main" id="{FBD583FB-9236-B40C-1D85-B1ECADAD7FF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50157" y="0"/>
              <a:ext cx="4684637" cy="6858000"/>
            </a:xfrm>
            <a:custGeom>
              <a:avLst/>
              <a:gdLst>
                <a:gd name="connsiteX0" fmla="*/ 1736716 w 4684637"/>
                <a:gd name="connsiteY0" fmla="*/ 1392684 h 6858000"/>
                <a:gd name="connsiteX1" fmla="*/ 1565941 w 4684637"/>
                <a:gd name="connsiteY1" fmla="*/ 1514426 h 6858000"/>
                <a:gd name="connsiteX2" fmla="*/ 1478287 w 4684637"/>
                <a:gd name="connsiteY2" fmla="*/ 1982843 h 6858000"/>
                <a:gd name="connsiteX3" fmla="*/ 2556756 w 4684637"/>
                <a:gd name="connsiteY3" fmla="*/ 3622622 h 6858000"/>
                <a:gd name="connsiteX4" fmla="*/ 2727608 w 4684637"/>
                <a:gd name="connsiteY4" fmla="*/ 3500829 h 6858000"/>
                <a:gd name="connsiteX5" fmla="*/ 2815261 w 4684637"/>
                <a:gd name="connsiteY5" fmla="*/ 3032413 h 6858000"/>
                <a:gd name="connsiteX6" fmla="*/ 2857918 w 4684637"/>
                <a:gd name="connsiteY6" fmla="*/ 593397 h 6858000"/>
                <a:gd name="connsiteX7" fmla="*/ 1757173 w 4684637"/>
                <a:gd name="connsiteY7" fmla="*/ 1378100 h 6858000"/>
                <a:gd name="connsiteX8" fmla="*/ 2836161 w 4684637"/>
                <a:gd name="connsiteY8" fmla="*/ 3018606 h 6858000"/>
                <a:gd name="connsiteX9" fmla="*/ 2742047 w 4684637"/>
                <a:gd name="connsiteY9" fmla="*/ 3521603 h 6858000"/>
                <a:gd name="connsiteX10" fmla="*/ 2570668 w 4684637"/>
                <a:gd name="connsiteY10" fmla="*/ 3643775 h 6858000"/>
                <a:gd name="connsiteX11" fmla="*/ 3067395 w 4684637"/>
                <a:gd name="connsiteY11" fmla="*/ 4399033 h 6858000"/>
                <a:gd name="connsiteX12" fmla="*/ 4358452 w 4684637"/>
                <a:gd name="connsiteY12" fmla="*/ 3461942 h 6858000"/>
                <a:gd name="connsiteX13" fmla="*/ 4443699 w 4684637"/>
                <a:gd name="connsiteY13" fmla="*/ 2991626 h 6858000"/>
                <a:gd name="connsiteX14" fmla="*/ 820667 w 4684637"/>
                <a:gd name="connsiteY14" fmla="*/ 0 h 6858000"/>
                <a:gd name="connsiteX15" fmla="*/ 850774 w 4684637"/>
                <a:gd name="connsiteY15" fmla="*/ 0 h 6858000"/>
                <a:gd name="connsiteX16" fmla="*/ 1232441 w 4684637"/>
                <a:gd name="connsiteY16" fmla="*/ 580291 h 6858000"/>
                <a:gd name="connsiteX17" fmla="*/ 2031924 w 4684637"/>
                <a:gd name="connsiteY17" fmla="*/ 0 h 6858000"/>
                <a:gd name="connsiteX18" fmla="*/ 2074896 w 4684637"/>
                <a:gd name="connsiteY18" fmla="*/ 0 h 6858000"/>
                <a:gd name="connsiteX19" fmla="*/ 1246341 w 4684637"/>
                <a:gd name="connsiteY19" fmla="*/ 601425 h 6858000"/>
                <a:gd name="connsiteX20" fmla="*/ 1743222 w 4684637"/>
                <a:gd name="connsiteY20" fmla="*/ 1356888 h 6858000"/>
                <a:gd name="connsiteX21" fmla="*/ 2843916 w 4684637"/>
                <a:gd name="connsiteY21" fmla="*/ 572221 h 6858000"/>
                <a:gd name="connsiteX22" fmla="*/ 2465546 w 4684637"/>
                <a:gd name="connsiteY22" fmla="*/ 0 h 6858000"/>
                <a:gd name="connsiteX23" fmla="*/ 2495914 w 4684637"/>
                <a:gd name="connsiteY23" fmla="*/ 0 h 6858000"/>
                <a:gd name="connsiteX24" fmla="*/ 2864555 w 4684637"/>
                <a:gd name="connsiteY24" fmla="*/ 557508 h 6858000"/>
                <a:gd name="connsiteX25" fmla="*/ 3646600 w 4684637"/>
                <a:gd name="connsiteY25" fmla="*/ 0 h 6858000"/>
                <a:gd name="connsiteX26" fmla="*/ 3690306 w 4684637"/>
                <a:gd name="connsiteY26" fmla="*/ 0 h 6858000"/>
                <a:gd name="connsiteX27" fmla="*/ 2878557 w 4684637"/>
                <a:gd name="connsiteY27" fmla="*/ 578683 h 6858000"/>
                <a:gd name="connsiteX28" fmla="*/ 4464853 w 4684637"/>
                <a:gd name="connsiteY28" fmla="*/ 2977693 h 6858000"/>
                <a:gd name="connsiteX29" fmla="*/ 4373272 w 4684637"/>
                <a:gd name="connsiteY29" fmla="*/ 3482463 h 6858000"/>
                <a:gd name="connsiteX30" fmla="*/ 3081319 w 4684637"/>
                <a:gd name="connsiteY30" fmla="*/ 4420204 h 6858000"/>
                <a:gd name="connsiteX31" fmla="*/ 4684637 w 4684637"/>
                <a:gd name="connsiteY31" fmla="*/ 6858000 h 6858000"/>
                <a:gd name="connsiteX32" fmla="*/ 4654369 w 4684637"/>
                <a:gd name="connsiteY32" fmla="*/ 6858000 h 6858000"/>
                <a:gd name="connsiteX33" fmla="*/ 3060886 w 4684637"/>
                <a:gd name="connsiteY33" fmla="*/ 4435036 h 6858000"/>
                <a:gd name="connsiteX34" fmla="*/ 2306178 w 4684637"/>
                <a:gd name="connsiteY34" fmla="*/ 4982826 h 6858000"/>
                <a:gd name="connsiteX35" fmla="*/ 2292258 w 4684637"/>
                <a:gd name="connsiteY35" fmla="*/ 4961652 h 6858000"/>
                <a:gd name="connsiteX36" fmla="*/ 3046962 w 4684637"/>
                <a:gd name="connsiteY36" fmla="*/ 4413864 h 6858000"/>
                <a:gd name="connsiteX37" fmla="*/ 2550133 w 4684637"/>
                <a:gd name="connsiteY37" fmla="*/ 3658413 h 6858000"/>
                <a:gd name="connsiteX38" fmla="*/ 1791180 w 4684637"/>
                <a:gd name="connsiteY38" fmla="*/ 4199450 h 6858000"/>
                <a:gd name="connsiteX39" fmla="*/ 1777266 w 4684637"/>
                <a:gd name="connsiteY39" fmla="*/ 4178285 h 6858000"/>
                <a:gd name="connsiteX40" fmla="*/ 2536222 w 4684637"/>
                <a:gd name="connsiteY40" fmla="*/ 3637260 h 6858000"/>
                <a:gd name="connsiteX41" fmla="*/ 1457260 w 4684637"/>
                <a:gd name="connsiteY41" fmla="*/ 1996650 h 6858000"/>
                <a:gd name="connsiteX42" fmla="*/ 1551374 w 4684637"/>
                <a:gd name="connsiteY42" fmla="*/ 1493653 h 6858000"/>
                <a:gd name="connsiteX43" fmla="*/ 1722764 w 4684637"/>
                <a:gd name="connsiteY43" fmla="*/ 1371472 h 6858000"/>
                <a:gd name="connsiteX44" fmla="*/ 1225981 w 4684637"/>
                <a:gd name="connsiteY44" fmla="*/ 616204 h 6858000"/>
                <a:gd name="connsiteX45" fmla="*/ 13918 w 4684637"/>
                <a:gd name="connsiteY45" fmla="*/ 1496006 h 6858000"/>
                <a:gd name="connsiteX46" fmla="*/ 0 w 4684637"/>
                <a:gd name="connsiteY46" fmla="*/ 1474835 h 6858000"/>
                <a:gd name="connsiteX47" fmla="*/ 1212079 w 4684637"/>
                <a:gd name="connsiteY47" fmla="*/ 59507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4684637" h="6858000">
                  <a:moveTo>
                    <a:pt x="1736716" y="1392684"/>
                  </a:moveTo>
                  <a:lnTo>
                    <a:pt x="1565941" y="1514426"/>
                  </a:lnTo>
                  <a:cubicBezTo>
                    <a:pt x="1417359" y="1620321"/>
                    <a:pt x="1378093" y="1830462"/>
                    <a:pt x="1478287" y="1982843"/>
                  </a:cubicBezTo>
                  <a:lnTo>
                    <a:pt x="2556756" y="3622622"/>
                  </a:lnTo>
                  <a:lnTo>
                    <a:pt x="2727608" y="3500829"/>
                  </a:lnTo>
                  <a:cubicBezTo>
                    <a:pt x="2876188" y="3394935"/>
                    <a:pt x="2915455" y="3184794"/>
                    <a:pt x="2815261" y="3032413"/>
                  </a:cubicBezTo>
                  <a:close/>
                  <a:moveTo>
                    <a:pt x="2857918" y="593397"/>
                  </a:moveTo>
                  <a:lnTo>
                    <a:pt x="1757173" y="1378100"/>
                  </a:lnTo>
                  <a:lnTo>
                    <a:pt x="2836161" y="3018606"/>
                  </a:lnTo>
                  <a:cubicBezTo>
                    <a:pt x="2943829" y="3182261"/>
                    <a:pt x="2901649" y="3407855"/>
                    <a:pt x="2742047" y="3521603"/>
                  </a:cubicBezTo>
                  <a:lnTo>
                    <a:pt x="2570668" y="3643775"/>
                  </a:lnTo>
                  <a:lnTo>
                    <a:pt x="3067395" y="4399033"/>
                  </a:lnTo>
                  <a:lnTo>
                    <a:pt x="4358452" y="3461942"/>
                  </a:lnTo>
                  <a:cubicBezTo>
                    <a:pt x="4506020" y="3354782"/>
                    <a:pt x="4544273" y="3143754"/>
                    <a:pt x="4443699" y="2991626"/>
                  </a:cubicBezTo>
                  <a:close/>
                  <a:moveTo>
                    <a:pt x="820667" y="0"/>
                  </a:moveTo>
                  <a:lnTo>
                    <a:pt x="850774" y="0"/>
                  </a:lnTo>
                  <a:lnTo>
                    <a:pt x="1232441" y="580291"/>
                  </a:lnTo>
                  <a:lnTo>
                    <a:pt x="2031924" y="0"/>
                  </a:lnTo>
                  <a:lnTo>
                    <a:pt x="2074896" y="0"/>
                  </a:lnTo>
                  <a:lnTo>
                    <a:pt x="1246341" y="601425"/>
                  </a:lnTo>
                  <a:lnTo>
                    <a:pt x="1743222" y="1356888"/>
                  </a:lnTo>
                  <a:lnTo>
                    <a:pt x="2843916" y="572221"/>
                  </a:lnTo>
                  <a:lnTo>
                    <a:pt x="2465546" y="0"/>
                  </a:lnTo>
                  <a:lnTo>
                    <a:pt x="2495914" y="0"/>
                  </a:lnTo>
                  <a:lnTo>
                    <a:pt x="2864555" y="557508"/>
                  </a:lnTo>
                  <a:lnTo>
                    <a:pt x="3646600" y="0"/>
                  </a:lnTo>
                  <a:lnTo>
                    <a:pt x="3690306" y="0"/>
                  </a:lnTo>
                  <a:lnTo>
                    <a:pt x="2878557" y="578683"/>
                  </a:lnTo>
                  <a:lnTo>
                    <a:pt x="4464853" y="2977693"/>
                  </a:lnTo>
                  <a:cubicBezTo>
                    <a:pt x="4572773" y="3140967"/>
                    <a:pt x="4531733" y="3367448"/>
                    <a:pt x="4373272" y="3482463"/>
                  </a:cubicBezTo>
                  <a:lnTo>
                    <a:pt x="3081319" y="4420204"/>
                  </a:lnTo>
                  <a:lnTo>
                    <a:pt x="4684637" y="6858000"/>
                  </a:lnTo>
                  <a:lnTo>
                    <a:pt x="4654369" y="6858000"/>
                  </a:lnTo>
                  <a:lnTo>
                    <a:pt x="3060886" y="4435036"/>
                  </a:lnTo>
                  <a:lnTo>
                    <a:pt x="2306178" y="4982826"/>
                  </a:lnTo>
                  <a:lnTo>
                    <a:pt x="2292258" y="4961652"/>
                  </a:lnTo>
                  <a:lnTo>
                    <a:pt x="3046962" y="4413864"/>
                  </a:lnTo>
                  <a:lnTo>
                    <a:pt x="2550133" y="3658413"/>
                  </a:lnTo>
                  <a:lnTo>
                    <a:pt x="1791180" y="4199450"/>
                  </a:lnTo>
                  <a:lnTo>
                    <a:pt x="1777266" y="4178285"/>
                  </a:lnTo>
                  <a:lnTo>
                    <a:pt x="2536222" y="3637260"/>
                  </a:lnTo>
                  <a:lnTo>
                    <a:pt x="1457260" y="1996650"/>
                  </a:lnTo>
                  <a:cubicBezTo>
                    <a:pt x="1349592" y="1832995"/>
                    <a:pt x="1391773" y="1607401"/>
                    <a:pt x="1551374" y="1493653"/>
                  </a:cubicBezTo>
                  <a:lnTo>
                    <a:pt x="1722764" y="1371472"/>
                  </a:lnTo>
                  <a:lnTo>
                    <a:pt x="1225981" y="616204"/>
                  </a:lnTo>
                  <a:lnTo>
                    <a:pt x="13918" y="1496006"/>
                  </a:lnTo>
                  <a:lnTo>
                    <a:pt x="0" y="1474835"/>
                  </a:lnTo>
                  <a:lnTo>
                    <a:pt x="1212079" y="595070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de-DE"/>
            </a:p>
          </p:txBody>
        </p:sp>
        <p:sp>
          <p:nvSpPr>
            <p:cNvPr id="17" name="grey">
              <a:extLst>
                <a:ext uri="{FF2B5EF4-FFF2-40B4-BE49-F238E27FC236}">
                  <a16:creationId xmlns:a16="http://schemas.microsoft.com/office/drawing/2014/main" id="{0A0B5A01-CEA4-C7D9-CBFF-296EEE06A8B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635867" y="1474837"/>
              <a:ext cx="3560683" cy="5383165"/>
            </a:xfrm>
            <a:custGeom>
              <a:avLst/>
              <a:gdLst>
                <a:gd name="connsiteX0" fmla="*/ 1943233 w 3560683"/>
                <a:gd name="connsiteY0" fmla="*/ 2982842 h 5383165"/>
                <a:gd name="connsiteX1" fmla="*/ 119290 w 3560683"/>
                <a:gd name="connsiteY1" fmla="*/ 4283080 h 5383165"/>
                <a:gd name="connsiteX2" fmla="*/ 26950 w 3560683"/>
                <a:gd name="connsiteY2" fmla="*/ 4410128 h 5383165"/>
                <a:gd name="connsiteX3" fmla="*/ 175658 w 3560683"/>
                <a:gd name="connsiteY3" fmla="*/ 4460542 h 5383165"/>
                <a:gd name="connsiteX4" fmla="*/ 1118951 w 3560683"/>
                <a:gd name="connsiteY4" fmla="*/ 4464341 h 5383165"/>
                <a:gd name="connsiteX5" fmla="*/ 1732021 w 3560683"/>
                <a:gd name="connsiteY5" fmla="*/ 4266740 h 5383165"/>
                <a:gd name="connsiteX6" fmla="*/ 2448403 w 3560683"/>
                <a:gd name="connsiteY6" fmla="*/ 3746768 h 5383165"/>
                <a:gd name="connsiteX7" fmla="*/ 514290 w 3560683"/>
                <a:gd name="connsiteY7" fmla="*/ 0 h 5383165"/>
                <a:gd name="connsiteX8" fmla="*/ 528208 w 3560683"/>
                <a:gd name="connsiteY8" fmla="*/ 21171 h 5383165"/>
                <a:gd name="connsiteX9" fmla="*/ 449259 w 3560683"/>
                <a:gd name="connsiteY9" fmla="*/ 78478 h 5383165"/>
                <a:gd name="connsiteX10" fmla="*/ 364012 w 3560683"/>
                <a:gd name="connsiteY10" fmla="*/ 548795 h 5383165"/>
                <a:gd name="connsiteX11" fmla="*/ 1949830 w 3560683"/>
                <a:gd name="connsiteY11" fmla="*/ 2947049 h 5383165"/>
                <a:gd name="connsiteX12" fmla="*/ 2291557 w 3560683"/>
                <a:gd name="connsiteY12" fmla="*/ 2703447 h 5383165"/>
                <a:gd name="connsiteX13" fmla="*/ 2305471 w 3560683"/>
                <a:gd name="connsiteY13" fmla="*/ 2724612 h 5383165"/>
                <a:gd name="connsiteX14" fmla="*/ 1963802 w 3560683"/>
                <a:gd name="connsiteY14" fmla="*/ 2968179 h 5383165"/>
                <a:gd name="connsiteX15" fmla="*/ 2468830 w 3560683"/>
                <a:gd name="connsiteY15" fmla="*/ 3731941 h 5383165"/>
                <a:gd name="connsiteX16" fmla="*/ 2806549 w 3560683"/>
                <a:gd name="connsiteY16" fmla="*/ 3486814 h 5383165"/>
                <a:gd name="connsiteX17" fmla="*/ 2820469 w 3560683"/>
                <a:gd name="connsiteY17" fmla="*/ 3507988 h 5383165"/>
                <a:gd name="connsiteX18" fmla="*/ 2482805 w 3560683"/>
                <a:gd name="connsiteY18" fmla="*/ 3753075 h 5383165"/>
                <a:gd name="connsiteX19" fmla="*/ 3560683 w 3560683"/>
                <a:gd name="connsiteY19" fmla="*/ 5383165 h 5383165"/>
                <a:gd name="connsiteX20" fmla="*/ 3530520 w 3560683"/>
                <a:gd name="connsiteY20" fmla="*/ 5383165 h 5383165"/>
                <a:gd name="connsiteX21" fmla="*/ 2462378 w 3560683"/>
                <a:gd name="connsiteY21" fmla="*/ 3767902 h 5383165"/>
                <a:gd name="connsiteX22" fmla="*/ 1746842 w 3560683"/>
                <a:gd name="connsiteY22" fmla="*/ 4287260 h 5383165"/>
                <a:gd name="connsiteX23" fmla="*/ 1121104 w 3560683"/>
                <a:gd name="connsiteY23" fmla="*/ 4489802 h 5383165"/>
                <a:gd name="connsiteX24" fmla="*/ 1118951 w 3560683"/>
                <a:gd name="connsiteY24" fmla="*/ 4489802 h 5383165"/>
                <a:gd name="connsiteX25" fmla="*/ 175658 w 3560683"/>
                <a:gd name="connsiteY25" fmla="*/ 4486002 h 5383165"/>
                <a:gd name="connsiteX26" fmla="*/ 2883 w 3560683"/>
                <a:gd name="connsiteY26" fmla="*/ 4417855 h 5383165"/>
                <a:gd name="connsiteX27" fmla="*/ 104597 w 3560683"/>
                <a:gd name="connsiteY27" fmla="*/ 4262433 h 5383165"/>
                <a:gd name="connsiteX28" fmla="*/ 1929261 w 3560683"/>
                <a:gd name="connsiteY28" fmla="*/ 2961712 h 5383165"/>
                <a:gd name="connsiteX29" fmla="*/ 342859 w 3560683"/>
                <a:gd name="connsiteY29" fmla="*/ 562728 h 5383165"/>
                <a:gd name="connsiteX30" fmla="*/ 434439 w 3560683"/>
                <a:gd name="connsiteY30" fmla="*/ 57958 h 5383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560683" h="5383165">
                  <a:moveTo>
                    <a:pt x="1943233" y="2982842"/>
                  </a:moveTo>
                  <a:lnTo>
                    <a:pt x="119290" y="4283080"/>
                  </a:lnTo>
                  <a:cubicBezTo>
                    <a:pt x="50510" y="4332101"/>
                    <a:pt x="16943" y="4378461"/>
                    <a:pt x="26950" y="4410128"/>
                  </a:cubicBezTo>
                  <a:cubicBezTo>
                    <a:pt x="36957" y="4441795"/>
                    <a:pt x="91170" y="4460288"/>
                    <a:pt x="175658" y="4460542"/>
                  </a:cubicBezTo>
                  <a:lnTo>
                    <a:pt x="1118951" y="4464341"/>
                  </a:lnTo>
                  <a:cubicBezTo>
                    <a:pt x="1305659" y="4464848"/>
                    <a:pt x="1580907" y="4376434"/>
                    <a:pt x="1732021" y="4266740"/>
                  </a:cubicBezTo>
                  <a:lnTo>
                    <a:pt x="2448403" y="3746768"/>
                  </a:lnTo>
                  <a:close/>
                  <a:moveTo>
                    <a:pt x="514290" y="0"/>
                  </a:moveTo>
                  <a:lnTo>
                    <a:pt x="528208" y="21171"/>
                  </a:lnTo>
                  <a:lnTo>
                    <a:pt x="449259" y="78478"/>
                  </a:lnTo>
                  <a:cubicBezTo>
                    <a:pt x="301565" y="185639"/>
                    <a:pt x="263311" y="396667"/>
                    <a:pt x="364012" y="548795"/>
                  </a:cubicBezTo>
                  <a:lnTo>
                    <a:pt x="1949830" y="2947049"/>
                  </a:lnTo>
                  <a:lnTo>
                    <a:pt x="2291557" y="2703447"/>
                  </a:lnTo>
                  <a:lnTo>
                    <a:pt x="2305471" y="2724612"/>
                  </a:lnTo>
                  <a:lnTo>
                    <a:pt x="1963802" y="2968179"/>
                  </a:lnTo>
                  <a:lnTo>
                    <a:pt x="2468830" y="3731941"/>
                  </a:lnTo>
                  <a:lnTo>
                    <a:pt x="2806549" y="3486814"/>
                  </a:lnTo>
                  <a:lnTo>
                    <a:pt x="2820469" y="3507988"/>
                  </a:lnTo>
                  <a:lnTo>
                    <a:pt x="2482805" y="3753075"/>
                  </a:lnTo>
                  <a:lnTo>
                    <a:pt x="3560683" y="5383165"/>
                  </a:lnTo>
                  <a:lnTo>
                    <a:pt x="3530520" y="5383165"/>
                  </a:lnTo>
                  <a:lnTo>
                    <a:pt x="2462378" y="3767902"/>
                  </a:lnTo>
                  <a:lnTo>
                    <a:pt x="1746842" y="4287260"/>
                  </a:lnTo>
                  <a:cubicBezTo>
                    <a:pt x="1592687" y="4399234"/>
                    <a:pt x="1312499" y="4489802"/>
                    <a:pt x="1121104" y="4489802"/>
                  </a:cubicBezTo>
                  <a:lnTo>
                    <a:pt x="1118951" y="4489802"/>
                  </a:lnTo>
                  <a:lnTo>
                    <a:pt x="175658" y="4486002"/>
                  </a:lnTo>
                  <a:cubicBezTo>
                    <a:pt x="78124" y="4485622"/>
                    <a:pt x="16816" y="4461428"/>
                    <a:pt x="2883" y="4417855"/>
                  </a:cubicBezTo>
                  <a:cubicBezTo>
                    <a:pt x="-10924" y="4374281"/>
                    <a:pt x="25177" y="4319180"/>
                    <a:pt x="104597" y="4262433"/>
                  </a:cubicBezTo>
                  <a:lnTo>
                    <a:pt x="1929261" y="2961712"/>
                  </a:lnTo>
                  <a:lnTo>
                    <a:pt x="342859" y="562728"/>
                  </a:lnTo>
                  <a:cubicBezTo>
                    <a:pt x="234811" y="399454"/>
                    <a:pt x="275852" y="173099"/>
                    <a:pt x="434439" y="57958"/>
                  </a:cubicBezTo>
                  <a:close/>
                </a:path>
              </a:pathLst>
            </a:custGeom>
            <a:solidFill>
              <a:srgbClr val="F2F2F2"/>
            </a:solidFill>
            <a:ln w="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de-DE"/>
            </a:p>
          </p:txBody>
        </p:sp>
      </p:grpSp>
      <p:grpSp>
        <p:nvGrpSpPr>
          <p:cNvPr id="20" name="logo drees&amp;sommer blue">
            <a:extLst>
              <a:ext uri="{FF2B5EF4-FFF2-40B4-BE49-F238E27FC236}">
                <a16:creationId xmlns:a16="http://schemas.microsoft.com/office/drawing/2014/main" id="{1959C79B-0EC4-F061-AA52-335F8BA7A1E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60000" y="360000"/>
            <a:ext cx="1346399" cy="406312"/>
            <a:chOff x="95247" y="1619247"/>
            <a:chExt cx="12004075" cy="3622552"/>
          </a:xfrm>
          <a:solidFill>
            <a:srgbClr val="002965"/>
          </a:solidFill>
        </p:grpSpPr>
        <p:sp>
          <p:nvSpPr>
            <p:cNvPr id="21" name="d">
              <a:extLst>
                <a:ext uri="{FF2B5EF4-FFF2-40B4-BE49-F238E27FC236}">
                  <a16:creationId xmlns:a16="http://schemas.microsoft.com/office/drawing/2014/main" id="{94760A3E-56D1-0A43-6357-4972BEEE3B88}"/>
                </a:ext>
              </a:extLst>
            </p:cNvPr>
            <p:cNvSpPr/>
            <p:nvPr/>
          </p:nvSpPr>
          <p:spPr bwMode="gray">
            <a:xfrm>
              <a:off x="146585" y="1619247"/>
              <a:ext cx="1890145" cy="1555528"/>
            </a:xfrm>
            <a:custGeom>
              <a:avLst/>
              <a:gdLst>
                <a:gd name="connsiteX0" fmla="*/ 361760 w 1890141"/>
                <a:gd name="connsiteY0" fmla="*/ 1263206 h 1555527"/>
                <a:gd name="connsiteX1" fmla="*/ 361760 w 1890141"/>
                <a:gd name="connsiteY1" fmla="*/ 277368 h 1555527"/>
                <a:gd name="connsiteX2" fmla="*/ 1003840 w 1890141"/>
                <a:gd name="connsiteY2" fmla="*/ 277368 h 1555527"/>
                <a:gd name="connsiteX3" fmla="*/ 1516380 w 1890141"/>
                <a:gd name="connsiteY3" fmla="*/ 762762 h 1555527"/>
                <a:gd name="connsiteX4" fmla="*/ 828961 w 1890141"/>
                <a:gd name="connsiteY4" fmla="*/ 1263206 h 1555527"/>
                <a:gd name="connsiteX5" fmla="*/ 361760 w 1890141"/>
                <a:gd name="connsiteY5" fmla="*/ 1263206 h 1555527"/>
                <a:gd name="connsiteX6" fmla="*/ 0 w 1890141"/>
                <a:gd name="connsiteY6" fmla="*/ 1555528 h 1555527"/>
                <a:gd name="connsiteX7" fmla="*/ 907447 w 1890141"/>
                <a:gd name="connsiteY7" fmla="*/ 1555528 h 1555527"/>
                <a:gd name="connsiteX8" fmla="*/ 1546574 w 1890141"/>
                <a:gd name="connsiteY8" fmla="*/ 1435037 h 1555527"/>
                <a:gd name="connsiteX9" fmla="*/ 1890141 w 1890141"/>
                <a:gd name="connsiteY9" fmla="*/ 768763 h 1555527"/>
                <a:gd name="connsiteX10" fmla="*/ 1000792 w 1890141"/>
                <a:gd name="connsiteY10" fmla="*/ 0 h 1555527"/>
                <a:gd name="connsiteX11" fmla="*/ 0 w 1890141"/>
                <a:gd name="connsiteY11" fmla="*/ 0 h 1555527"/>
                <a:gd name="connsiteX12" fmla="*/ 0 w 1890141"/>
                <a:gd name="connsiteY12" fmla="*/ 1555528 h 1555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90141" h="1555527">
                  <a:moveTo>
                    <a:pt x="361760" y="1263206"/>
                  </a:moveTo>
                  <a:lnTo>
                    <a:pt x="361760" y="277368"/>
                  </a:lnTo>
                  <a:lnTo>
                    <a:pt x="1003840" y="277368"/>
                  </a:lnTo>
                  <a:cubicBezTo>
                    <a:pt x="1344549" y="277368"/>
                    <a:pt x="1516380" y="446246"/>
                    <a:pt x="1516380" y="762762"/>
                  </a:cubicBezTo>
                  <a:cubicBezTo>
                    <a:pt x="1516380" y="1148620"/>
                    <a:pt x="1287209" y="1263206"/>
                    <a:pt x="828961" y="1263206"/>
                  </a:cubicBezTo>
                  <a:lnTo>
                    <a:pt x="361760" y="1263206"/>
                  </a:lnTo>
                  <a:close/>
                  <a:moveTo>
                    <a:pt x="0" y="1555528"/>
                  </a:moveTo>
                  <a:lnTo>
                    <a:pt x="907447" y="1555528"/>
                  </a:lnTo>
                  <a:cubicBezTo>
                    <a:pt x="1184624" y="1555528"/>
                    <a:pt x="1395698" y="1528382"/>
                    <a:pt x="1546574" y="1435037"/>
                  </a:cubicBezTo>
                  <a:cubicBezTo>
                    <a:pt x="1763649" y="1302353"/>
                    <a:pt x="1890141" y="1061180"/>
                    <a:pt x="1890141" y="768763"/>
                  </a:cubicBezTo>
                  <a:cubicBezTo>
                    <a:pt x="1890141" y="286417"/>
                    <a:pt x="1582769" y="0"/>
                    <a:pt x="1000792" y="0"/>
                  </a:cubicBezTo>
                  <a:lnTo>
                    <a:pt x="0" y="0"/>
                  </a:lnTo>
                  <a:lnTo>
                    <a:pt x="0" y="15555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  <p:sp>
          <p:nvSpPr>
            <p:cNvPr id="23" name="r">
              <a:extLst>
                <a:ext uri="{FF2B5EF4-FFF2-40B4-BE49-F238E27FC236}">
                  <a16:creationId xmlns:a16="http://schemas.microsoft.com/office/drawing/2014/main" id="{53DD54E1-E232-02AA-71B0-8AB9E05D7722}"/>
                </a:ext>
              </a:extLst>
            </p:cNvPr>
            <p:cNvSpPr/>
            <p:nvPr/>
          </p:nvSpPr>
          <p:spPr bwMode="gray">
            <a:xfrm>
              <a:off x="2405150" y="1899664"/>
              <a:ext cx="1579811" cy="1275112"/>
            </a:xfrm>
            <a:custGeom>
              <a:avLst/>
              <a:gdLst>
                <a:gd name="connsiteX0" fmla="*/ 1015937 w 1579816"/>
                <a:gd name="connsiteY0" fmla="*/ 220028 h 1275111"/>
                <a:gd name="connsiteX1" fmla="*/ 1157668 w 1579816"/>
                <a:gd name="connsiteY1" fmla="*/ 322517 h 1275111"/>
                <a:gd name="connsiteX2" fmla="*/ 1157668 w 1579816"/>
                <a:gd name="connsiteY2" fmla="*/ 470249 h 1275111"/>
                <a:gd name="connsiteX3" fmla="*/ 1015937 w 1579816"/>
                <a:gd name="connsiteY3" fmla="*/ 572738 h 1275111"/>
                <a:gd name="connsiteX4" fmla="*/ 307467 w 1579816"/>
                <a:gd name="connsiteY4" fmla="*/ 572738 h 1275111"/>
                <a:gd name="connsiteX5" fmla="*/ 307467 w 1579816"/>
                <a:gd name="connsiteY5" fmla="*/ 220028 h 1275111"/>
                <a:gd name="connsiteX6" fmla="*/ 1015937 w 1579816"/>
                <a:gd name="connsiteY6" fmla="*/ 220028 h 1275111"/>
                <a:gd name="connsiteX7" fmla="*/ 0 w 1579816"/>
                <a:gd name="connsiteY7" fmla="*/ 1275112 h 1275111"/>
                <a:gd name="connsiteX8" fmla="*/ 307562 w 1579816"/>
                <a:gd name="connsiteY8" fmla="*/ 1275112 h 1275111"/>
                <a:gd name="connsiteX9" fmla="*/ 307562 w 1579816"/>
                <a:gd name="connsiteY9" fmla="*/ 792671 h 1275111"/>
                <a:gd name="connsiteX10" fmla="*/ 599980 w 1579816"/>
                <a:gd name="connsiteY10" fmla="*/ 792671 h 1275111"/>
                <a:gd name="connsiteX11" fmla="*/ 1133570 w 1579816"/>
                <a:gd name="connsiteY11" fmla="*/ 1275112 h 1275111"/>
                <a:gd name="connsiteX12" fmla="*/ 1579817 w 1579816"/>
                <a:gd name="connsiteY12" fmla="*/ 1275112 h 1275111"/>
                <a:gd name="connsiteX13" fmla="*/ 973741 w 1579816"/>
                <a:gd name="connsiteY13" fmla="*/ 792671 h 1275111"/>
                <a:gd name="connsiteX14" fmla="*/ 1148620 w 1579816"/>
                <a:gd name="connsiteY14" fmla="*/ 792671 h 1275111"/>
                <a:gd name="connsiteX15" fmla="*/ 1447133 w 1579816"/>
                <a:gd name="connsiteY15" fmla="*/ 548640 h 1275111"/>
                <a:gd name="connsiteX16" fmla="*/ 1447133 w 1579816"/>
                <a:gd name="connsiteY16" fmla="*/ 247174 h 1275111"/>
                <a:gd name="connsiteX17" fmla="*/ 1148620 w 1579816"/>
                <a:gd name="connsiteY17" fmla="*/ 0 h 1275111"/>
                <a:gd name="connsiteX18" fmla="*/ 0 w 1579816"/>
                <a:gd name="connsiteY18" fmla="*/ 0 h 1275111"/>
                <a:gd name="connsiteX19" fmla="*/ 0 w 1579816"/>
                <a:gd name="connsiteY19" fmla="*/ 1275112 h 1275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79816" h="1275111">
                  <a:moveTo>
                    <a:pt x="1015937" y="220028"/>
                  </a:moveTo>
                  <a:cubicBezTo>
                    <a:pt x="1109282" y="220028"/>
                    <a:pt x="1157668" y="238220"/>
                    <a:pt x="1157668" y="322517"/>
                  </a:cubicBezTo>
                  <a:lnTo>
                    <a:pt x="1157668" y="470249"/>
                  </a:lnTo>
                  <a:cubicBezTo>
                    <a:pt x="1157668" y="554736"/>
                    <a:pt x="1109282" y="572738"/>
                    <a:pt x="1015937" y="572738"/>
                  </a:cubicBezTo>
                  <a:lnTo>
                    <a:pt x="307467" y="572738"/>
                  </a:lnTo>
                  <a:lnTo>
                    <a:pt x="307467" y="220028"/>
                  </a:lnTo>
                  <a:lnTo>
                    <a:pt x="1015937" y="220028"/>
                  </a:lnTo>
                  <a:close/>
                  <a:moveTo>
                    <a:pt x="0" y="1275112"/>
                  </a:moveTo>
                  <a:lnTo>
                    <a:pt x="307562" y="1275112"/>
                  </a:lnTo>
                  <a:lnTo>
                    <a:pt x="307562" y="792671"/>
                  </a:lnTo>
                  <a:lnTo>
                    <a:pt x="599980" y="792671"/>
                  </a:lnTo>
                  <a:lnTo>
                    <a:pt x="1133570" y="1275112"/>
                  </a:lnTo>
                  <a:lnTo>
                    <a:pt x="1579817" y="1275112"/>
                  </a:lnTo>
                  <a:lnTo>
                    <a:pt x="973741" y="792671"/>
                  </a:lnTo>
                  <a:lnTo>
                    <a:pt x="1148620" y="792671"/>
                  </a:lnTo>
                  <a:cubicBezTo>
                    <a:pt x="1353693" y="792671"/>
                    <a:pt x="1447133" y="723329"/>
                    <a:pt x="1447133" y="548640"/>
                  </a:cubicBezTo>
                  <a:lnTo>
                    <a:pt x="1447133" y="247174"/>
                  </a:lnTo>
                  <a:cubicBezTo>
                    <a:pt x="1447133" y="69342"/>
                    <a:pt x="1353598" y="0"/>
                    <a:pt x="1148620" y="0"/>
                  </a:cubicBezTo>
                  <a:lnTo>
                    <a:pt x="0" y="0"/>
                  </a:lnTo>
                  <a:lnTo>
                    <a:pt x="0" y="12751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  <p:sp>
          <p:nvSpPr>
            <p:cNvPr id="24" name="e">
              <a:extLst>
                <a:ext uri="{FF2B5EF4-FFF2-40B4-BE49-F238E27FC236}">
                  <a16:creationId xmlns:a16="http://schemas.microsoft.com/office/drawing/2014/main" id="{DD0014E8-D9F0-E255-FE83-DBBF069948BE}"/>
                </a:ext>
              </a:extLst>
            </p:cNvPr>
            <p:cNvSpPr/>
            <p:nvPr/>
          </p:nvSpPr>
          <p:spPr bwMode="gray">
            <a:xfrm>
              <a:off x="4279102" y="1899664"/>
              <a:ext cx="1383701" cy="1275112"/>
            </a:xfrm>
            <a:custGeom>
              <a:avLst/>
              <a:gdLst>
                <a:gd name="connsiteX0" fmla="*/ 0 w 1383696"/>
                <a:gd name="connsiteY0" fmla="*/ 1275112 h 1275111"/>
                <a:gd name="connsiteX1" fmla="*/ 1383697 w 1383696"/>
                <a:gd name="connsiteY1" fmla="*/ 1275112 h 1275111"/>
                <a:gd name="connsiteX2" fmla="*/ 1383697 w 1383696"/>
                <a:gd name="connsiteY2" fmla="*/ 1036987 h 1275111"/>
                <a:gd name="connsiteX3" fmla="*/ 313563 w 1383696"/>
                <a:gd name="connsiteY3" fmla="*/ 1036987 h 1275111"/>
                <a:gd name="connsiteX4" fmla="*/ 313563 w 1383696"/>
                <a:gd name="connsiteY4" fmla="*/ 723424 h 1275111"/>
                <a:gd name="connsiteX5" fmla="*/ 928497 w 1383696"/>
                <a:gd name="connsiteY5" fmla="*/ 723424 h 1275111"/>
                <a:gd name="connsiteX6" fmla="*/ 928497 w 1383696"/>
                <a:gd name="connsiteY6" fmla="*/ 503396 h 1275111"/>
                <a:gd name="connsiteX7" fmla="*/ 313563 w 1383696"/>
                <a:gd name="connsiteY7" fmla="*/ 503396 h 1275111"/>
                <a:gd name="connsiteX8" fmla="*/ 313563 w 1383696"/>
                <a:gd name="connsiteY8" fmla="*/ 226028 h 1275111"/>
                <a:gd name="connsiteX9" fmla="*/ 1368743 w 1383696"/>
                <a:gd name="connsiteY9" fmla="*/ 226028 h 1275111"/>
                <a:gd name="connsiteX10" fmla="*/ 1368743 w 1383696"/>
                <a:gd name="connsiteY10" fmla="*/ 0 h 1275111"/>
                <a:gd name="connsiteX11" fmla="*/ 0 w 1383696"/>
                <a:gd name="connsiteY11" fmla="*/ 0 h 1275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83696" h="1275111">
                  <a:moveTo>
                    <a:pt x="0" y="1275112"/>
                  </a:moveTo>
                  <a:lnTo>
                    <a:pt x="1383697" y="1275112"/>
                  </a:lnTo>
                  <a:lnTo>
                    <a:pt x="1383697" y="1036987"/>
                  </a:lnTo>
                  <a:lnTo>
                    <a:pt x="313563" y="1036987"/>
                  </a:lnTo>
                  <a:lnTo>
                    <a:pt x="313563" y="723424"/>
                  </a:lnTo>
                  <a:lnTo>
                    <a:pt x="928497" y="723424"/>
                  </a:lnTo>
                  <a:lnTo>
                    <a:pt x="928497" y="503396"/>
                  </a:lnTo>
                  <a:lnTo>
                    <a:pt x="313563" y="503396"/>
                  </a:lnTo>
                  <a:lnTo>
                    <a:pt x="313563" y="226028"/>
                  </a:lnTo>
                  <a:lnTo>
                    <a:pt x="1368743" y="226028"/>
                  </a:lnTo>
                  <a:lnTo>
                    <a:pt x="136874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  <p:sp>
          <p:nvSpPr>
            <p:cNvPr id="25" name="e">
              <a:extLst>
                <a:ext uri="{FF2B5EF4-FFF2-40B4-BE49-F238E27FC236}">
                  <a16:creationId xmlns:a16="http://schemas.microsoft.com/office/drawing/2014/main" id="{2BD5D2CD-A5AF-826C-BB40-E5C11CBFCA0C}"/>
                </a:ext>
              </a:extLst>
            </p:cNvPr>
            <p:cNvSpPr/>
            <p:nvPr/>
          </p:nvSpPr>
          <p:spPr bwMode="gray">
            <a:xfrm>
              <a:off x="6022562" y="1899664"/>
              <a:ext cx="1383701" cy="1275112"/>
            </a:xfrm>
            <a:custGeom>
              <a:avLst/>
              <a:gdLst>
                <a:gd name="connsiteX0" fmla="*/ 0 w 1383696"/>
                <a:gd name="connsiteY0" fmla="*/ 1275112 h 1275111"/>
                <a:gd name="connsiteX1" fmla="*/ 1383697 w 1383696"/>
                <a:gd name="connsiteY1" fmla="*/ 1275112 h 1275111"/>
                <a:gd name="connsiteX2" fmla="*/ 1383697 w 1383696"/>
                <a:gd name="connsiteY2" fmla="*/ 1036987 h 1275111"/>
                <a:gd name="connsiteX3" fmla="*/ 313563 w 1383696"/>
                <a:gd name="connsiteY3" fmla="*/ 1036987 h 1275111"/>
                <a:gd name="connsiteX4" fmla="*/ 313563 w 1383696"/>
                <a:gd name="connsiteY4" fmla="*/ 723424 h 1275111"/>
                <a:gd name="connsiteX5" fmla="*/ 928497 w 1383696"/>
                <a:gd name="connsiteY5" fmla="*/ 723424 h 1275111"/>
                <a:gd name="connsiteX6" fmla="*/ 928497 w 1383696"/>
                <a:gd name="connsiteY6" fmla="*/ 503396 h 1275111"/>
                <a:gd name="connsiteX7" fmla="*/ 313563 w 1383696"/>
                <a:gd name="connsiteY7" fmla="*/ 503396 h 1275111"/>
                <a:gd name="connsiteX8" fmla="*/ 313563 w 1383696"/>
                <a:gd name="connsiteY8" fmla="*/ 226028 h 1275111"/>
                <a:gd name="connsiteX9" fmla="*/ 1368743 w 1383696"/>
                <a:gd name="connsiteY9" fmla="*/ 226028 h 1275111"/>
                <a:gd name="connsiteX10" fmla="*/ 1368743 w 1383696"/>
                <a:gd name="connsiteY10" fmla="*/ 0 h 1275111"/>
                <a:gd name="connsiteX11" fmla="*/ 0 w 1383696"/>
                <a:gd name="connsiteY11" fmla="*/ 0 h 1275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83696" h="1275111">
                  <a:moveTo>
                    <a:pt x="0" y="1275112"/>
                  </a:moveTo>
                  <a:lnTo>
                    <a:pt x="1383697" y="1275112"/>
                  </a:lnTo>
                  <a:lnTo>
                    <a:pt x="1383697" y="1036987"/>
                  </a:lnTo>
                  <a:lnTo>
                    <a:pt x="313563" y="1036987"/>
                  </a:lnTo>
                  <a:lnTo>
                    <a:pt x="313563" y="723424"/>
                  </a:lnTo>
                  <a:lnTo>
                    <a:pt x="928497" y="723424"/>
                  </a:lnTo>
                  <a:lnTo>
                    <a:pt x="928497" y="503396"/>
                  </a:lnTo>
                  <a:lnTo>
                    <a:pt x="313563" y="503396"/>
                  </a:lnTo>
                  <a:lnTo>
                    <a:pt x="313563" y="226028"/>
                  </a:lnTo>
                  <a:lnTo>
                    <a:pt x="1368743" y="226028"/>
                  </a:lnTo>
                  <a:lnTo>
                    <a:pt x="136874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  <p:sp>
          <p:nvSpPr>
            <p:cNvPr id="26" name="s">
              <a:extLst>
                <a:ext uri="{FF2B5EF4-FFF2-40B4-BE49-F238E27FC236}">
                  <a16:creationId xmlns:a16="http://schemas.microsoft.com/office/drawing/2014/main" id="{35A9CC71-C344-A46C-B581-04A60AA676AE}"/>
                </a:ext>
              </a:extLst>
            </p:cNvPr>
            <p:cNvSpPr/>
            <p:nvPr/>
          </p:nvSpPr>
          <p:spPr bwMode="gray">
            <a:xfrm>
              <a:off x="7714204" y="1899664"/>
              <a:ext cx="1495239" cy="1275213"/>
            </a:xfrm>
            <a:custGeom>
              <a:avLst/>
              <a:gdLst>
                <a:gd name="connsiteX0" fmla="*/ 1211770 w 1495234"/>
                <a:gd name="connsiteY0" fmla="*/ 229076 h 1275207"/>
                <a:gd name="connsiteX1" fmla="*/ 1211770 w 1495234"/>
                <a:gd name="connsiteY1" fmla="*/ 348234 h 1275207"/>
                <a:gd name="connsiteX2" fmla="*/ 1479995 w 1495234"/>
                <a:gd name="connsiteY2" fmla="*/ 291084 h 1275207"/>
                <a:gd name="connsiteX3" fmla="*/ 1479995 w 1495234"/>
                <a:gd name="connsiteY3" fmla="*/ 277368 h 1275207"/>
                <a:gd name="connsiteX4" fmla="*/ 1145477 w 1495234"/>
                <a:gd name="connsiteY4" fmla="*/ 0 h 1275207"/>
                <a:gd name="connsiteX5" fmla="*/ 388905 w 1495234"/>
                <a:gd name="connsiteY5" fmla="*/ 0 h 1275207"/>
                <a:gd name="connsiteX6" fmla="*/ 54197 w 1495234"/>
                <a:gd name="connsiteY6" fmla="*/ 301561 h 1275207"/>
                <a:gd name="connsiteX7" fmla="*/ 54197 w 1495234"/>
                <a:gd name="connsiteY7" fmla="*/ 443294 h 1275207"/>
                <a:gd name="connsiteX8" fmla="*/ 388905 w 1495234"/>
                <a:gd name="connsiteY8" fmla="*/ 744665 h 1275207"/>
                <a:gd name="connsiteX9" fmla="*/ 1214818 w 1495234"/>
                <a:gd name="connsiteY9" fmla="*/ 744665 h 1275207"/>
                <a:gd name="connsiteX10" fmla="*/ 1214818 w 1495234"/>
                <a:gd name="connsiteY10" fmla="*/ 1037177 h 1275207"/>
                <a:gd name="connsiteX11" fmla="*/ 277177 w 1495234"/>
                <a:gd name="connsiteY11" fmla="*/ 1037177 h 1275207"/>
                <a:gd name="connsiteX12" fmla="*/ 277177 w 1495234"/>
                <a:gd name="connsiteY12" fmla="*/ 902875 h 1275207"/>
                <a:gd name="connsiteX13" fmla="*/ 0 w 1495234"/>
                <a:gd name="connsiteY13" fmla="*/ 954214 h 1275207"/>
                <a:gd name="connsiteX14" fmla="*/ 0 w 1495234"/>
                <a:gd name="connsiteY14" fmla="*/ 973836 h 1275207"/>
                <a:gd name="connsiteX15" fmla="*/ 334518 w 1495234"/>
                <a:gd name="connsiteY15" fmla="*/ 1275207 h 1275207"/>
                <a:gd name="connsiteX16" fmla="*/ 1163669 w 1495234"/>
                <a:gd name="connsiteY16" fmla="*/ 1275207 h 1275207"/>
                <a:gd name="connsiteX17" fmla="*/ 1495234 w 1495234"/>
                <a:gd name="connsiteY17" fmla="*/ 973836 h 1275207"/>
                <a:gd name="connsiteX18" fmla="*/ 1495234 w 1495234"/>
                <a:gd name="connsiteY18" fmla="*/ 798957 h 1275207"/>
                <a:gd name="connsiteX19" fmla="*/ 1163669 w 1495234"/>
                <a:gd name="connsiteY19" fmla="*/ 497586 h 1275207"/>
                <a:gd name="connsiteX20" fmla="*/ 334518 w 1495234"/>
                <a:gd name="connsiteY20" fmla="*/ 497586 h 1275207"/>
                <a:gd name="connsiteX21" fmla="*/ 334518 w 1495234"/>
                <a:gd name="connsiteY21" fmla="*/ 229076 h 1275207"/>
                <a:gd name="connsiteX22" fmla="*/ 1211770 w 1495234"/>
                <a:gd name="connsiteY22" fmla="*/ 229076 h 127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95234" h="1275207">
                  <a:moveTo>
                    <a:pt x="1211770" y="229076"/>
                  </a:moveTo>
                  <a:lnTo>
                    <a:pt x="1211770" y="348234"/>
                  </a:lnTo>
                  <a:lnTo>
                    <a:pt x="1479995" y="291084"/>
                  </a:lnTo>
                  <a:lnTo>
                    <a:pt x="1479995" y="277368"/>
                  </a:lnTo>
                  <a:cubicBezTo>
                    <a:pt x="1479995" y="54388"/>
                    <a:pt x="1380649" y="0"/>
                    <a:pt x="1145477" y="0"/>
                  </a:cubicBezTo>
                  <a:lnTo>
                    <a:pt x="388905" y="0"/>
                  </a:lnTo>
                  <a:cubicBezTo>
                    <a:pt x="138684" y="0"/>
                    <a:pt x="54197" y="60388"/>
                    <a:pt x="54197" y="301561"/>
                  </a:cubicBezTo>
                  <a:lnTo>
                    <a:pt x="54197" y="443294"/>
                  </a:lnTo>
                  <a:cubicBezTo>
                    <a:pt x="54197" y="684467"/>
                    <a:pt x="138684" y="744665"/>
                    <a:pt x="388905" y="744665"/>
                  </a:cubicBezTo>
                  <a:lnTo>
                    <a:pt x="1214818" y="744665"/>
                  </a:lnTo>
                  <a:lnTo>
                    <a:pt x="1214818" y="1037177"/>
                  </a:lnTo>
                  <a:lnTo>
                    <a:pt x="277177" y="1037177"/>
                  </a:lnTo>
                  <a:lnTo>
                    <a:pt x="277177" y="902875"/>
                  </a:lnTo>
                  <a:lnTo>
                    <a:pt x="0" y="954214"/>
                  </a:lnTo>
                  <a:lnTo>
                    <a:pt x="0" y="973836"/>
                  </a:lnTo>
                  <a:cubicBezTo>
                    <a:pt x="0" y="1212056"/>
                    <a:pt x="81343" y="1275207"/>
                    <a:pt x="334518" y="1275207"/>
                  </a:cubicBezTo>
                  <a:lnTo>
                    <a:pt x="1163669" y="1275207"/>
                  </a:lnTo>
                  <a:cubicBezTo>
                    <a:pt x="1416844" y="1275207"/>
                    <a:pt x="1495234" y="1212056"/>
                    <a:pt x="1495234" y="973836"/>
                  </a:cubicBezTo>
                  <a:lnTo>
                    <a:pt x="1495234" y="798957"/>
                  </a:lnTo>
                  <a:cubicBezTo>
                    <a:pt x="1495234" y="557784"/>
                    <a:pt x="1416939" y="497586"/>
                    <a:pt x="1163669" y="497586"/>
                  </a:cubicBezTo>
                  <a:lnTo>
                    <a:pt x="334518" y="497586"/>
                  </a:lnTo>
                  <a:lnTo>
                    <a:pt x="334518" y="229076"/>
                  </a:lnTo>
                  <a:lnTo>
                    <a:pt x="1211770" y="22907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  <p:sp>
          <p:nvSpPr>
            <p:cNvPr id="27" name="&amp;">
              <a:extLst>
                <a:ext uri="{FF2B5EF4-FFF2-40B4-BE49-F238E27FC236}">
                  <a16:creationId xmlns:a16="http://schemas.microsoft.com/office/drawing/2014/main" id="{831C9289-BCF7-FCAC-5826-B08A01B9438C}"/>
                </a:ext>
              </a:extLst>
            </p:cNvPr>
            <p:cNvSpPr/>
            <p:nvPr/>
          </p:nvSpPr>
          <p:spPr bwMode="gray">
            <a:xfrm>
              <a:off x="9995063" y="1619247"/>
              <a:ext cx="2104259" cy="1555528"/>
            </a:xfrm>
            <a:custGeom>
              <a:avLst/>
              <a:gdLst>
                <a:gd name="connsiteX0" fmla="*/ 304514 w 2104263"/>
                <a:gd name="connsiteY0" fmla="*/ 1284161 h 1555527"/>
                <a:gd name="connsiteX1" fmla="*/ 304514 w 2104263"/>
                <a:gd name="connsiteY1" fmla="*/ 1018985 h 1555527"/>
                <a:gd name="connsiteX2" fmla="*/ 702373 w 2104263"/>
                <a:gd name="connsiteY2" fmla="*/ 771811 h 1555527"/>
                <a:gd name="connsiteX3" fmla="*/ 1169575 w 2104263"/>
                <a:gd name="connsiteY3" fmla="*/ 1160717 h 1555527"/>
                <a:gd name="connsiteX4" fmla="*/ 1024890 w 2104263"/>
                <a:gd name="connsiteY4" fmla="*/ 1284256 h 1555527"/>
                <a:gd name="connsiteX5" fmla="*/ 304514 w 2104263"/>
                <a:gd name="connsiteY5" fmla="*/ 1284256 h 1555527"/>
                <a:gd name="connsiteX6" fmla="*/ 388811 w 2104263"/>
                <a:gd name="connsiteY6" fmla="*/ 1555528 h 1555527"/>
                <a:gd name="connsiteX7" fmla="*/ 943547 w 2104263"/>
                <a:gd name="connsiteY7" fmla="*/ 1555528 h 1555527"/>
                <a:gd name="connsiteX8" fmla="*/ 1235964 w 2104263"/>
                <a:gd name="connsiteY8" fmla="*/ 1461992 h 1555527"/>
                <a:gd name="connsiteX9" fmla="*/ 1374649 w 2104263"/>
                <a:gd name="connsiteY9" fmla="*/ 1338453 h 1555527"/>
                <a:gd name="connsiteX10" fmla="*/ 1630870 w 2104263"/>
                <a:gd name="connsiteY10" fmla="*/ 1555528 h 1555527"/>
                <a:gd name="connsiteX11" fmla="*/ 2104264 w 2104263"/>
                <a:gd name="connsiteY11" fmla="*/ 1555528 h 1555527"/>
                <a:gd name="connsiteX12" fmla="*/ 1612869 w 2104263"/>
                <a:gd name="connsiteY12" fmla="*/ 1142429 h 1555527"/>
                <a:gd name="connsiteX13" fmla="*/ 1971580 w 2104263"/>
                <a:gd name="connsiteY13" fmla="*/ 844106 h 1555527"/>
                <a:gd name="connsiteX14" fmla="*/ 1766507 w 2104263"/>
                <a:gd name="connsiteY14" fmla="*/ 666274 h 1555527"/>
                <a:gd name="connsiteX15" fmla="*/ 1404747 w 2104263"/>
                <a:gd name="connsiteY15" fmla="*/ 967645 h 1555527"/>
                <a:gd name="connsiteX16" fmla="*/ 672180 w 2104263"/>
                <a:gd name="connsiteY16" fmla="*/ 358712 h 1555527"/>
                <a:gd name="connsiteX17" fmla="*/ 672180 w 2104263"/>
                <a:gd name="connsiteY17" fmla="*/ 247174 h 1555527"/>
                <a:gd name="connsiteX18" fmla="*/ 1181767 w 2104263"/>
                <a:gd name="connsiteY18" fmla="*/ 247174 h 1555527"/>
                <a:gd name="connsiteX19" fmla="*/ 1181767 w 2104263"/>
                <a:gd name="connsiteY19" fmla="*/ 455295 h 1555527"/>
                <a:gd name="connsiteX20" fmla="*/ 1461992 w 2104263"/>
                <a:gd name="connsiteY20" fmla="*/ 407099 h 1555527"/>
                <a:gd name="connsiteX21" fmla="*/ 1461992 w 2104263"/>
                <a:gd name="connsiteY21" fmla="*/ 313563 h 1555527"/>
                <a:gd name="connsiteX22" fmla="*/ 1076134 w 2104263"/>
                <a:gd name="connsiteY22" fmla="*/ 0 h 1555527"/>
                <a:gd name="connsiteX23" fmla="*/ 762763 w 2104263"/>
                <a:gd name="connsiteY23" fmla="*/ 0 h 1555527"/>
                <a:gd name="connsiteX24" fmla="*/ 376905 w 2104263"/>
                <a:gd name="connsiteY24" fmla="*/ 283369 h 1555527"/>
                <a:gd name="connsiteX25" fmla="*/ 376905 w 2104263"/>
                <a:gd name="connsiteY25" fmla="*/ 370713 h 1555527"/>
                <a:gd name="connsiteX26" fmla="*/ 509588 w 2104263"/>
                <a:gd name="connsiteY26" fmla="*/ 605885 h 1555527"/>
                <a:gd name="connsiteX27" fmla="*/ 192881 w 2104263"/>
                <a:gd name="connsiteY27" fmla="*/ 795909 h 1555527"/>
                <a:gd name="connsiteX28" fmla="*/ 0 w 2104263"/>
                <a:gd name="connsiteY28" fmla="*/ 1085279 h 1555527"/>
                <a:gd name="connsiteX29" fmla="*/ 0 w 2104263"/>
                <a:gd name="connsiteY29" fmla="*/ 1187768 h 1555527"/>
                <a:gd name="connsiteX30" fmla="*/ 388811 w 2104263"/>
                <a:gd name="connsiteY30" fmla="*/ 1555528 h 1555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104263" h="1555527">
                  <a:moveTo>
                    <a:pt x="304514" y="1284161"/>
                  </a:moveTo>
                  <a:lnTo>
                    <a:pt x="304514" y="1018985"/>
                  </a:lnTo>
                  <a:lnTo>
                    <a:pt x="702373" y="771811"/>
                  </a:lnTo>
                  <a:lnTo>
                    <a:pt x="1169575" y="1160717"/>
                  </a:lnTo>
                  <a:lnTo>
                    <a:pt x="1024890" y="1284256"/>
                  </a:lnTo>
                  <a:lnTo>
                    <a:pt x="304514" y="1284256"/>
                  </a:lnTo>
                  <a:close/>
                  <a:moveTo>
                    <a:pt x="388811" y="1555528"/>
                  </a:moveTo>
                  <a:lnTo>
                    <a:pt x="943547" y="1555528"/>
                  </a:lnTo>
                  <a:cubicBezTo>
                    <a:pt x="1073087" y="1555528"/>
                    <a:pt x="1136428" y="1549527"/>
                    <a:pt x="1235964" y="1461992"/>
                  </a:cubicBezTo>
                  <a:lnTo>
                    <a:pt x="1374649" y="1338453"/>
                  </a:lnTo>
                  <a:lnTo>
                    <a:pt x="1630870" y="1555528"/>
                  </a:lnTo>
                  <a:lnTo>
                    <a:pt x="2104264" y="1555528"/>
                  </a:lnTo>
                  <a:lnTo>
                    <a:pt x="1612869" y="1142429"/>
                  </a:lnTo>
                  <a:lnTo>
                    <a:pt x="1971580" y="844106"/>
                  </a:lnTo>
                  <a:lnTo>
                    <a:pt x="1766507" y="666274"/>
                  </a:lnTo>
                  <a:lnTo>
                    <a:pt x="1404747" y="967645"/>
                  </a:lnTo>
                  <a:lnTo>
                    <a:pt x="672180" y="358712"/>
                  </a:lnTo>
                  <a:lnTo>
                    <a:pt x="672180" y="247174"/>
                  </a:lnTo>
                  <a:lnTo>
                    <a:pt x="1181767" y="247174"/>
                  </a:lnTo>
                  <a:lnTo>
                    <a:pt x="1181767" y="455295"/>
                  </a:lnTo>
                  <a:lnTo>
                    <a:pt x="1461992" y="407099"/>
                  </a:lnTo>
                  <a:lnTo>
                    <a:pt x="1461992" y="313563"/>
                  </a:lnTo>
                  <a:cubicBezTo>
                    <a:pt x="1461992" y="60389"/>
                    <a:pt x="1356456" y="0"/>
                    <a:pt x="1076134" y="0"/>
                  </a:cubicBezTo>
                  <a:lnTo>
                    <a:pt x="762763" y="0"/>
                  </a:lnTo>
                  <a:cubicBezTo>
                    <a:pt x="497395" y="0"/>
                    <a:pt x="376905" y="60389"/>
                    <a:pt x="376905" y="283369"/>
                  </a:cubicBezTo>
                  <a:lnTo>
                    <a:pt x="376905" y="370713"/>
                  </a:lnTo>
                  <a:cubicBezTo>
                    <a:pt x="376905" y="461200"/>
                    <a:pt x="419100" y="530543"/>
                    <a:pt x="509588" y="605885"/>
                  </a:cubicBezTo>
                  <a:lnTo>
                    <a:pt x="192881" y="795909"/>
                  </a:lnTo>
                  <a:cubicBezTo>
                    <a:pt x="57341" y="877253"/>
                    <a:pt x="0" y="925449"/>
                    <a:pt x="0" y="1085279"/>
                  </a:cubicBezTo>
                  <a:lnTo>
                    <a:pt x="0" y="1187768"/>
                  </a:lnTo>
                  <a:cubicBezTo>
                    <a:pt x="0" y="1480185"/>
                    <a:pt x="96488" y="1555528"/>
                    <a:pt x="388811" y="1555528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  <p:sp>
          <p:nvSpPr>
            <p:cNvPr id="28" name="s">
              <a:extLst>
                <a:ext uri="{FF2B5EF4-FFF2-40B4-BE49-F238E27FC236}">
                  <a16:creationId xmlns:a16="http://schemas.microsoft.com/office/drawing/2014/main" id="{786AFD27-5E6B-8BF5-461E-3DAE61223002}"/>
                </a:ext>
              </a:extLst>
            </p:cNvPr>
            <p:cNvSpPr/>
            <p:nvPr/>
          </p:nvSpPr>
          <p:spPr bwMode="gray">
            <a:xfrm>
              <a:off x="95247" y="3686081"/>
              <a:ext cx="1739650" cy="1555528"/>
            </a:xfrm>
            <a:custGeom>
              <a:avLst/>
              <a:gdLst>
                <a:gd name="connsiteX0" fmla="*/ 1398842 w 1739645"/>
                <a:gd name="connsiteY0" fmla="*/ 271367 h 1555527"/>
                <a:gd name="connsiteX1" fmla="*/ 1398842 w 1739645"/>
                <a:gd name="connsiteY1" fmla="*/ 439865 h 1555527"/>
                <a:gd name="connsiteX2" fmla="*/ 1718405 w 1739645"/>
                <a:gd name="connsiteY2" fmla="*/ 364522 h 1555527"/>
                <a:gd name="connsiteX3" fmla="*/ 1718405 w 1739645"/>
                <a:gd name="connsiteY3" fmla="*/ 340709 h 1555527"/>
                <a:gd name="connsiteX4" fmla="*/ 1332548 w 1739645"/>
                <a:gd name="connsiteY4" fmla="*/ 0 h 1555527"/>
                <a:gd name="connsiteX5" fmla="*/ 449199 w 1739645"/>
                <a:gd name="connsiteY5" fmla="*/ 0 h 1555527"/>
                <a:gd name="connsiteX6" fmla="*/ 63341 w 1739645"/>
                <a:gd name="connsiteY6" fmla="*/ 367855 h 1555527"/>
                <a:gd name="connsiteX7" fmla="*/ 63341 w 1739645"/>
                <a:gd name="connsiteY7" fmla="*/ 539496 h 1555527"/>
                <a:gd name="connsiteX8" fmla="*/ 449199 w 1739645"/>
                <a:gd name="connsiteY8" fmla="*/ 907351 h 1555527"/>
                <a:gd name="connsiteX9" fmla="*/ 1419987 w 1739645"/>
                <a:gd name="connsiteY9" fmla="*/ 907351 h 1555527"/>
                <a:gd name="connsiteX10" fmla="*/ 1419987 w 1739645"/>
                <a:gd name="connsiteY10" fmla="*/ 1263110 h 1555527"/>
                <a:gd name="connsiteX11" fmla="*/ 319754 w 1739645"/>
                <a:gd name="connsiteY11" fmla="*/ 1263110 h 1555527"/>
                <a:gd name="connsiteX12" fmla="*/ 319754 w 1739645"/>
                <a:gd name="connsiteY12" fmla="*/ 1095661 h 1555527"/>
                <a:gd name="connsiteX13" fmla="*/ 0 w 1739645"/>
                <a:gd name="connsiteY13" fmla="*/ 1162050 h 1555527"/>
                <a:gd name="connsiteX14" fmla="*/ 0 w 1739645"/>
                <a:gd name="connsiteY14" fmla="*/ 1187768 h 1555527"/>
                <a:gd name="connsiteX15" fmla="*/ 388906 w 1739645"/>
                <a:gd name="connsiteY15" fmla="*/ 1555528 h 1555527"/>
                <a:gd name="connsiteX16" fmla="*/ 1350740 w 1739645"/>
                <a:gd name="connsiteY16" fmla="*/ 1555528 h 1555527"/>
                <a:gd name="connsiteX17" fmla="*/ 1739646 w 1739645"/>
                <a:gd name="connsiteY17" fmla="*/ 1187768 h 1555527"/>
                <a:gd name="connsiteX18" fmla="*/ 1739646 w 1739645"/>
                <a:gd name="connsiteY18" fmla="*/ 973741 h 1555527"/>
                <a:gd name="connsiteX19" fmla="*/ 1350740 w 1739645"/>
                <a:gd name="connsiteY19" fmla="*/ 605885 h 1555527"/>
                <a:gd name="connsiteX20" fmla="*/ 379857 w 1739645"/>
                <a:gd name="connsiteY20" fmla="*/ 605885 h 1555527"/>
                <a:gd name="connsiteX21" fmla="*/ 379857 w 1739645"/>
                <a:gd name="connsiteY21" fmla="*/ 271367 h 1555527"/>
                <a:gd name="connsiteX22" fmla="*/ 1398842 w 1739645"/>
                <a:gd name="connsiteY22" fmla="*/ 271367 h 1555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39645" h="1555527">
                  <a:moveTo>
                    <a:pt x="1398842" y="271367"/>
                  </a:moveTo>
                  <a:lnTo>
                    <a:pt x="1398842" y="439865"/>
                  </a:lnTo>
                  <a:lnTo>
                    <a:pt x="1718405" y="364522"/>
                  </a:lnTo>
                  <a:lnTo>
                    <a:pt x="1718405" y="340709"/>
                  </a:lnTo>
                  <a:cubicBezTo>
                    <a:pt x="1718405" y="72295"/>
                    <a:pt x="1609916" y="0"/>
                    <a:pt x="1332548" y="0"/>
                  </a:cubicBezTo>
                  <a:lnTo>
                    <a:pt x="449199" y="0"/>
                  </a:lnTo>
                  <a:cubicBezTo>
                    <a:pt x="156781" y="0"/>
                    <a:pt x="63341" y="75343"/>
                    <a:pt x="63341" y="367855"/>
                  </a:cubicBezTo>
                  <a:lnTo>
                    <a:pt x="63341" y="539496"/>
                  </a:lnTo>
                  <a:cubicBezTo>
                    <a:pt x="63341" y="832009"/>
                    <a:pt x="156877" y="907351"/>
                    <a:pt x="449199" y="907351"/>
                  </a:cubicBezTo>
                  <a:lnTo>
                    <a:pt x="1419987" y="907351"/>
                  </a:lnTo>
                  <a:lnTo>
                    <a:pt x="1419987" y="1263110"/>
                  </a:lnTo>
                  <a:lnTo>
                    <a:pt x="319754" y="1263110"/>
                  </a:lnTo>
                  <a:lnTo>
                    <a:pt x="319754" y="1095661"/>
                  </a:lnTo>
                  <a:lnTo>
                    <a:pt x="0" y="1162050"/>
                  </a:lnTo>
                  <a:lnTo>
                    <a:pt x="0" y="1187768"/>
                  </a:lnTo>
                  <a:cubicBezTo>
                    <a:pt x="0" y="1480185"/>
                    <a:pt x="96488" y="1555528"/>
                    <a:pt x="388906" y="1555528"/>
                  </a:cubicBezTo>
                  <a:lnTo>
                    <a:pt x="1350740" y="1555528"/>
                  </a:lnTo>
                  <a:cubicBezTo>
                    <a:pt x="1643158" y="1555528"/>
                    <a:pt x="1739646" y="1480185"/>
                    <a:pt x="1739646" y="1187768"/>
                  </a:cubicBezTo>
                  <a:lnTo>
                    <a:pt x="1739646" y="973741"/>
                  </a:lnTo>
                  <a:cubicBezTo>
                    <a:pt x="1739646" y="681228"/>
                    <a:pt x="1643158" y="605885"/>
                    <a:pt x="1350740" y="605885"/>
                  </a:cubicBezTo>
                  <a:lnTo>
                    <a:pt x="379857" y="605885"/>
                  </a:lnTo>
                  <a:lnTo>
                    <a:pt x="379857" y="271367"/>
                  </a:lnTo>
                  <a:lnTo>
                    <a:pt x="1398842" y="2713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  <p:sp>
          <p:nvSpPr>
            <p:cNvPr id="29" name="o">
              <a:extLst>
                <a:ext uri="{FF2B5EF4-FFF2-40B4-BE49-F238E27FC236}">
                  <a16:creationId xmlns:a16="http://schemas.microsoft.com/office/drawing/2014/main" id="{104D88CA-BF41-E4C5-05AB-65BE744752C4}"/>
                </a:ext>
              </a:extLst>
            </p:cNvPr>
            <p:cNvSpPr/>
            <p:nvPr/>
          </p:nvSpPr>
          <p:spPr bwMode="gray">
            <a:xfrm>
              <a:off x="2206937" y="3966587"/>
              <a:ext cx="1682019" cy="1275212"/>
            </a:xfrm>
            <a:custGeom>
              <a:avLst/>
              <a:gdLst>
                <a:gd name="connsiteX0" fmla="*/ 326041 w 1682019"/>
                <a:gd name="connsiteY0" fmla="*/ 234982 h 1275207"/>
                <a:gd name="connsiteX1" fmla="*/ 1374648 w 1682019"/>
                <a:gd name="connsiteY1" fmla="*/ 234982 h 1275207"/>
                <a:gd name="connsiteX2" fmla="*/ 1374648 w 1682019"/>
                <a:gd name="connsiteY2" fmla="*/ 1030891 h 1275207"/>
                <a:gd name="connsiteX3" fmla="*/ 326041 w 1682019"/>
                <a:gd name="connsiteY3" fmla="*/ 1030891 h 1275207"/>
                <a:gd name="connsiteX4" fmla="*/ 326041 w 1682019"/>
                <a:gd name="connsiteY4" fmla="*/ 234982 h 1275207"/>
                <a:gd name="connsiteX5" fmla="*/ 0 w 1682019"/>
                <a:gd name="connsiteY5" fmla="*/ 301371 h 1275207"/>
                <a:gd name="connsiteX6" fmla="*/ 0 w 1682019"/>
                <a:gd name="connsiteY6" fmla="*/ 973646 h 1275207"/>
                <a:gd name="connsiteX7" fmla="*/ 338233 w 1682019"/>
                <a:gd name="connsiteY7" fmla="*/ 1275207 h 1275207"/>
                <a:gd name="connsiteX8" fmla="*/ 1343787 w 1682019"/>
                <a:gd name="connsiteY8" fmla="*/ 1275207 h 1275207"/>
                <a:gd name="connsiteX9" fmla="*/ 1682020 w 1682019"/>
                <a:gd name="connsiteY9" fmla="*/ 973646 h 1275207"/>
                <a:gd name="connsiteX10" fmla="*/ 1682020 w 1682019"/>
                <a:gd name="connsiteY10" fmla="*/ 301371 h 1275207"/>
                <a:gd name="connsiteX11" fmla="*/ 1343787 w 1682019"/>
                <a:gd name="connsiteY11" fmla="*/ 0 h 1275207"/>
                <a:gd name="connsiteX12" fmla="*/ 338233 w 1682019"/>
                <a:gd name="connsiteY12" fmla="*/ 0 h 1275207"/>
                <a:gd name="connsiteX13" fmla="*/ 0 w 1682019"/>
                <a:gd name="connsiteY13" fmla="*/ 301371 h 127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82019" h="1275207">
                  <a:moveTo>
                    <a:pt x="326041" y="234982"/>
                  </a:moveTo>
                  <a:lnTo>
                    <a:pt x="1374648" y="234982"/>
                  </a:lnTo>
                  <a:lnTo>
                    <a:pt x="1374648" y="1030891"/>
                  </a:lnTo>
                  <a:lnTo>
                    <a:pt x="326041" y="1030891"/>
                  </a:lnTo>
                  <a:lnTo>
                    <a:pt x="326041" y="234982"/>
                  </a:lnTo>
                  <a:close/>
                  <a:moveTo>
                    <a:pt x="0" y="301371"/>
                  </a:moveTo>
                  <a:lnTo>
                    <a:pt x="0" y="973646"/>
                  </a:lnTo>
                  <a:cubicBezTo>
                    <a:pt x="0" y="1214819"/>
                    <a:pt x="79915" y="1275207"/>
                    <a:pt x="338233" y="1275207"/>
                  </a:cubicBezTo>
                  <a:lnTo>
                    <a:pt x="1343787" y="1275207"/>
                  </a:lnTo>
                  <a:cubicBezTo>
                    <a:pt x="1598962" y="1275207"/>
                    <a:pt x="1682020" y="1214819"/>
                    <a:pt x="1682020" y="973646"/>
                  </a:cubicBezTo>
                  <a:lnTo>
                    <a:pt x="1682020" y="301371"/>
                  </a:lnTo>
                  <a:cubicBezTo>
                    <a:pt x="1682020" y="57150"/>
                    <a:pt x="1598867" y="0"/>
                    <a:pt x="1343787" y="0"/>
                  </a:cubicBezTo>
                  <a:lnTo>
                    <a:pt x="338233" y="0"/>
                  </a:lnTo>
                  <a:cubicBezTo>
                    <a:pt x="83153" y="0"/>
                    <a:pt x="0" y="57150"/>
                    <a:pt x="0" y="30137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  <p:sp>
          <p:nvSpPr>
            <p:cNvPr id="30" name="m">
              <a:extLst>
                <a:ext uri="{FF2B5EF4-FFF2-40B4-BE49-F238E27FC236}">
                  <a16:creationId xmlns:a16="http://schemas.microsoft.com/office/drawing/2014/main" id="{1242DE9F-5B8F-1149-2A64-61CC67D1E1D8}"/>
                </a:ext>
              </a:extLst>
            </p:cNvPr>
            <p:cNvSpPr/>
            <p:nvPr/>
          </p:nvSpPr>
          <p:spPr bwMode="gray">
            <a:xfrm>
              <a:off x="4290154" y="3966498"/>
              <a:ext cx="1815752" cy="1275212"/>
            </a:xfrm>
            <a:custGeom>
              <a:avLst/>
              <a:gdLst>
                <a:gd name="connsiteX0" fmla="*/ 1560576 w 1815750"/>
                <a:gd name="connsiteY0" fmla="*/ 0 h 1275207"/>
                <a:gd name="connsiteX1" fmla="*/ 927163 w 1815750"/>
                <a:gd name="connsiteY1" fmla="*/ 756571 h 1275207"/>
                <a:gd name="connsiteX2" fmla="*/ 290703 w 1815750"/>
                <a:gd name="connsiteY2" fmla="*/ 0 h 1275207"/>
                <a:gd name="connsiteX3" fmla="*/ 0 w 1815750"/>
                <a:gd name="connsiteY3" fmla="*/ 0 h 1275207"/>
                <a:gd name="connsiteX4" fmla="*/ 0 w 1815750"/>
                <a:gd name="connsiteY4" fmla="*/ 1275207 h 1275207"/>
                <a:gd name="connsiteX5" fmla="*/ 290703 w 1815750"/>
                <a:gd name="connsiteY5" fmla="*/ 1275207 h 1275207"/>
                <a:gd name="connsiteX6" fmla="*/ 290703 w 1815750"/>
                <a:gd name="connsiteY6" fmla="*/ 419100 h 1275207"/>
                <a:gd name="connsiteX7" fmla="*/ 877919 w 1815750"/>
                <a:gd name="connsiteY7" fmla="*/ 1121474 h 1275207"/>
                <a:gd name="connsiteX8" fmla="*/ 939356 w 1815750"/>
                <a:gd name="connsiteY8" fmla="*/ 1121474 h 1275207"/>
                <a:gd name="connsiteX9" fmla="*/ 1520571 w 1815750"/>
                <a:gd name="connsiteY9" fmla="*/ 397859 h 1275207"/>
                <a:gd name="connsiteX10" fmla="*/ 1520571 w 1815750"/>
                <a:gd name="connsiteY10" fmla="*/ 1275207 h 1275207"/>
                <a:gd name="connsiteX11" fmla="*/ 1815751 w 1815750"/>
                <a:gd name="connsiteY11" fmla="*/ 1275207 h 1275207"/>
                <a:gd name="connsiteX12" fmla="*/ 1815751 w 1815750"/>
                <a:gd name="connsiteY12" fmla="*/ 0 h 127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15750" h="1275207">
                  <a:moveTo>
                    <a:pt x="1560576" y="0"/>
                  </a:moveTo>
                  <a:lnTo>
                    <a:pt x="927163" y="756571"/>
                  </a:lnTo>
                  <a:lnTo>
                    <a:pt x="290703" y="0"/>
                  </a:lnTo>
                  <a:lnTo>
                    <a:pt x="0" y="0"/>
                  </a:lnTo>
                  <a:lnTo>
                    <a:pt x="0" y="1275207"/>
                  </a:lnTo>
                  <a:lnTo>
                    <a:pt x="290703" y="1275207"/>
                  </a:lnTo>
                  <a:lnTo>
                    <a:pt x="290703" y="419100"/>
                  </a:lnTo>
                  <a:lnTo>
                    <a:pt x="877919" y="1121474"/>
                  </a:lnTo>
                  <a:lnTo>
                    <a:pt x="939356" y="1121474"/>
                  </a:lnTo>
                  <a:lnTo>
                    <a:pt x="1520571" y="397859"/>
                  </a:lnTo>
                  <a:lnTo>
                    <a:pt x="1520571" y="1275207"/>
                  </a:lnTo>
                  <a:lnTo>
                    <a:pt x="1815751" y="1275207"/>
                  </a:lnTo>
                  <a:lnTo>
                    <a:pt x="181575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  <p:sp>
          <p:nvSpPr>
            <p:cNvPr id="31" name="m">
              <a:extLst>
                <a:ext uri="{FF2B5EF4-FFF2-40B4-BE49-F238E27FC236}">
                  <a16:creationId xmlns:a16="http://schemas.microsoft.com/office/drawing/2014/main" id="{4E6F8428-28EF-BACA-56F2-D92CF0402F6B}"/>
                </a:ext>
              </a:extLst>
            </p:cNvPr>
            <p:cNvSpPr/>
            <p:nvPr/>
          </p:nvSpPr>
          <p:spPr bwMode="gray">
            <a:xfrm>
              <a:off x="6535096" y="3966498"/>
              <a:ext cx="1815752" cy="1275212"/>
            </a:xfrm>
            <a:custGeom>
              <a:avLst/>
              <a:gdLst>
                <a:gd name="connsiteX0" fmla="*/ 1560672 w 1815750"/>
                <a:gd name="connsiteY0" fmla="*/ 0 h 1275207"/>
                <a:gd name="connsiteX1" fmla="*/ 927164 w 1815750"/>
                <a:gd name="connsiteY1" fmla="*/ 756571 h 1275207"/>
                <a:gd name="connsiteX2" fmla="*/ 290799 w 1815750"/>
                <a:gd name="connsiteY2" fmla="*/ 0 h 1275207"/>
                <a:gd name="connsiteX3" fmla="*/ 0 w 1815750"/>
                <a:gd name="connsiteY3" fmla="*/ 0 h 1275207"/>
                <a:gd name="connsiteX4" fmla="*/ 0 w 1815750"/>
                <a:gd name="connsiteY4" fmla="*/ 1275207 h 1275207"/>
                <a:gd name="connsiteX5" fmla="*/ 290799 w 1815750"/>
                <a:gd name="connsiteY5" fmla="*/ 1275207 h 1275207"/>
                <a:gd name="connsiteX6" fmla="*/ 290799 w 1815750"/>
                <a:gd name="connsiteY6" fmla="*/ 419100 h 1275207"/>
                <a:gd name="connsiteX7" fmla="*/ 878015 w 1815750"/>
                <a:gd name="connsiteY7" fmla="*/ 1121474 h 1275207"/>
                <a:gd name="connsiteX8" fmla="*/ 939546 w 1815750"/>
                <a:gd name="connsiteY8" fmla="*/ 1121474 h 1275207"/>
                <a:gd name="connsiteX9" fmla="*/ 1520571 w 1815750"/>
                <a:gd name="connsiteY9" fmla="*/ 397859 h 1275207"/>
                <a:gd name="connsiteX10" fmla="*/ 1520571 w 1815750"/>
                <a:gd name="connsiteY10" fmla="*/ 1275207 h 1275207"/>
                <a:gd name="connsiteX11" fmla="*/ 1815751 w 1815750"/>
                <a:gd name="connsiteY11" fmla="*/ 1275207 h 1275207"/>
                <a:gd name="connsiteX12" fmla="*/ 1815751 w 1815750"/>
                <a:gd name="connsiteY12" fmla="*/ 0 h 127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15750" h="1275207">
                  <a:moveTo>
                    <a:pt x="1560672" y="0"/>
                  </a:moveTo>
                  <a:lnTo>
                    <a:pt x="927164" y="756571"/>
                  </a:lnTo>
                  <a:lnTo>
                    <a:pt x="290799" y="0"/>
                  </a:lnTo>
                  <a:lnTo>
                    <a:pt x="0" y="0"/>
                  </a:lnTo>
                  <a:lnTo>
                    <a:pt x="0" y="1275207"/>
                  </a:lnTo>
                  <a:lnTo>
                    <a:pt x="290799" y="1275207"/>
                  </a:lnTo>
                  <a:lnTo>
                    <a:pt x="290799" y="419100"/>
                  </a:lnTo>
                  <a:lnTo>
                    <a:pt x="878015" y="1121474"/>
                  </a:lnTo>
                  <a:lnTo>
                    <a:pt x="939546" y="1121474"/>
                  </a:lnTo>
                  <a:lnTo>
                    <a:pt x="1520571" y="397859"/>
                  </a:lnTo>
                  <a:lnTo>
                    <a:pt x="1520571" y="1275207"/>
                  </a:lnTo>
                  <a:lnTo>
                    <a:pt x="1815751" y="1275207"/>
                  </a:lnTo>
                  <a:lnTo>
                    <a:pt x="181575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  <p:sp>
          <p:nvSpPr>
            <p:cNvPr id="32" name="e">
              <a:extLst>
                <a:ext uri="{FF2B5EF4-FFF2-40B4-BE49-F238E27FC236}">
                  <a16:creationId xmlns:a16="http://schemas.microsoft.com/office/drawing/2014/main" id="{A32A4802-2A9C-0E97-E1B2-EF5B8AC77B0E}"/>
                </a:ext>
              </a:extLst>
            </p:cNvPr>
            <p:cNvSpPr/>
            <p:nvPr/>
          </p:nvSpPr>
          <p:spPr bwMode="gray">
            <a:xfrm>
              <a:off x="8765757" y="3966498"/>
              <a:ext cx="1411313" cy="1275212"/>
            </a:xfrm>
            <a:custGeom>
              <a:avLst/>
              <a:gdLst>
                <a:gd name="connsiteX0" fmla="*/ 0 w 1411319"/>
                <a:gd name="connsiteY0" fmla="*/ 0 h 1275207"/>
                <a:gd name="connsiteX1" fmla="*/ 0 w 1411319"/>
                <a:gd name="connsiteY1" fmla="*/ 1275207 h 1275207"/>
                <a:gd name="connsiteX2" fmla="*/ 1411319 w 1411319"/>
                <a:gd name="connsiteY2" fmla="*/ 1275207 h 1275207"/>
                <a:gd name="connsiteX3" fmla="*/ 1411319 w 1411319"/>
                <a:gd name="connsiteY3" fmla="*/ 1036987 h 1275207"/>
                <a:gd name="connsiteX4" fmla="*/ 319850 w 1411319"/>
                <a:gd name="connsiteY4" fmla="*/ 1036987 h 1275207"/>
                <a:gd name="connsiteX5" fmla="*/ 319850 w 1411319"/>
                <a:gd name="connsiteY5" fmla="*/ 723424 h 1275207"/>
                <a:gd name="connsiteX6" fmla="*/ 947166 w 1411319"/>
                <a:gd name="connsiteY6" fmla="*/ 723424 h 1275207"/>
                <a:gd name="connsiteX7" fmla="*/ 947166 w 1411319"/>
                <a:gd name="connsiteY7" fmla="*/ 503396 h 1275207"/>
                <a:gd name="connsiteX8" fmla="*/ 319850 w 1411319"/>
                <a:gd name="connsiteY8" fmla="*/ 503396 h 1275207"/>
                <a:gd name="connsiteX9" fmla="*/ 319850 w 1411319"/>
                <a:gd name="connsiteY9" fmla="*/ 226219 h 1275207"/>
                <a:gd name="connsiteX10" fmla="*/ 1395984 w 1411319"/>
                <a:gd name="connsiteY10" fmla="*/ 226219 h 1275207"/>
                <a:gd name="connsiteX11" fmla="*/ 1395984 w 1411319"/>
                <a:gd name="connsiteY11" fmla="*/ 0 h 127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1319" h="1275207">
                  <a:moveTo>
                    <a:pt x="0" y="0"/>
                  </a:moveTo>
                  <a:lnTo>
                    <a:pt x="0" y="1275207"/>
                  </a:lnTo>
                  <a:lnTo>
                    <a:pt x="1411319" y="1275207"/>
                  </a:lnTo>
                  <a:lnTo>
                    <a:pt x="1411319" y="1036987"/>
                  </a:lnTo>
                  <a:lnTo>
                    <a:pt x="319850" y="1036987"/>
                  </a:lnTo>
                  <a:lnTo>
                    <a:pt x="319850" y="723424"/>
                  </a:lnTo>
                  <a:lnTo>
                    <a:pt x="947166" y="723424"/>
                  </a:lnTo>
                  <a:lnTo>
                    <a:pt x="947166" y="503396"/>
                  </a:lnTo>
                  <a:lnTo>
                    <a:pt x="319850" y="503396"/>
                  </a:lnTo>
                  <a:lnTo>
                    <a:pt x="319850" y="226219"/>
                  </a:lnTo>
                  <a:lnTo>
                    <a:pt x="1395984" y="226219"/>
                  </a:lnTo>
                  <a:lnTo>
                    <a:pt x="1395984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  <p:sp>
          <p:nvSpPr>
            <p:cNvPr id="33" name="r">
              <a:extLst>
                <a:ext uri="{FF2B5EF4-FFF2-40B4-BE49-F238E27FC236}">
                  <a16:creationId xmlns:a16="http://schemas.microsoft.com/office/drawing/2014/main" id="{50675A61-77EE-1DFC-09AF-649465E5B3A1}"/>
                </a:ext>
              </a:extLst>
            </p:cNvPr>
            <p:cNvSpPr/>
            <p:nvPr/>
          </p:nvSpPr>
          <p:spPr bwMode="gray">
            <a:xfrm>
              <a:off x="10504356" y="3966498"/>
              <a:ext cx="1579811" cy="1275212"/>
            </a:xfrm>
            <a:custGeom>
              <a:avLst/>
              <a:gdLst>
                <a:gd name="connsiteX0" fmla="*/ 1015937 w 1579817"/>
                <a:gd name="connsiteY0" fmla="*/ 220028 h 1275207"/>
                <a:gd name="connsiteX1" fmla="*/ 1157669 w 1579817"/>
                <a:gd name="connsiteY1" fmla="*/ 322517 h 1275207"/>
                <a:gd name="connsiteX2" fmla="*/ 1157669 w 1579817"/>
                <a:gd name="connsiteY2" fmla="*/ 470249 h 1275207"/>
                <a:gd name="connsiteX3" fmla="*/ 1015937 w 1579817"/>
                <a:gd name="connsiteY3" fmla="*/ 572738 h 1275207"/>
                <a:gd name="connsiteX4" fmla="*/ 307467 w 1579817"/>
                <a:gd name="connsiteY4" fmla="*/ 572738 h 1275207"/>
                <a:gd name="connsiteX5" fmla="*/ 307467 w 1579817"/>
                <a:gd name="connsiteY5" fmla="*/ 220028 h 1275207"/>
                <a:gd name="connsiteX6" fmla="*/ 1015937 w 1579817"/>
                <a:gd name="connsiteY6" fmla="*/ 220028 h 1275207"/>
                <a:gd name="connsiteX7" fmla="*/ 0 w 1579817"/>
                <a:gd name="connsiteY7" fmla="*/ 1275207 h 1275207"/>
                <a:gd name="connsiteX8" fmla="*/ 307563 w 1579817"/>
                <a:gd name="connsiteY8" fmla="*/ 1275207 h 1275207"/>
                <a:gd name="connsiteX9" fmla="*/ 307563 w 1579817"/>
                <a:gd name="connsiteY9" fmla="*/ 792766 h 1275207"/>
                <a:gd name="connsiteX10" fmla="*/ 599981 w 1579817"/>
                <a:gd name="connsiteY10" fmla="*/ 792766 h 1275207"/>
                <a:gd name="connsiteX11" fmla="*/ 1133570 w 1579817"/>
                <a:gd name="connsiteY11" fmla="*/ 1275207 h 1275207"/>
                <a:gd name="connsiteX12" fmla="*/ 1579818 w 1579817"/>
                <a:gd name="connsiteY12" fmla="*/ 1275207 h 1275207"/>
                <a:gd name="connsiteX13" fmla="*/ 973931 w 1579817"/>
                <a:gd name="connsiteY13" fmla="*/ 792766 h 1275207"/>
                <a:gd name="connsiteX14" fmla="*/ 1148811 w 1579817"/>
                <a:gd name="connsiteY14" fmla="*/ 792766 h 1275207"/>
                <a:gd name="connsiteX15" fmla="*/ 1447229 w 1579817"/>
                <a:gd name="connsiteY15" fmla="*/ 548545 h 1275207"/>
                <a:gd name="connsiteX16" fmla="*/ 1447229 w 1579817"/>
                <a:gd name="connsiteY16" fmla="*/ 247174 h 1275207"/>
                <a:gd name="connsiteX17" fmla="*/ 1148811 w 1579817"/>
                <a:gd name="connsiteY17" fmla="*/ 0 h 1275207"/>
                <a:gd name="connsiteX18" fmla="*/ 191 w 1579817"/>
                <a:gd name="connsiteY18" fmla="*/ 0 h 1275207"/>
                <a:gd name="connsiteX19" fmla="*/ 191 w 1579817"/>
                <a:gd name="connsiteY19" fmla="*/ 1275207 h 127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79817" h="1275207">
                  <a:moveTo>
                    <a:pt x="1015937" y="220028"/>
                  </a:moveTo>
                  <a:cubicBezTo>
                    <a:pt x="1109282" y="220028"/>
                    <a:pt x="1157669" y="238220"/>
                    <a:pt x="1157669" y="322517"/>
                  </a:cubicBezTo>
                  <a:lnTo>
                    <a:pt x="1157669" y="470249"/>
                  </a:lnTo>
                  <a:cubicBezTo>
                    <a:pt x="1157669" y="554736"/>
                    <a:pt x="1109282" y="572738"/>
                    <a:pt x="1015937" y="572738"/>
                  </a:cubicBezTo>
                  <a:lnTo>
                    <a:pt x="307467" y="572738"/>
                  </a:lnTo>
                  <a:lnTo>
                    <a:pt x="307467" y="220028"/>
                  </a:lnTo>
                  <a:lnTo>
                    <a:pt x="1015937" y="220028"/>
                  </a:lnTo>
                  <a:close/>
                  <a:moveTo>
                    <a:pt x="0" y="1275207"/>
                  </a:moveTo>
                  <a:lnTo>
                    <a:pt x="307563" y="1275207"/>
                  </a:lnTo>
                  <a:lnTo>
                    <a:pt x="307563" y="792766"/>
                  </a:lnTo>
                  <a:lnTo>
                    <a:pt x="599981" y="792766"/>
                  </a:lnTo>
                  <a:lnTo>
                    <a:pt x="1133570" y="1275207"/>
                  </a:lnTo>
                  <a:lnTo>
                    <a:pt x="1579818" y="1275207"/>
                  </a:lnTo>
                  <a:lnTo>
                    <a:pt x="973931" y="792766"/>
                  </a:lnTo>
                  <a:lnTo>
                    <a:pt x="1148811" y="792766"/>
                  </a:lnTo>
                  <a:cubicBezTo>
                    <a:pt x="1353693" y="792766"/>
                    <a:pt x="1447229" y="723424"/>
                    <a:pt x="1447229" y="548545"/>
                  </a:cubicBezTo>
                  <a:lnTo>
                    <a:pt x="1447229" y="247174"/>
                  </a:lnTo>
                  <a:cubicBezTo>
                    <a:pt x="1447229" y="69342"/>
                    <a:pt x="1353693" y="0"/>
                    <a:pt x="1148811" y="0"/>
                  </a:cubicBezTo>
                  <a:lnTo>
                    <a:pt x="191" y="0"/>
                  </a:lnTo>
                  <a:lnTo>
                    <a:pt x="191" y="127520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</p:grpSp>
      <p:sp>
        <p:nvSpPr>
          <p:cNvPr id="59" name="title">
            <a:extLst>
              <a:ext uri="{FF2B5EF4-FFF2-40B4-BE49-F238E27FC236}">
                <a16:creationId xmlns:a16="http://schemas.microsoft.com/office/drawing/2014/main" id="{22B0E369-2508-F005-CB3C-E92E5C671B1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0" y="1310400"/>
            <a:ext cx="5040000" cy="413640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wrap="square" lIns="316800" tIns="0" rIns="0" bIns="0" anchor="b">
            <a:noAutofit/>
          </a:bodyPr>
          <a:lstStyle>
            <a:lvl1pPr algn="l">
              <a:lnSpc>
                <a:spcPct val="75000"/>
              </a:lnSpc>
              <a:defRPr sz="9000" baseline="0">
                <a:solidFill>
                  <a:schemeClr val="accent1"/>
                </a:solidFill>
              </a:defRPr>
            </a:lvl1pPr>
          </a:lstStyle>
          <a:p>
            <a:r>
              <a:rPr lang="de-DE" dirty="0" err="1"/>
              <a:t>titelformat</a:t>
            </a:r>
            <a:r>
              <a:rPr lang="de-DE" dirty="0"/>
              <a:t> bearbeiten</a:t>
            </a:r>
            <a:endParaRPr lang="en-US" dirty="0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D3F50A68-F558-4D31-BE77-E20AB0A299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0" y="5677200"/>
            <a:ext cx="5580000" cy="1180800"/>
          </a:xfrm>
        </p:spPr>
        <p:txBody>
          <a:bodyPr lIns="342000" rIns="0" bIns="0">
            <a:noAutofit/>
          </a:bodyPr>
          <a:lstStyle>
            <a:lvl1pPr marL="0" indent="0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None/>
              <a:defRPr sz="2600" cap="all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itle / Speaker / Date / Location</a:t>
            </a:r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F1423FEB-CFD7-4376-A0C4-D91B3BE028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525600" y="7200000"/>
            <a:ext cx="234000" cy="180000"/>
          </a:xfrm>
        </p:spPr>
        <p:txBody>
          <a:bodyPr lIns="0" tIns="0" rIns="0" bIns="0"/>
          <a:lstStyle/>
          <a:p>
            <a:fld id="{9829449A-3FF3-45CE-9F4F-09BADC0910C6}" type="slidenum">
              <a:rPr lang="de-DE" noProof="0"/>
              <a:t>‹Nr.›</a:t>
            </a:fld>
            <a:endParaRPr lang="de-DE" noProof="0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190677E9-326C-4EF5-ADE8-5E9E2D32D3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763200" y="7200000"/>
            <a:ext cx="7880400" cy="180000"/>
          </a:xfrm>
        </p:spPr>
        <p:txBody>
          <a:bodyPr lIns="0" tIns="0" rIns="0" bIns="0"/>
          <a:lstStyle/>
          <a:p>
            <a:endParaRPr lang="de-DE" noProof="0" dirty="0"/>
          </a:p>
        </p:txBody>
      </p:sp>
      <p:grpSp>
        <p:nvGrpSpPr>
          <p:cNvPr id="8" name="info">
            <a:extLst>
              <a:ext uri="{FF2B5EF4-FFF2-40B4-BE49-F238E27FC236}">
                <a16:creationId xmlns:a16="http://schemas.microsoft.com/office/drawing/2014/main" id="{9CD791AA-ECEA-2F7D-623B-DC07BA7B9872}"/>
              </a:ext>
            </a:extLst>
          </p:cNvPr>
          <p:cNvGrpSpPr/>
          <p:nvPr userDrawn="1"/>
        </p:nvGrpSpPr>
        <p:grpSpPr>
          <a:xfrm flipH="1">
            <a:off x="-1721905" y="3683000"/>
            <a:ext cx="1579616" cy="1645286"/>
            <a:chOff x="12399720" y="3776028"/>
            <a:chExt cx="1579616" cy="1645286"/>
          </a:xfrm>
          <a:solidFill>
            <a:srgbClr val="002965"/>
          </a:solidFill>
        </p:grpSpPr>
        <p:sp>
          <p:nvSpPr>
            <p:cNvPr id="9" name="info">
              <a:extLst>
                <a:ext uri="{FF2B5EF4-FFF2-40B4-BE49-F238E27FC236}">
                  <a16:creationId xmlns:a16="http://schemas.microsoft.com/office/drawing/2014/main" id="{A89AC372-293F-6508-4A76-09ADCF1E553F}"/>
                </a:ext>
              </a:extLst>
            </p:cNvPr>
            <p:cNvSpPr/>
            <p:nvPr userDrawn="1"/>
          </p:nvSpPr>
          <p:spPr bwMode="gray">
            <a:xfrm flipH="1">
              <a:off x="12399720" y="4947928"/>
              <a:ext cx="1579616" cy="473385"/>
            </a:xfrm>
            <a:prstGeom prst="homePlat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36000" rtlCol="0" anchor="ctr">
              <a:spAutoFit/>
            </a:bodyPr>
            <a:lstStyle/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>
                <a:solidFill>
                  <a:schemeClr val="tx2"/>
                </a:solidFill>
              </a:endParaRPr>
            </a:p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>
                <a:solidFill>
                  <a:schemeClr val="tx2"/>
                </a:solidFill>
              </a:endParaRPr>
            </a:p>
          </p:txBody>
        </p:sp>
        <p:sp>
          <p:nvSpPr>
            <p:cNvPr id="10" name="info">
              <a:extLst>
                <a:ext uri="{FF2B5EF4-FFF2-40B4-BE49-F238E27FC236}">
                  <a16:creationId xmlns:a16="http://schemas.microsoft.com/office/drawing/2014/main" id="{E7BEF7C6-C44A-116A-BFF8-96DA85ED5029}"/>
                </a:ext>
              </a:extLst>
            </p:cNvPr>
            <p:cNvSpPr/>
            <p:nvPr userDrawn="1"/>
          </p:nvSpPr>
          <p:spPr bwMode="gray">
            <a:xfrm flipH="1">
              <a:off x="12634899" y="3776028"/>
              <a:ext cx="1344423" cy="164528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36000" rtlCol="0" anchor="t">
              <a:noAutofit/>
            </a:bodyPr>
            <a:lstStyle/>
            <a:p>
              <a:r>
                <a:rPr lang="en-US" sz="1050" b="1" dirty="0"/>
                <a:t>ADJUSTING FONT SIZE ON THE COVER PAGE:</a:t>
              </a:r>
            </a:p>
            <a:p>
              <a:r>
                <a:rPr lang="en-US" sz="1050" dirty="0"/>
                <a:t>You can adjust the font size of the title to ensure that the text in the white area is easy to read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97867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 xmlns:a14="http://schemas.microsoft.com/office/drawing/2010/main" xmlns:p15="http://schemas.microsoft.com/office/powerpoint/2012/main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FFCB50B-5503-4467-8A0F-9FBB8B48B97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lIns="0" tIns="0" rIns="0" bIns="0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MIO_CONVERT_SLIDES_SUBTITLE">
            <a:extLst>
              <a:ext uri="{FF2B5EF4-FFF2-40B4-BE49-F238E27FC236}">
                <a16:creationId xmlns:a16="http://schemas.microsoft.com/office/drawing/2014/main" id="{7086919D-8D03-4875-B9F0-05F0C85640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25600" y="1022400"/>
            <a:ext cx="11138400" cy="5040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2000"/>
            </a:lvl1pPr>
          </a:lstStyle>
          <a:p>
            <a:pPr lvl="0"/>
            <a:r>
              <a:rPr lang="de-DE" dirty="0" err="1"/>
              <a:t>Subtitle</a:t>
            </a:r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90B54C2D-8235-4852-8EB7-5E05529B24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 lIns="0" tIns="0" rIns="0" bIns="0"/>
          <a:lstStyle/>
          <a:p>
            <a:fld id="{9829449A-3FF3-45CE-9F4F-09BADC0910C6}" type="slidenum">
              <a:rPr lang="de-DE" noProof="0"/>
              <a:t>‹Nr.›</a:t>
            </a:fld>
            <a:endParaRPr lang="de-DE" noProof="0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A4534FC4-D037-44B0-B266-D9E820FC1D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 lIns="0" tIns="0" rIns="0" bIns="0"/>
          <a:lstStyle/>
          <a:p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198532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64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">
            <a:extLst>
              <a:ext uri="{FF2B5EF4-FFF2-40B4-BE49-F238E27FC236}">
                <a16:creationId xmlns:a16="http://schemas.microsoft.com/office/drawing/2014/main" id="{4B38D098-3327-ED01-3CBB-8E7B0B7197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525600" y="7200000"/>
            <a:ext cx="234000" cy="180000"/>
          </a:xfrm>
        </p:spPr>
        <p:txBody>
          <a:bodyPr lIns="0" tIns="0" rIns="0" bIns="0"/>
          <a:lstStyle/>
          <a:p>
            <a:fld id="{9829449A-3FF3-45CE-9F4F-09BADC0910C6}" type="slidenum">
              <a:rPr lang="en-US"/>
              <a:t>‹Nr.›</a:t>
            </a:fld>
            <a:endParaRPr lang="en-US" dirty="0"/>
          </a:p>
        </p:txBody>
      </p:sp>
      <p:sp>
        <p:nvSpPr>
          <p:cNvPr id="3" name="footer">
            <a:extLst>
              <a:ext uri="{FF2B5EF4-FFF2-40B4-BE49-F238E27FC236}">
                <a16:creationId xmlns:a16="http://schemas.microsoft.com/office/drawing/2014/main" id="{D17C2286-C661-9AE6-8771-EE1A9B853A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763200" y="7200000"/>
            <a:ext cx="7880400" cy="180000"/>
          </a:xfrm>
        </p:spPr>
        <p:txBody>
          <a:bodyPr lIns="0" tIns="0" rIns="0" bIns="0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9762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>
      <p:transition spd="med">
        <p:fade/>
      </p:transition>
    </mc:Fallback>
  </mc:AlternateContent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Pictur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FFCB50B-5503-4467-8A0F-9FBB8B48B97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lIns="0" tIns="0" rIns="0" bIns="0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MIO_CONVERT_SLIDES_SUBTITLE">
            <a:extLst>
              <a:ext uri="{FF2B5EF4-FFF2-40B4-BE49-F238E27FC236}">
                <a16:creationId xmlns:a16="http://schemas.microsoft.com/office/drawing/2014/main" id="{7086919D-8D03-4875-B9F0-05F0C85640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25600" y="1022400"/>
            <a:ext cx="11138400" cy="5040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2000"/>
            </a:lvl1pPr>
          </a:lstStyle>
          <a:p>
            <a:pPr lvl="0"/>
            <a:r>
              <a:rPr lang="de-DE" dirty="0" err="1"/>
              <a:t>Subtitle</a:t>
            </a:r>
            <a:endParaRPr lang="en-US" dirty="0"/>
          </a:p>
        </p:txBody>
      </p:sp>
      <p:sp>
        <p:nvSpPr>
          <p:cNvPr id="7" name="content">
            <a:extLst>
              <a:ext uri="{FF2B5EF4-FFF2-40B4-BE49-F238E27FC236}">
                <a16:creationId xmlns:a16="http://schemas.microsoft.com/office/drawing/2014/main" id="{5ACBB9A0-3E08-4278-AF60-F20CD65CA5C6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25600" y="1602000"/>
            <a:ext cx="3474000" cy="44964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picture">
            <a:extLst>
              <a:ext uri="{FF2B5EF4-FFF2-40B4-BE49-F238E27FC236}">
                <a16:creationId xmlns:a16="http://schemas.microsoft.com/office/drawing/2014/main" id="{55C74982-3274-49AD-A31C-3AFE0D57E42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4287684" y="1602000"/>
            <a:ext cx="7377266" cy="4496401"/>
          </a:xfrm>
          <a:pattFill prst="lt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  <p:grpSp>
        <p:nvGrpSpPr>
          <p:cNvPr id="3" name="info">
            <a:extLst>
              <a:ext uri="{FF2B5EF4-FFF2-40B4-BE49-F238E27FC236}">
                <a16:creationId xmlns:a16="http://schemas.microsoft.com/office/drawing/2014/main" id="{ED140335-BA91-B744-1A3C-D571984D1F14}"/>
              </a:ext>
            </a:extLst>
          </p:cNvPr>
          <p:cNvGrpSpPr/>
          <p:nvPr/>
        </p:nvGrpSpPr>
        <p:grpSpPr>
          <a:xfrm>
            <a:off x="12247320" y="3698895"/>
            <a:ext cx="1579616" cy="2267566"/>
            <a:chOff x="12399720" y="3153748"/>
            <a:chExt cx="1579616" cy="2267566"/>
          </a:xfrm>
          <a:solidFill>
            <a:srgbClr val="002965"/>
          </a:solidFill>
        </p:grpSpPr>
        <p:sp>
          <p:nvSpPr>
            <p:cNvPr id="8" name="info">
              <a:extLst>
                <a:ext uri="{FF2B5EF4-FFF2-40B4-BE49-F238E27FC236}">
                  <a16:creationId xmlns:a16="http://schemas.microsoft.com/office/drawing/2014/main" id="{13B06F02-436C-F61F-B3A0-96A83EFBCD1C}"/>
                </a:ext>
              </a:extLst>
            </p:cNvPr>
            <p:cNvSpPr/>
            <p:nvPr userDrawn="1"/>
          </p:nvSpPr>
          <p:spPr bwMode="gray">
            <a:xfrm flipH="1">
              <a:off x="12399720" y="4947928"/>
              <a:ext cx="1579616" cy="473385"/>
            </a:xfrm>
            <a:prstGeom prst="homePlat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36000" rtlCol="0" anchor="ctr">
              <a:spAutoFit/>
            </a:bodyPr>
            <a:lstStyle/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 dirty="0">
                <a:solidFill>
                  <a:schemeClr val="tx2"/>
                </a:solidFill>
              </a:endParaRPr>
            </a:p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 dirty="0">
                <a:solidFill>
                  <a:schemeClr val="tx2"/>
                </a:solidFill>
              </a:endParaRPr>
            </a:p>
          </p:txBody>
        </p:sp>
        <p:sp>
          <p:nvSpPr>
            <p:cNvPr id="10" name="info">
              <a:extLst>
                <a:ext uri="{FF2B5EF4-FFF2-40B4-BE49-F238E27FC236}">
                  <a16:creationId xmlns:a16="http://schemas.microsoft.com/office/drawing/2014/main" id="{8F905CA7-1DB1-A555-CE72-75A3C385B931}"/>
                </a:ext>
              </a:extLst>
            </p:cNvPr>
            <p:cNvSpPr/>
            <p:nvPr userDrawn="1"/>
          </p:nvSpPr>
          <p:spPr bwMode="gray">
            <a:xfrm flipH="1">
              <a:off x="12634898" y="3153748"/>
              <a:ext cx="1344423" cy="226756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36000" rtlCol="0" anchor="t">
              <a:noAutofit/>
            </a:bodyPr>
            <a:lstStyle/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b="1" cap="all" dirty="0">
                  <a:solidFill>
                    <a:schemeClr val="bg1"/>
                  </a:solidFill>
                </a:rPr>
                <a:t>image credit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b="1" dirty="0">
                  <a:solidFill>
                    <a:schemeClr val="bg1"/>
                  </a:solidFill>
                </a:rPr>
                <a:t>Always include</a:t>
              </a:r>
              <a:br>
                <a:rPr lang="en-US" sz="1050" b="1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redit!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How to get 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redit </a:t>
              </a:r>
              <a:r>
                <a:rPr lang="en-US" sz="1050" b="1" dirty="0">
                  <a:solidFill>
                    <a:schemeClr val="bg1"/>
                  </a:solidFill>
                </a:rPr>
                <a:t>placeholder</a:t>
              </a:r>
              <a:r>
                <a:rPr lang="en-US" sz="1050" dirty="0">
                  <a:solidFill>
                    <a:schemeClr val="bg1"/>
                  </a:solidFill>
                </a:rPr>
                <a:t>: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&gt; empower menu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&gt; text elements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&gt; depending on 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hoose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“</a:t>
              </a:r>
              <a:r>
                <a:rPr lang="en-US" sz="1050" b="1" dirty="0">
                  <a:solidFill>
                    <a:schemeClr val="bg1"/>
                  </a:solidFill>
                </a:rPr>
                <a:t>Copyright right grey</a:t>
              </a:r>
              <a:r>
                <a:rPr lang="en-US" sz="1050" dirty="0">
                  <a:solidFill>
                    <a:schemeClr val="bg1"/>
                  </a:solidFill>
                </a:rPr>
                <a:t>” </a:t>
              </a:r>
            </a:p>
          </p:txBody>
        </p:sp>
      </p:grp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3EC613C2-6985-7B3D-01B5-59030B12B52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39D4E33B-1C27-022B-1885-874072C59C3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829449A-3FF3-45CE-9F4F-09BADC0910C6}" type="slidenum">
              <a:rPr lang="de-DE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24480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644">
          <p15:clr>
            <a:srgbClr val="FBAE40"/>
          </p15:clr>
        </p15:guide>
        <p15:guide id="2" pos="2520">
          <p15:clr>
            <a:srgbClr val="FBAE40"/>
          </p15:clr>
        </p15:guide>
        <p15:guide id="3" pos="270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&amp; Content 2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FFCB50B-5503-4467-8A0F-9FBB8B48B97D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25600" y="673200"/>
            <a:ext cx="11138400" cy="288000"/>
          </a:xfrm>
        </p:spPr>
        <p:txBody>
          <a:bodyPr lIns="0" tIns="0" rIns="0" bIns="0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MIO_CONVERT_SLIDES_SUBTITLE">
            <a:extLst>
              <a:ext uri="{FF2B5EF4-FFF2-40B4-BE49-F238E27FC236}">
                <a16:creationId xmlns:a16="http://schemas.microsoft.com/office/drawing/2014/main" id="{7086919D-8D03-4875-B9F0-05F0C85640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25600" y="1022400"/>
            <a:ext cx="11138400" cy="5040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2000"/>
            </a:lvl1pPr>
          </a:lstStyle>
          <a:p>
            <a:pPr lvl="0"/>
            <a:r>
              <a:rPr lang="de-DE" dirty="0" err="1"/>
              <a:t>Subtitle</a:t>
            </a:r>
            <a:endParaRPr lang="en-US" dirty="0"/>
          </a:p>
        </p:txBody>
      </p:sp>
      <p:sp>
        <p:nvSpPr>
          <p:cNvPr id="13" name="picture">
            <a:extLst>
              <a:ext uri="{FF2B5EF4-FFF2-40B4-BE49-F238E27FC236}">
                <a16:creationId xmlns:a16="http://schemas.microsoft.com/office/drawing/2014/main" id="{EF4E64C0-AE47-46C4-8F32-193E5F0EE3D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525600" y="1602000"/>
            <a:ext cx="7232400" cy="4496401"/>
          </a:xfrm>
          <a:pattFill prst="lt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8" name="content">
            <a:extLst>
              <a:ext uri="{FF2B5EF4-FFF2-40B4-BE49-F238E27FC236}">
                <a16:creationId xmlns:a16="http://schemas.microsoft.com/office/drawing/2014/main" id="{BED0FE55-04B9-478B-A6BA-371329BD23E8}"/>
              </a:ext>
            </a:extLst>
          </p:cNvPr>
          <p:cNvSpPr>
            <a:spLocks noGrp="1"/>
          </p:cNvSpPr>
          <p:nvPr>
            <p:ph idx="15"/>
          </p:nvPr>
        </p:nvSpPr>
        <p:spPr bwMode="gray">
          <a:xfrm>
            <a:off x="8046000" y="1602000"/>
            <a:ext cx="3618000" cy="44964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grpSp>
        <p:nvGrpSpPr>
          <p:cNvPr id="3" name="info">
            <a:extLst>
              <a:ext uri="{FF2B5EF4-FFF2-40B4-BE49-F238E27FC236}">
                <a16:creationId xmlns:a16="http://schemas.microsoft.com/office/drawing/2014/main" id="{2EF4374B-EC34-4347-2043-43CE77820747}"/>
              </a:ext>
            </a:extLst>
          </p:cNvPr>
          <p:cNvGrpSpPr/>
          <p:nvPr/>
        </p:nvGrpSpPr>
        <p:grpSpPr>
          <a:xfrm flipH="1">
            <a:off x="-1729937" y="3675298"/>
            <a:ext cx="1579616" cy="2291163"/>
            <a:chOff x="12399720" y="3130151"/>
            <a:chExt cx="1579616" cy="2291163"/>
          </a:xfrm>
          <a:solidFill>
            <a:srgbClr val="002965"/>
          </a:solidFill>
        </p:grpSpPr>
        <p:sp>
          <p:nvSpPr>
            <p:cNvPr id="7" name="info">
              <a:extLst>
                <a:ext uri="{FF2B5EF4-FFF2-40B4-BE49-F238E27FC236}">
                  <a16:creationId xmlns:a16="http://schemas.microsoft.com/office/drawing/2014/main" id="{29C56380-4ECA-068B-4252-BD735C1FCF4D}"/>
                </a:ext>
              </a:extLst>
            </p:cNvPr>
            <p:cNvSpPr/>
            <p:nvPr userDrawn="1"/>
          </p:nvSpPr>
          <p:spPr bwMode="gray">
            <a:xfrm flipH="1">
              <a:off x="12399720" y="4947928"/>
              <a:ext cx="1579616" cy="473385"/>
            </a:xfrm>
            <a:prstGeom prst="homePlat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36000" rtlCol="0" anchor="ctr">
              <a:spAutoFit/>
            </a:bodyPr>
            <a:lstStyle/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 dirty="0">
                <a:solidFill>
                  <a:schemeClr val="tx2"/>
                </a:solidFill>
              </a:endParaRPr>
            </a:p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 dirty="0">
                <a:solidFill>
                  <a:schemeClr val="tx2"/>
                </a:solidFill>
              </a:endParaRPr>
            </a:p>
          </p:txBody>
        </p:sp>
        <p:sp>
          <p:nvSpPr>
            <p:cNvPr id="9" name="info">
              <a:extLst>
                <a:ext uri="{FF2B5EF4-FFF2-40B4-BE49-F238E27FC236}">
                  <a16:creationId xmlns:a16="http://schemas.microsoft.com/office/drawing/2014/main" id="{D9E5D8E2-0C34-96F7-9EEF-2DF0F28AD10D}"/>
                </a:ext>
              </a:extLst>
            </p:cNvPr>
            <p:cNvSpPr/>
            <p:nvPr userDrawn="1"/>
          </p:nvSpPr>
          <p:spPr bwMode="gray">
            <a:xfrm flipH="1">
              <a:off x="12634899" y="3130151"/>
              <a:ext cx="1344423" cy="229116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36000" rtlCol="0" anchor="t">
              <a:noAutofit/>
            </a:bodyPr>
            <a:lstStyle/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b="1" cap="all" dirty="0">
                  <a:solidFill>
                    <a:schemeClr val="bg1"/>
                  </a:solidFill>
                </a:rPr>
                <a:t>image credit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b="1" dirty="0">
                  <a:solidFill>
                    <a:schemeClr val="bg1"/>
                  </a:solidFill>
                </a:rPr>
                <a:t>Always include</a:t>
              </a:r>
              <a:br>
                <a:rPr lang="en-US" sz="1050" b="1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redit!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How to get 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redit </a:t>
              </a:r>
              <a:r>
                <a:rPr lang="en-US" sz="1050" b="1" dirty="0">
                  <a:solidFill>
                    <a:schemeClr val="bg1"/>
                  </a:solidFill>
                </a:rPr>
                <a:t>placeholder</a:t>
              </a:r>
              <a:r>
                <a:rPr lang="en-US" sz="1050" dirty="0">
                  <a:solidFill>
                    <a:schemeClr val="bg1"/>
                  </a:solidFill>
                </a:rPr>
                <a:t>: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&gt; empower menu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&gt; text elements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&gt; depending on 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hoose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“</a:t>
              </a:r>
              <a:r>
                <a:rPr lang="en-US" sz="1050" b="1" dirty="0">
                  <a:solidFill>
                    <a:schemeClr val="bg1"/>
                  </a:solidFill>
                </a:rPr>
                <a:t>Copyright left grey</a:t>
              </a:r>
              <a:r>
                <a:rPr lang="en-US" sz="1050" dirty="0">
                  <a:solidFill>
                    <a:schemeClr val="bg1"/>
                  </a:solidFill>
                </a:rPr>
                <a:t>” </a:t>
              </a:r>
            </a:p>
          </p:txBody>
        </p:sp>
      </p:grp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6FBCDBE7-8960-26B3-E6C6-5AF4B4BE1E6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76471BBC-1A9B-9E3A-9542-4FB7AC53C48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829449A-3FF3-45CE-9F4F-09BADC0910C6}" type="slidenum">
              <a:rPr lang="de-DE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2171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644">
          <p15:clr>
            <a:srgbClr val="FBAE40"/>
          </p15:clr>
        </p15:guide>
        <p15:guide id="2" pos="4887">
          <p15:clr>
            <a:srgbClr val="FBAE40"/>
          </p15:clr>
        </p15:guide>
        <p15:guide id="3" pos="506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Full Pictur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logo drees&amp;sommer blue mask">
            <a:extLst>
              <a:ext uri="{FF2B5EF4-FFF2-40B4-BE49-F238E27FC236}">
                <a16:creationId xmlns:a16="http://schemas.microsoft.com/office/drawing/2014/main" id="{02ABB165-5BE9-4395-A4D5-6CC0571FF467}"/>
              </a:ext>
            </a:extLst>
          </p:cNvPr>
          <p:cNvSpPr/>
          <p:nvPr/>
        </p:nvSpPr>
        <p:spPr bwMode="gray">
          <a:xfrm>
            <a:off x="10579100" y="6197600"/>
            <a:ext cx="1270000" cy="584200"/>
          </a:xfrm>
          <a:prstGeom prst="rect">
            <a:avLst/>
          </a:prstGeom>
          <a:solidFill>
            <a:srgbClr val="0029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de-DE" sz="1400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FFCB50B-5503-4467-8A0F-9FBB8B48B9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25600" y="673200"/>
            <a:ext cx="3474000" cy="288000"/>
          </a:xfrm>
        </p:spPr>
        <p:txBody>
          <a:bodyPr lIns="0" tIns="0" rIns="0" bIns="0"/>
          <a:lstStyle/>
          <a:p>
            <a:r>
              <a:rPr lang="de-DE" dirty="0" err="1"/>
              <a:t>titelformat</a:t>
            </a:r>
            <a:r>
              <a:rPr lang="de-DE" dirty="0"/>
              <a:t> bearbeiten</a:t>
            </a:r>
            <a:endParaRPr lang="en-US" dirty="0"/>
          </a:p>
        </p:txBody>
      </p:sp>
      <p:sp>
        <p:nvSpPr>
          <p:cNvPr id="4" name="MIO_CONVERT_SLIDES_SUBTITLE">
            <a:extLst>
              <a:ext uri="{FF2B5EF4-FFF2-40B4-BE49-F238E27FC236}">
                <a16:creationId xmlns:a16="http://schemas.microsoft.com/office/drawing/2014/main" id="{7086919D-8D03-4875-B9F0-05F0C85640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25600" y="1022400"/>
            <a:ext cx="3474000" cy="5040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2000"/>
            </a:lvl1pPr>
          </a:lstStyle>
          <a:p>
            <a:pPr lvl="0"/>
            <a:r>
              <a:rPr lang="de-DE" dirty="0" err="1"/>
              <a:t>Subtitle</a:t>
            </a:r>
            <a:endParaRPr lang="en-US" dirty="0"/>
          </a:p>
        </p:txBody>
      </p:sp>
      <p:sp>
        <p:nvSpPr>
          <p:cNvPr id="7" name="content">
            <a:extLst>
              <a:ext uri="{FF2B5EF4-FFF2-40B4-BE49-F238E27FC236}">
                <a16:creationId xmlns:a16="http://schemas.microsoft.com/office/drawing/2014/main" id="{5ACBB9A0-3E08-4278-AF60-F20CD65CA5C6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25600" y="1602000"/>
            <a:ext cx="3474000" cy="44964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3" name="picture">
            <a:extLst>
              <a:ext uri="{FF2B5EF4-FFF2-40B4-BE49-F238E27FC236}">
                <a16:creationId xmlns:a16="http://schemas.microsoft.com/office/drawing/2014/main" id="{BABEB990-4C1B-4759-A188-C0625F2363A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4287684" y="0"/>
            <a:ext cx="7904316" cy="6858000"/>
          </a:xfrm>
          <a:custGeom>
            <a:avLst/>
            <a:gdLst>
              <a:gd name="connsiteX0" fmla="*/ 6621659 w 7904316"/>
              <a:gd name="connsiteY0" fmla="*/ 6535879 h 6858000"/>
              <a:gd name="connsiteX1" fmla="*/ 6704484 w 7904316"/>
              <a:gd name="connsiteY1" fmla="*/ 6535879 h 6858000"/>
              <a:gd name="connsiteX2" fmla="*/ 6704484 w 7904316"/>
              <a:gd name="connsiteY2" fmla="*/ 6598745 h 6858000"/>
              <a:gd name="connsiteX3" fmla="*/ 6621659 w 7904316"/>
              <a:gd name="connsiteY3" fmla="*/ 6598745 h 6858000"/>
              <a:gd name="connsiteX4" fmla="*/ 7275572 w 7904316"/>
              <a:gd name="connsiteY4" fmla="*/ 6534690 h 6858000"/>
              <a:gd name="connsiteX5" fmla="*/ 7331531 w 7904316"/>
              <a:gd name="connsiteY5" fmla="*/ 6534690 h 6858000"/>
              <a:gd name="connsiteX6" fmla="*/ 7342725 w 7904316"/>
              <a:gd name="connsiteY6" fmla="*/ 6542786 h 6858000"/>
              <a:gd name="connsiteX7" fmla="*/ 7342725 w 7904316"/>
              <a:gd name="connsiteY7" fmla="*/ 6554455 h 6858000"/>
              <a:gd name="connsiteX8" fmla="*/ 7331531 w 7904316"/>
              <a:gd name="connsiteY8" fmla="*/ 6562550 h 6858000"/>
              <a:gd name="connsiteX9" fmla="*/ 7275572 w 7904316"/>
              <a:gd name="connsiteY9" fmla="*/ 6562550 h 6858000"/>
              <a:gd name="connsiteX10" fmla="*/ 6622622 w 7904316"/>
              <a:gd name="connsiteY10" fmla="*/ 6517318 h 6858000"/>
              <a:gd name="connsiteX11" fmla="*/ 6595906 w 7904316"/>
              <a:gd name="connsiteY11" fmla="*/ 6541122 h 6858000"/>
              <a:gd name="connsiteX12" fmla="*/ 6595906 w 7904316"/>
              <a:gd name="connsiteY12" fmla="*/ 6594223 h 6858000"/>
              <a:gd name="connsiteX13" fmla="*/ 6622622 w 7904316"/>
              <a:gd name="connsiteY13" fmla="*/ 6618042 h 6858000"/>
              <a:gd name="connsiteX14" fmla="*/ 6702046 w 7904316"/>
              <a:gd name="connsiteY14" fmla="*/ 6618042 h 6858000"/>
              <a:gd name="connsiteX15" fmla="*/ 6728762 w 7904316"/>
              <a:gd name="connsiteY15" fmla="*/ 6594223 h 6858000"/>
              <a:gd name="connsiteX16" fmla="*/ 6728762 w 7904316"/>
              <a:gd name="connsiteY16" fmla="*/ 6541122 h 6858000"/>
              <a:gd name="connsiteX17" fmla="*/ 6702046 w 7904316"/>
              <a:gd name="connsiteY17" fmla="*/ 6517318 h 6858000"/>
              <a:gd name="connsiteX18" fmla="*/ 7251301 w 7904316"/>
              <a:gd name="connsiteY18" fmla="*/ 6517311 h 6858000"/>
              <a:gd name="connsiteX19" fmla="*/ 7251301 w 7904316"/>
              <a:gd name="connsiteY19" fmla="*/ 6618035 h 6858000"/>
              <a:gd name="connsiteX20" fmla="*/ 7275579 w 7904316"/>
              <a:gd name="connsiteY20" fmla="*/ 6618035 h 6858000"/>
              <a:gd name="connsiteX21" fmla="*/ 7275579 w 7904316"/>
              <a:gd name="connsiteY21" fmla="*/ 6579929 h 6858000"/>
              <a:gd name="connsiteX22" fmla="*/ 7298676 w 7904316"/>
              <a:gd name="connsiteY22" fmla="*/ 6579929 h 6858000"/>
              <a:gd name="connsiteX23" fmla="*/ 7340822 w 7904316"/>
              <a:gd name="connsiteY23" fmla="*/ 6618035 h 6858000"/>
              <a:gd name="connsiteX24" fmla="*/ 7376069 w 7904316"/>
              <a:gd name="connsiteY24" fmla="*/ 6618035 h 6858000"/>
              <a:gd name="connsiteX25" fmla="*/ 7328213 w 7904316"/>
              <a:gd name="connsiteY25" fmla="*/ 6579929 h 6858000"/>
              <a:gd name="connsiteX26" fmla="*/ 7342026 w 7904316"/>
              <a:gd name="connsiteY26" fmla="*/ 6579929 h 6858000"/>
              <a:gd name="connsiteX27" fmla="*/ 7365596 w 7904316"/>
              <a:gd name="connsiteY27" fmla="*/ 6560639 h 6858000"/>
              <a:gd name="connsiteX28" fmla="*/ 7365596 w 7904316"/>
              <a:gd name="connsiteY28" fmla="*/ 6536835 h 6858000"/>
              <a:gd name="connsiteX29" fmla="*/ 7342026 w 7904316"/>
              <a:gd name="connsiteY29" fmla="*/ 6517311 h 6858000"/>
              <a:gd name="connsiteX30" fmla="*/ 7113961 w 7904316"/>
              <a:gd name="connsiteY30" fmla="*/ 6517311 h 6858000"/>
              <a:gd name="connsiteX31" fmla="*/ 7113961 w 7904316"/>
              <a:gd name="connsiteY31" fmla="*/ 6618035 h 6858000"/>
              <a:gd name="connsiteX32" fmla="*/ 7225435 w 7904316"/>
              <a:gd name="connsiteY32" fmla="*/ 6618035 h 6858000"/>
              <a:gd name="connsiteX33" fmla="*/ 7225435 w 7904316"/>
              <a:gd name="connsiteY33" fmla="*/ 6599219 h 6858000"/>
              <a:gd name="connsiteX34" fmla="*/ 7139225 w 7904316"/>
              <a:gd name="connsiteY34" fmla="*/ 6599219 h 6858000"/>
              <a:gd name="connsiteX35" fmla="*/ 7139225 w 7904316"/>
              <a:gd name="connsiteY35" fmla="*/ 6574452 h 6858000"/>
              <a:gd name="connsiteX36" fmla="*/ 7188774 w 7904316"/>
              <a:gd name="connsiteY36" fmla="*/ 6574452 h 6858000"/>
              <a:gd name="connsiteX37" fmla="*/ 7188774 w 7904316"/>
              <a:gd name="connsiteY37" fmla="*/ 6557073 h 6858000"/>
              <a:gd name="connsiteX38" fmla="*/ 7139225 w 7904316"/>
              <a:gd name="connsiteY38" fmla="*/ 6557073 h 6858000"/>
              <a:gd name="connsiteX39" fmla="*/ 7139225 w 7904316"/>
              <a:gd name="connsiteY39" fmla="*/ 6535179 h 6858000"/>
              <a:gd name="connsiteX40" fmla="*/ 7224224 w 7904316"/>
              <a:gd name="connsiteY40" fmla="*/ 6535179 h 6858000"/>
              <a:gd name="connsiteX41" fmla="*/ 7224224 w 7904316"/>
              <a:gd name="connsiteY41" fmla="*/ 6517311 h 6858000"/>
              <a:gd name="connsiteX42" fmla="*/ 6937770 w 7904316"/>
              <a:gd name="connsiteY42" fmla="*/ 6517311 h 6858000"/>
              <a:gd name="connsiteX43" fmla="*/ 6937770 w 7904316"/>
              <a:gd name="connsiteY43" fmla="*/ 6618035 h 6858000"/>
              <a:gd name="connsiteX44" fmla="*/ 6960739 w 7904316"/>
              <a:gd name="connsiteY44" fmla="*/ 6618035 h 6858000"/>
              <a:gd name="connsiteX45" fmla="*/ 6960739 w 7904316"/>
              <a:gd name="connsiteY45" fmla="*/ 6550414 h 6858000"/>
              <a:gd name="connsiteX46" fmla="*/ 7007121 w 7904316"/>
              <a:gd name="connsiteY46" fmla="*/ 6605892 h 6858000"/>
              <a:gd name="connsiteX47" fmla="*/ 7011981 w 7904316"/>
              <a:gd name="connsiteY47" fmla="*/ 6605892 h 6858000"/>
              <a:gd name="connsiteX48" fmla="*/ 7057874 w 7904316"/>
              <a:gd name="connsiteY48" fmla="*/ 6548737 h 6858000"/>
              <a:gd name="connsiteX49" fmla="*/ 7057874 w 7904316"/>
              <a:gd name="connsiteY49" fmla="*/ 6618035 h 6858000"/>
              <a:gd name="connsiteX50" fmla="*/ 7081189 w 7904316"/>
              <a:gd name="connsiteY50" fmla="*/ 6618035 h 6858000"/>
              <a:gd name="connsiteX51" fmla="*/ 7081189 w 7904316"/>
              <a:gd name="connsiteY51" fmla="*/ 6517311 h 6858000"/>
              <a:gd name="connsiteX52" fmla="*/ 7061041 w 7904316"/>
              <a:gd name="connsiteY52" fmla="*/ 6517311 h 6858000"/>
              <a:gd name="connsiteX53" fmla="*/ 7011003 w 7904316"/>
              <a:gd name="connsiteY53" fmla="*/ 6577070 h 6858000"/>
              <a:gd name="connsiteX54" fmla="*/ 6960739 w 7904316"/>
              <a:gd name="connsiteY54" fmla="*/ 6517311 h 6858000"/>
              <a:gd name="connsiteX55" fmla="*/ 6760451 w 7904316"/>
              <a:gd name="connsiteY55" fmla="*/ 6517311 h 6858000"/>
              <a:gd name="connsiteX56" fmla="*/ 6760451 w 7904316"/>
              <a:gd name="connsiteY56" fmla="*/ 6618035 h 6858000"/>
              <a:gd name="connsiteX57" fmla="*/ 6783412 w 7904316"/>
              <a:gd name="connsiteY57" fmla="*/ 6618035 h 6858000"/>
              <a:gd name="connsiteX58" fmla="*/ 6783412 w 7904316"/>
              <a:gd name="connsiteY58" fmla="*/ 6550414 h 6858000"/>
              <a:gd name="connsiteX59" fmla="*/ 6829794 w 7904316"/>
              <a:gd name="connsiteY59" fmla="*/ 6605892 h 6858000"/>
              <a:gd name="connsiteX60" fmla="*/ 6834647 w 7904316"/>
              <a:gd name="connsiteY60" fmla="*/ 6605892 h 6858000"/>
              <a:gd name="connsiteX61" fmla="*/ 6880555 w 7904316"/>
              <a:gd name="connsiteY61" fmla="*/ 6548737 h 6858000"/>
              <a:gd name="connsiteX62" fmla="*/ 6880555 w 7904316"/>
              <a:gd name="connsiteY62" fmla="*/ 6618035 h 6858000"/>
              <a:gd name="connsiteX63" fmla="*/ 6903870 w 7904316"/>
              <a:gd name="connsiteY63" fmla="*/ 6618035 h 6858000"/>
              <a:gd name="connsiteX64" fmla="*/ 6903870 w 7904316"/>
              <a:gd name="connsiteY64" fmla="*/ 6517311 h 6858000"/>
              <a:gd name="connsiteX65" fmla="*/ 6883715 w 7904316"/>
              <a:gd name="connsiteY65" fmla="*/ 6517311 h 6858000"/>
              <a:gd name="connsiteX66" fmla="*/ 6833684 w 7904316"/>
              <a:gd name="connsiteY66" fmla="*/ 6577070 h 6858000"/>
              <a:gd name="connsiteX67" fmla="*/ 6783412 w 7904316"/>
              <a:gd name="connsiteY67" fmla="*/ 6517311 h 6858000"/>
              <a:gd name="connsiteX68" fmla="*/ 6464593 w 7904316"/>
              <a:gd name="connsiteY68" fmla="*/ 6495162 h 6858000"/>
              <a:gd name="connsiteX69" fmla="*/ 6434115 w 7904316"/>
              <a:gd name="connsiteY69" fmla="*/ 6524218 h 6858000"/>
              <a:gd name="connsiteX70" fmla="*/ 6434115 w 7904316"/>
              <a:gd name="connsiteY70" fmla="*/ 6537775 h 6858000"/>
              <a:gd name="connsiteX71" fmla="*/ 6464593 w 7904316"/>
              <a:gd name="connsiteY71" fmla="*/ 6566830 h 6858000"/>
              <a:gd name="connsiteX72" fmla="*/ 6541271 w 7904316"/>
              <a:gd name="connsiteY72" fmla="*/ 6566830 h 6858000"/>
              <a:gd name="connsiteX73" fmla="*/ 6541271 w 7904316"/>
              <a:gd name="connsiteY73" fmla="*/ 6594930 h 6858000"/>
              <a:gd name="connsiteX74" fmla="*/ 6454368 w 7904316"/>
              <a:gd name="connsiteY74" fmla="*/ 6594930 h 6858000"/>
              <a:gd name="connsiteX75" fmla="*/ 6454368 w 7904316"/>
              <a:gd name="connsiteY75" fmla="*/ 6581704 h 6858000"/>
              <a:gd name="connsiteX76" fmla="*/ 6429112 w 7904316"/>
              <a:gd name="connsiteY76" fmla="*/ 6586948 h 6858000"/>
              <a:gd name="connsiteX77" fmla="*/ 6429112 w 7904316"/>
              <a:gd name="connsiteY77" fmla="*/ 6588979 h 6858000"/>
              <a:gd name="connsiteX78" fmla="*/ 6459830 w 7904316"/>
              <a:gd name="connsiteY78" fmla="*/ 6618027 h 6858000"/>
              <a:gd name="connsiteX79" fmla="*/ 6535802 w 7904316"/>
              <a:gd name="connsiteY79" fmla="*/ 6618027 h 6858000"/>
              <a:gd name="connsiteX80" fmla="*/ 6566520 w 7904316"/>
              <a:gd name="connsiteY80" fmla="*/ 6588979 h 6858000"/>
              <a:gd name="connsiteX81" fmla="*/ 6566520 w 7904316"/>
              <a:gd name="connsiteY81" fmla="*/ 6572074 h 6858000"/>
              <a:gd name="connsiteX82" fmla="*/ 6535802 w 7904316"/>
              <a:gd name="connsiteY82" fmla="*/ 6543019 h 6858000"/>
              <a:gd name="connsiteX83" fmla="*/ 6459115 w 7904316"/>
              <a:gd name="connsiteY83" fmla="*/ 6543019 h 6858000"/>
              <a:gd name="connsiteX84" fmla="*/ 6459115 w 7904316"/>
              <a:gd name="connsiteY84" fmla="*/ 6516596 h 6858000"/>
              <a:gd name="connsiteX85" fmla="*/ 6539601 w 7904316"/>
              <a:gd name="connsiteY85" fmla="*/ 6516596 h 6858000"/>
              <a:gd name="connsiteX86" fmla="*/ 6539601 w 7904316"/>
              <a:gd name="connsiteY86" fmla="*/ 6529905 h 6858000"/>
              <a:gd name="connsiteX87" fmla="*/ 6564842 w 7904316"/>
              <a:gd name="connsiteY87" fmla="*/ 6523954 h 6858000"/>
              <a:gd name="connsiteX88" fmla="*/ 6564842 w 7904316"/>
              <a:gd name="connsiteY88" fmla="*/ 6522074 h 6858000"/>
              <a:gd name="connsiteX89" fmla="*/ 6534365 w 7904316"/>
              <a:gd name="connsiteY89" fmla="*/ 6495162 h 6858000"/>
              <a:gd name="connsiteX90" fmla="*/ 7266537 w 7904316"/>
              <a:gd name="connsiteY90" fmla="*/ 6392873 h 6858000"/>
              <a:gd name="connsiteX91" fmla="*/ 7303439 w 7904316"/>
              <a:gd name="connsiteY91" fmla="*/ 6423591 h 6858000"/>
              <a:gd name="connsiteX92" fmla="*/ 7292011 w 7904316"/>
              <a:gd name="connsiteY92" fmla="*/ 6433349 h 6858000"/>
              <a:gd name="connsiteX93" fmla="*/ 7235111 w 7904316"/>
              <a:gd name="connsiteY93" fmla="*/ 6433349 h 6858000"/>
              <a:gd name="connsiteX94" fmla="*/ 7235111 w 7904316"/>
              <a:gd name="connsiteY94" fmla="*/ 6433342 h 6858000"/>
              <a:gd name="connsiteX95" fmla="*/ 7235111 w 7904316"/>
              <a:gd name="connsiteY95" fmla="*/ 6412396 h 6858000"/>
              <a:gd name="connsiteX96" fmla="*/ 6635848 w 7904316"/>
              <a:gd name="connsiteY96" fmla="*/ 6371439 h 6858000"/>
              <a:gd name="connsiteX97" fmla="*/ 6691807 w 7904316"/>
              <a:gd name="connsiteY97" fmla="*/ 6371439 h 6858000"/>
              <a:gd name="connsiteX98" fmla="*/ 6703001 w 7904316"/>
              <a:gd name="connsiteY98" fmla="*/ 6379534 h 6858000"/>
              <a:gd name="connsiteX99" fmla="*/ 6703001 w 7904316"/>
              <a:gd name="connsiteY99" fmla="*/ 6391203 h 6858000"/>
              <a:gd name="connsiteX100" fmla="*/ 6691807 w 7904316"/>
              <a:gd name="connsiteY100" fmla="*/ 6399298 h 6858000"/>
              <a:gd name="connsiteX101" fmla="*/ 6635848 w 7904316"/>
              <a:gd name="connsiteY101" fmla="*/ 6399298 h 6858000"/>
              <a:gd name="connsiteX102" fmla="*/ 7061621 w 7904316"/>
              <a:gd name="connsiteY102" fmla="*/ 6354060 h 6858000"/>
              <a:gd name="connsiteX103" fmla="*/ 7035184 w 7904316"/>
              <a:gd name="connsiteY103" fmla="*/ 6377879 h 6858000"/>
              <a:gd name="connsiteX104" fmla="*/ 7035184 w 7904316"/>
              <a:gd name="connsiteY104" fmla="*/ 6389074 h 6858000"/>
              <a:gd name="connsiteX105" fmla="*/ 7061621 w 7904316"/>
              <a:gd name="connsiteY105" fmla="*/ 6412878 h 6858000"/>
              <a:gd name="connsiteX106" fmla="*/ 7126857 w 7904316"/>
              <a:gd name="connsiteY106" fmla="*/ 6412878 h 6858000"/>
              <a:gd name="connsiteX107" fmla="*/ 7126857 w 7904316"/>
              <a:gd name="connsiteY107" fmla="*/ 6435983 h 6858000"/>
              <a:gd name="connsiteX108" fmla="*/ 7052796 w 7904316"/>
              <a:gd name="connsiteY108" fmla="*/ 6435983 h 6858000"/>
              <a:gd name="connsiteX109" fmla="*/ 7052796 w 7904316"/>
              <a:gd name="connsiteY109" fmla="*/ 6425375 h 6858000"/>
              <a:gd name="connsiteX110" fmla="*/ 7030903 w 7904316"/>
              <a:gd name="connsiteY110" fmla="*/ 6429430 h 6858000"/>
              <a:gd name="connsiteX111" fmla="*/ 7030903 w 7904316"/>
              <a:gd name="connsiteY111" fmla="*/ 6430980 h 6858000"/>
              <a:gd name="connsiteX112" fmla="*/ 7057325 w 7904316"/>
              <a:gd name="connsiteY112" fmla="*/ 6454784 h 6858000"/>
              <a:gd name="connsiteX113" fmla="*/ 7122817 w 7904316"/>
              <a:gd name="connsiteY113" fmla="*/ 6454784 h 6858000"/>
              <a:gd name="connsiteX114" fmla="*/ 7149006 w 7904316"/>
              <a:gd name="connsiteY114" fmla="*/ 6430980 h 6858000"/>
              <a:gd name="connsiteX115" fmla="*/ 7149006 w 7904316"/>
              <a:gd name="connsiteY115" fmla="*/ 6417166 h 6858000"/>
              <a:gd name="connsiteX116" fmla="*/ 7122817 w 7904316"/>
              <a:gd name="connsiteY116" fmla="*/ 6393362 h 6858000"/>
              <a:gd name="connsiteX117" fmla="*/ 7057325 w 7904316"/>
              <a:gd name="connsiteY117" fmla="*/ 6393362 h 6858000"/>
              <a:gd name="connsiteX118" fmla="*/ 7057325 w 7904316"/>
              <a:gd name="connsiteY118" fmla="*/ 6372154 h 6858000"/>
              <a:gd name="connsiteX119" fmla="*/ 7126616 w 7904316"/>
              <a:gd name="connsiteY119" fmla="*/ 6372154 h 6858000"/>
              <a:gd name="connsiteX120" fmla="*/ 7126616 w 7904316"/>
              <a:gd name="connsiteY120" fmla="*/ 6381565 h 6858000"/>
              <a:gd name="connsiteX121" fmla="*/ 7147802 w 7904316"/>
              <a:gd name="connsiteY121" fmla="*/ 6377051 h 6858000"/>
              <a:gd name="connsiteX122" fmla="*/ 7147802 w 7904316"/>
              <a:gd name="connsiteY122" fmla="*/ 6375968 h 6858000"/>
              <a:gd name="connsiteX123" fmla="*/ 7121380 w 7904316"/>
              <a:gd name="connsiteY123" fmla="*/ 6354060 h 6858000"/>
              <a:gd name="connsiteX124" fmla="*/ 6897287 w 7904316"/>
              <a:gd name="connsiteY124" fmla="*/ 6354060 h 6858000"/>
              <a:gd name="connsiteX125" fmla="*/ 6897287 w 7904316"/>
              <a:gd name="connsiteY125" fmla="*/ 6454776 h 6858000"/>
              <a:gd name="connsiteX126" fmla="*/ 7006580 w 7904316"/>
              <a:gd name="connsiteY126" fmla="*/ 6454776 h 6858000"/>
              <a:gd name="connsiteX127" fmla="*/ 7006580 w 7904316"/>
              <a:gd name="connsiteY127" fmla="*/ 6435967 h 6858000"/>
              <a:gd name="connsiteX128" fmla="*/ 6922054 w 7904316"/>
              <a:gd name="connsiteY128" fmla="*/ 6435967 h 6858000"/>
              <a:gd name="connsiteX129" fmla="*/ 6922054 w 7904316"/>
              <a:gd name="connsiteY129" fmla="*/ 6411200 h 6858000"/>
              <a:gd name="connsiteX130" fmla="*/ 6970626 w 7904316"/>
              <a:gd name="connsiteY130" fmla="*/ 6411200 h 6858000"/>
              <a:gd name="connsiteX131" fmla="*/ 6970626 w 7904316"/>
              <a:gd name="connsiteY131" fmla="*/ 6393821 h 6858000"/>
              <a:gd name="connsiteX132" fmla="*/ 6922054 w 7904316"/>
              <a:gd name="connsiteY132" fmla="*/ 6393821 h 6858000"/>
              <a:gd name="connsiteX133" fmla="*/ 6922054 w 7904316"/>
              <a:gd name="connsiteY133" fmla="*/ 6371913 h 6858000"/>
              <a:gd name="connsiteX134" fmla="*/ 7005399 w 7904316"/>
              <a:gd name="connsiteY134" fmla="*/ 6371913 h 6858000"/>
              <a:gd name="connsiteX135" fmla="*/ 7005399 w 7904316"/>
              <a:gd name="connsiteY135" fmla="*/ 6354060 h 6858000"/>
              <a:gd name="connsiteX136" fmla="*/ 6759578 w 7904316"/>
              <a:gd name="connsiteY136" fmla="*/ 6354060 h 6858000"/>
              <a:gd name="connsiteX137" fmla="*/ 6759578 w 7904316"/>
              <a:gd name="connsiteY137" fmla="*/ 6454776 h 6858000"/>
              <a:gd name="connsiteX138" fmla="*/ 6868871 w 7904316"/>
              <a:gd name="connsiteY138" fmla="*/ 6454776 h 6858000"/>
              <a:gd name="connsiteX139" fmla="*/ 6868871 w 7904316"/>
              <a:gd name="connsiteY139" fmla="*/ 6435967 h 6858000"/>
              <a:gd name="connsiteX140" fmla="*/ 6784345 w 7904316"/>
              <a:gd name="connsiteY140" fmla="*/ 6435967 h 6858000"/>
              <a:gd name="connsiteX141" fmla="*/ 6784345 w 7904316"/>
              <a:gd name="connsiteY141" fmla="*/ 6411200 h 6858000"/>
              <a:gd name="connsiteX142" fmla="*/ 6832917 w 7904316"/>
              <a:gd name="connsiteY142" fmla="*/ 6411200 h 6858000"/>
              <a:gd name="connsiteX143" fmla="*/ 6832917 w 7904316"/>
              <a:gd name="connsiteY143" fmla="*/ 6393821 h 6858000"/>
              <a:gd name="connsiteX144" fmla="*/ 6784345 w 7904316"/>
              <a:gd name="connsiteY144" fmla="*/ 6393821 h 6858000"/>
              <a:gd name="connsiteX145" fmla="*/ 6784345 w 7904316"/>
              <a:gd name="connsiteY145" fmla="*/ 6371913 h 6858000"/>
              <a:gd name="connsiteX146" fmla="*/ 6867690 w 7904316"/>
              <a:gd name="connsiteY146" fmla="*/ 6371913 h 6858000"/>
              <a:gd name="connsiteX147" fmla="*/ 6867690 w 7904316"/>
              <a:gd name="connsiteY147" fmla="*/ 6354060 h 6858000"/>
              <a:gd name="connsiteX148" fmla="*/ 6611562 w 7904316"/>
              <a:gd name="connsiteY148" fmla="*/ 6354060 h 6858000"/>
              <a:gd name="connsiteX149" fmla="*/ 6611562 w 7904316"/>
              <a:gd name="connsiteY149" fmla="*/ 6454776 h 6858000"/>
              <a:gd name="connsiteX150" fmla="*/ 6635855 w 7904316"/>
              <a:gd name="connsiteY150" fmla="*/ 6454776 h 6858000"/>
              <a:gd name="connsiteX151" fmla="*/ 6635855 w 7904316"/>
              <a:gd name="connsiteY151" fmla="*/ 6416670 h 6858000"/>
              <a:gd name="connsiteX152" fmla="*/ 6658952 w 7904316"/>
              <a:gd name="connsiteY152" fmla="*/ 6416670 h 6858000"/>
              <a:gd name="connsiteX153" fmla="*/ 6701098 w 7904316"/>
              <a:gd name="connsiteY153" fmla="*/ 6454776 h 6858000"/>
              <a:gd name="connsiteX154" fmla="*/ 6736345 w 7904316"/>
              <a:gd name="connsiteY154" fmla="*/ 6454776 h 6858000"/>
              <a:gd name="connsiteX155" fmla="*/ 6688474 w 7904316"/>
              <a:gd name="connsiteY155" fmla="*/ 6416670 h 6858000"/>
              <a:gd name="connsiteX156" fmla="*/ 6702287 w 7904316"/>
              <a:gd name="connsiteY156" fmla="*/ 6416670 h 6858000"/>
              <a:gd name="connsiteX157" fmla="*/ 6725865 w 7904316"/>
              <a:gd name="connsiteY157" fmla="*/ 6397395 h 6858000"/>
              <a:gd name="connsiteX158" fmla="*/ 6725865 w 7904316"/>
              <a:gd name="connsiteY158" fmla="*/ 6373583 h 6858000"/>
              <a:gd name="connsiteX159" fmla="*/ 6702287 w 7904316"/>
              <a:gd name="connsiteY159" fmla="*/ 6354060 h 6858000"/>
              <a:gd name="connsiteX160" fmla="*/ 6461741 w 7904316"/>
              <a:gd name="connsiteY160" fmla="*/ 6353819 h 6858000"/>
              <a:gd name="connsiteX161" fmla="*/ 6512456 w 7904316"/>
              <a:gd name="connsiteY161" fmla="*/ 6353819 h 6858000"/>
              <a:gd name="connsiteX162" fmla="*/ 6552940 w 7904316"/>
              <a:gd name="connsiteY162" fmla="*/ 6392158 h 6858000"/>
              <a:gd name="connsiteX163" fmla="*/ 6498643 w 7904316"/>
              <a:gd name="connsiteY163" fmla="*/ 6431686 h 6858000"/>
              <a:gd name="connsiteX164" fmla="*/ 6461741 w 7904316"/>
              <a:gd name="connsiteY164" fmla="*/ 6431686 h 6858000"/>
              <a:gd name="connsiteX165" fmla="*/ 7271306 w 7904316"/>
              <a:gd name="connsiteY165" fmla="*/ 6331911 h 6858000"/>
              <a:gd name="connsiteX166" fmla="*/ 7240829 w 7904316"/>
              <a:gd name="connsiteY166" fmla="*/ 6354293 h 6858000"/>
              <a:gd name="connsiteX167" fmla="*/ 7240829 w 7904316"/>
              <a:gd name="connsiteY167" fmla="*/ 6361192 h 6858000"/>
              <a:gd name="connsiteX168" fmla="*/ 7251309 w 7904316"/>
              <a:gd name="connsiteY168" fmla="*/ 6379767 h 6858000"/>
              <a:gd name="connsiteX169" fmla="*/ 7226294 w 7904316"/>
              <a:gd name="connsiteY169" fmla="*/ 6394776 h 6858000"/>
              <a:gd name="connsiteX170" fmla="*/ 7211059 w 7904316"/>
              <a:gd name="connsiteY170" fmla="*/ 6417633 h 6858000"/>
              <a:gd name="connsiteX171" fmla="*/ 7211059 w 7904316"/>
              <a:gd name="connsiteY171" fmla="*/ 6425728 h 6858000"/>
              <a:gd name="connsiteX172" fmla="*/ 7241770 w 7904316"/>
              <a:gd name="connsiteY172" fmla="*/ 6454776 h 6858000"/>
              <a:gd name="connsiteX173" fmla="*/ 7285586 w 7904316"/>
              <a:gd name="connsiteY173" fmla="*/ 6454776 h 6858000"/>
              <a:gd name="connsiteX174" fmla="*/ 7308683 w 7904316"/>
              <a:gd name="connsiteY174" fmla="*/ 6447388 h 6858000"/>
              <a:gd name="connsiteX175" fmla="*/ 7319637 w 7904316"/>
              <a:gd name="connsiteY175" fmla="*/ 6437630 h 6858000"/>
              <a:gd name="connsiteX176" fmla="*/ 7339875 w 7904316"/>
              <a:gd name="connsiteY176" fmla="*/ 6454776 h 6858000"/>
              <a:gd name="connsiteX177" fmla="*/ 7377266 w 7904316"/>
              <a:gd name="connsiteY177" fmla="*/ 6454776 h 6858000"/>
              <a:gd name="connsiteX178" fmla="*/ 7338453 w 7904316"/>
              <a:gd name="connsiteY178" fmla="*/ 6422147 h 6858000"/>
              <a:gd name="connsiteX179" fmla="*/ 7366786 w 7904316"/>
              <a:gd name="connsiteY179" fmla="*/ 6398583 h 6858000"/>
              <a:gd name="connsiteX180" fmla="*/ 7350588 w 7904316"/>
              <a:gd name="connsiteY180" fmla="*/ 6384537 h 6858000"/>
              <a:gd name="connsiteX181" fmla="*/ 7322014 w 7904316"/>
              <a:gd name="connsiteY181" fmla="*/ 6408341 h 6858000"/>
              <a:gd name="connsiteX182" fmla="*/ 7264152 w 7904316"/>
              <a:gd name="connsiteY182" fmla="*/ 6360244 h 6858000"/>
              <a:gd name="connsiteX183" fmla="*/ 7264152 w 7904316"/>
              <a:gd name="connsiteY183" fmla="*/ 6351434 h 6858000"/>
              <a:gd name="connsiteX184" fmla="*/ 7304402 w 7904316"/>
              <a:gd name="connsiteY184" fmla="*/ 6351434 h 6858000"/>
              <a:gd name="connsiteX185" fmla="*/ 7304402 w 7904316"/>
              <a:gd name="connsiteY185" fmla="*/ 6367873 h 6858000"/>
              <a:gd name="connsiteX186" fmla="*/ 7326536 w 7904316"/>
              <a:gd name="connsiteY186" fmla="*/ 6364066 h 6858000"/>
              <a:gd name="connsiteX187" fmla="*/ 7326536 w 7904316"/>
              <a:gd name="connsiteY187" fmla="*/ 6356678 h 6858000"/>
              <a:gd name="connsiteX188" fmla="*/ 7296058 w 7904316"/>
              <a:gd name="connsiteY188" fmla="*/ 6331911 h 6858000"/>
              <a:gd name="connsiteX189" fmla="*/ 6433167 w 7904316"/>
              <a:gd name="connsiteY189" fmla="*/ 6331911 h 6858000"/>
              <a:gd name="connsiteX190" fmla="*/ 6433167 w 7904316"/>
              <a:gd name="connsiteY190" fmla="*/ 6454776 h 6858000"/>
              <a:gd name="connsiteX191" fmla="*/ 6504843 w 7904316"/>
              <a:gd name="connsiteY191" fmla="*/ 6454776 h 6858000"/>
              <a:gd name="connsiteX192" fmla="*/ 6555325 w 7904316"/>
              <a:gd name="connsiteY192" fmla="*/ 6445259 h 6858000"/>
              <a:gd name="connsiteX193" fmla="*/ 6582462 w 7904316"/>
              <a:gd name="connsiteY193" fmla="*/ 6392632 h 6858000"/>
              <a:gd name="connsiteX194" fmla="*/ 6512216 w 7904316"/>
              <a:gd name="connsiteY194" fmla="*/ 6331911 h 6858000"/>
              <a:gd name="connsiteX195" fmla="*/ 0 w 7904316"/>
              <a:gd name="connsiteY195" fmla="*/ 0 h 6858000"/>
              <a:gd name="connsiteX196" fmla="*/ 7904316 w 7904316"/>
              <a:gd name="connsiteY196" fmla="*/ 0 h 6858000"/>
              <a:gd name="connsiteX197" fmla="*/ 7904316 w 7904316"/>
              <a:gd name="connsiteY197" fmla="*/ 6858000 h 6858000"/>
              <a:gd name="connsiteX198" fmla="*/ 0 w 7904316"/>
              <a:gd name="connsiteY19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</a:cxnLst>
            <a:rect l="l" t="t" r="r" b="b"/>
            <a:pathLst>
              <a:path w="7904316" h="6858000">
                <a:moveTo>
                  <a:pt x="6621659" y="6535879"/>
                </a:moveTo>
                <a:lnTo>
                  <a:pt x="6704484" y="6535879"/>
                </a:lnTo>
                <a:lnTo>
                  <a:pt x="6704484" y="6598745"/>
                </a:lnTo>
                <a:lnTo>
                  <a:pt x="6621659" y="6598745"/>
                </a:lnTo>
                <a:close/>
                <a:moveTo>
                  <a:pt x="7275572" y="6534690"/>
                </a:moveTo>
                <a:lnTo>
                  <a:pt x="7331531" y="6534690"/>
                </a:lnTo>
                <a:cubicBezTo>
                  <a:pt x="7338903" y="6534690"/>
                  <a:pt x="7342725" y="6536127"/>
                  <a:pt x="7342725" y="6542786"/>
                </a:cubicBezTo>
                <a:lnTo>
                  <a:pt x="7342725" y="6554455"/>
                </a:lnTo>
                <a:cubicBezTo>
                  <a:pt x="7342725" y="6561128"/>
                  <a:pt x="7338903" y="6562550"/>
                  <a:pt x="7331531" y="6562550"/>
                </a:cubicBezTo>
                <a:lnTo>
                  <a:pt x="7275572" y="6562550"/>
                </a:lnTo>
                <a:close/>
                <a:moveTo>
                  <a:pt x="6622622" y="6517318"/>
                </a:moveTo>
                <a:cubicBezTo>
                  <a:pt x="6602474" y="6517318"/>
                  <a:pt x="6595906" y="6521832"/>
                  <a:pt x="6595906" y="6541122"/>
                </a:cubicBezTo>
                <a:lnTo>
                  <a:pt x="6595906" y="6594223"/>
                </a:lnTo>
                <a:cubicBezTo>
                  <a:pt x="6595906" y="6613272"/>
                  <a:pt x="6602218" y="6618042"/>
                  <a:pt x="6622622" y="6618042"/>
                </a:cubicBezTo>
                <a:lnTo>
                  <a:pt x="6702046" y="6618042"/>
                </a:lnTo>
                <a:cubicBezTo>
                  <a:pt x="6722202" y="6618042"/>
                  <a:pt x="6728762" y="6613272"/>
                  <a:pt x="6728762" y="6594223"/>
                </a:cubicBezTo>
                <a:lnTo>
                  <a:pt x="6728762" y="6541122"/>
                </a:lnTo>
                <a:cubicBezTo>
                  <a:pt x="6728762" y="6521832"/>
                  <a:pt x="6722194" y="6517318"/>
                  <a:pt x="6702046" y="6517318"/>
                </a:cubicBezTo>
                <a:close/>
                <a:moveTo>
                  <a:pt x="7251301" y="6517311"/>
                </a:moveTo>
                <a:lnTo>
                  <a:pt x="7251301" y="6618035"/>
                </a:lnTo>
                <a:lnTo>
                  <a:pt x="7275579" y="6618035"/>
                </a:lnTo>
                <a:lnTo>
                  <a:pt x="7275579" y="6579929"/>
                </a:lnTo>
                <a:lnTo>
                  <a:pt x="7298676" y="6579929"/>
                </a:lnTo>
                <a:lnTo>
                  <a:pt x="7340822" y="6618035"/>
                </a:lnTo>
                <a:lnTo>
                  <a:pt x="7376069" y="6618035"/>
                </a:lnTo>
                <a:lnTo>
                  <a:pt x="7328213" y="6579929"/>
                </a:lnTo>
                <a:lnTo>
                  <a:pt x="7342026" y="6579929"/>
                </a:lnTo>
                <a:cubicBezTo>
                  <a:pt x="7358208" y="6579929"/>
                  <a:pt x="7365596" y="6574452"/>
                  <a:pt x="7365596" y="6560639"/>
                </a:cubicBezTo>
                <a:lnTo>
                  <a:pt x="7365596" y="6536835"/>
                </a:lnTo>
                <a:cubicBezTo>
                  <a:pt x="7365596" y="6522788"/>
                  <a:pt x="7358208" y="6517311"/>
                  <a:pt x="7342026" y="6517311"/>
                </a:cubicBezTo>
                <a:close/>
                <a:moveTo>
                  <a:pt x="7113961" y="6517311"/>
                </a:moveTo>
                <a:lnTo>
                  <a:pt x="7113961" y="6618035"/>
                </a:lnTo>
                <a:lnTo>
                  <a:pt x="7225435" y="6618035"/>
                </a:lnTo>
                <a:lnTo>
                  <a:pt x="7225435" y="6599219"/>
                </a:lnTo>
                <a:lnTo>
                  <a:pt x="7139225" y="6599219"/>
                </a:lnTo>
                <a:lnTo>
                  <a:pt x="7139225" y="6574452"/>
                </a:lnTo>
                <a:lnTo>
                  <a:pt x="7188774" y="6574452"/>
                </a:lnTo>
                <a:lnTo>
                  <a:pt x="7188774" y="6557073"/>
                </a:lnTo>
                <a:lnTo>
                  <a:pt x="7139225" y="6557073"/>
                </a:lnTo>
                <a:lnTo>
                  <a:pt x="7139225" y="6535179"/>
                </a:lnTo>
                <a:lnTo>
                  <a:pt x="7224224" y="6535179"/>
                </a:lnTo>
                <a:lnTo>
                  <a:pt x="7224224" y="6517311"/>
                </a:lnTo>
                <a:close/>
                <a:moveTo>
                  <a:pt x="6937770" y="6517311"/>
                </a:moveTo>
                <a:lnTo>
                  <a:pt x="6937770" y="6618035"/>
                </a:lnTo>
                <a:lnTo>
                  <a:pt x="6960739" y="6618035"/>
                </a:lnTo>
                <a:lnTo>
                  <a:pt x="6960739" y="6550414"/>
                </a:lnTo>
                <a:lnTo>
                  <a:pt x="7007121" y="6605892"/>
                </a:lnTo>
                <a:lnTo>
                  <a:pt x="7011981" y="6605892"/>
                </a:lnTo>
                <a:lnTo>
                  <a:pt x="7057874" y="6548737"/>
                </a:lnTo>
                <a:lnTo>
                  <a:pt x="7057874" y="6618035"/>
                </a:lnTo>
                <a:lnTo>
                  <a:pt x="7081189" y="6618035"/>
                </a:lnTo>
                <a:lnTo>
                  <a:pt x="7081189" y="6517311"/>
                </a:lnTo>
                <a:lnTo>
                  <a:pt x="7061041" y="6517311"/>
                </a:lnTo>
                <a:lnTo>
                  <a:pt x="7011003" y="6577070"/>
                </a:lnTo>
                <a:lnTo>
                  <a:pt x="6960739" y="6517311"/>
                </a:lnTo>
                <a:close/>
                <a:moveTo>
                  <a:pt x="6760451" y="6517311"/>
                </a:moveTo>
                <a:lnTo>
                  <a:pt x="6760451" y="6618035"/>
                </a:lnTo>
                <a:lnTo>
                  <a:pt x="6783412" y="6618035"/>
                </a:lnTo>
                <a:lnTo>
                  <a:pt x="6783412" y="6550414"/>
                </a:lnTo>
                <a:lnTo>
                  <a:pt x="6829794" y="6605892"/>
                </a:lnTo>
                <a:lnTo>
                  <a:pt x="6834647" y="6605892"/>
                </a:lnTo>
                <a:lnTo>
                  <a:pt x="6880555" y="6548737"/>
                </a:lnTo>
                <a:lnTo>
                  <a:pt x="6880555" y="6618035"/>
                </a:lnTo>
                <a:lnTo>
                  <a:pt x="6903870" y="6618035"/>
                </a:lnTo>
                <a:lnTo>
                  <a:pt x="6903870" y="6517311"/>
                </a:lnTo>
                <a:lnTo>
                  <a:pt x="6883715" y="6517311"/>
                </a:lnTo>
                <a:lnTo>
                  <a:pt x="6833684" y="6577070"/>
                </a:lnTo>
                <a:lnTo>
                  <a:pt x="6783412" y="6517311"/>
                </a:lnTo>
                <a:close/>
                <a:moveTo>
                  <a:pt x="6464593" y="6495162"/>
                </a:moveTo>
                <a:cubicBezTo>
                  <a:pt x="6441496" y="6495162"/>
                  <a:pt x="6434115" y="6501113"/>
                  <a:pt x="6434115" y="6524218"/>
                </a:cubicBezTo>
                <a:lnTo>
                  <a:pt x="6434115" y="6537775"/>
                </a:lnTo>
                <a:cubicBezTo>
                  <a:pt x="6434115" y="6560879"/>
                  <a:pt x="6441503" y="6566830"/>
                  <a:pt x="6464593" y="6566830"/>
                </a:cubicBezTo>
                <a:lnTo>
                  <a:pt x="6541271" y="6566830"/>
                </a:lnTo>
                <a:lnTo>
                  <a:pt x="6541271" y="6594930"/>
                </a:lnTo>
                <a:lnTo>
                  <a:pt x="6454368" y="6594930"/>
                </a:lnTo>
                <a:lnTo>
                  <a:pt x="6454368" y="6581704"/>
                </a:lnTo>
                <a:lnTo>
                  <a:pt x="6429112" y="6586948"/>
                </a:lnTo>
                <a:lnTo>
                  <a:pt x="6429112" y="6588979"/>
                </a:lnTo>
                <a:cubicBezTo>
                  <a:pt x="6429112" y="6612076"/>
                  <a:pt x="6436733" y="6618027"/>
                  <a:pt x="6459830" y="6618027"/>
                </a:cubicBezTo>
                <a:lnTo>
                  <a:pt x="6535802" y="6618027"/>
                </a:lnTo>
                <a:cubicBezTo>
                  <a:pt x="6558899" y="6618027"/>
                  <a:pt x="6566520" y="6612076"/>
                  <a:pt x="6566520" y="6588979"/>
                </a:cubicBezTo>
                <a:lnTo>
                  <a:pt x="6566520" y="6572074"/>
                </a:lnTo>
                <a:cubicBezTo>
                  <a:pt x="6566520" y="6548970"/>
                  <a:pt x="6558899" y="6543019"/>
                  <a:pt x="6535802" y="6543019"/>
                </a:cubicBezTo>
                <a:lnTo>
                  <a:pt x="6459115" y="6543019"/>
                </a:lnTo>
                <a:lnTo>
                  <a:pt x="6459115" y="6516596"/>
                </a:lnTo>
                <a:lnTo>
                  <a:pt x="6539601" y="6516596"/>
                </a:lnTo>
                <a:lnTo>
                  <a:pt x="6539601" y="6529905"/>
                </a:lnTo>
                <a:lnTo>
                  <a:pt x="6564842" y="6523954"/>
                </a:lnTo>
                <a:lnTo>
                  <a:pt x="6564842" y="6522074"/>
                </a:lnTo>
                <a:cubicBezTo>
                  <a:pt x="6564842" y="6500872"/>
                  <a:pt x="6556273" y="6495162"/>
                  <a:pt x="6534365" y="6495162"/>
                </a:cubicBezTo>
                <a:close/>
                <a:moveTo>
                  <a:pt x="7266537" y="6392873"/>
                </a:moveTo>
                <a:lnTo>
                  <a:pt x="7303439" y="6423591"/>
                </a:lnTo>
                <a:lnTo>
                  <a:pt x="7292011" y="6433349"/>
                </a:lnTo>
                <a:lnTo>
                  <a:pt x="7235111" y="6433349"/>
                </a:lnTo>
                <a:lnTo>
                  <a:pt x="7235111" y="6433342"/>
                </a:lnTo>
                <a:lnTo>
                  <a:pt x="7235111" y="6412396"/>
                </a:lnTo>
                <a:close/>
                <a:moveTo>
                  <a:pt x="6635848" y="6371439"/>
                </a:moveTo>
                <a:lnTo>
                  <a:pt x="6691807" y="6371439"/>
                </a:lnTo>
                <a:cubicBezTo>
                  <a:pt x="6699180" y="6371439"/>
                  <a:pt x="6703001" y="6372876"/>
                  <a:pt x="6703001" y="6379534"/>
                </a:cubicBezTo>
                <a:lnTo>
                  <a:pt x="6703001" y="6391203"/>
                </a:lnTo>
                <a:cubicBezTo>
                  <a:pt x="6703001" y="6397876"/>
                  <a:pt x="6699180" y="6399298"/>
                  <a:pt x="6691807" y="6399298"/>
                </a:cubicBezTo>
                <a:lnTo>
                  <a:pt x="6635848" y="6399298"/>
                </a:lnTo>
                <a:close/>
                <a:moveTo>
                  <a:pt x="7061621" y="6354060"/>
                </a:moveTo>
                <a:cubicBezTo>
                  <a:pt x="7041857" y="6354060"/>
                  <a:pt x="7035184" y="6358830"/>
                  <a:pt x="7035184" y="6377879"/>
                </a:cubicBezTo>
                <a:lnTo>
                  <a:pt x="7035184" y="6389074"/>
                </a:lnTo>
                <a:cubicBezTo>
                  <a:pt x="7035184" y="6408123"/>
                  <a:pt x="7041857" y="6412878"/>
                  <a:pt x="7061621" y="6412878"/>
                </a:cubicBezTo>
                <a:lnTo>
                  <a:pt x="7126857" y="6412878"/>
                </a:lnTo>
                <a:lnTo>
                  <a:pt x="7126857" y="6435983"/>
                </a:lnTo>
                <a:lnTo>
                  <a:pt x="7052796" y="6435983"/>
                </a:lnTo>
                <a:lnTo>
                  <a:pt x="7052796" y="6425375"/>
                </a:lnTo>
                <a:lnTo>
                  <a:pt x="7030903" y="6429430"/>
                </a:lnTo>
                <a:lnTo>
                  <a:pt x="7030903" y="6430980"/>
                </a:lnTo>
                <a:cubicBezTo>
                  <a:pt x="7030903" y="6449796"/>
                  <a:pt x="7037328" y="6454784"/>
                  <a:pt x="7057325" y="6454784"/>
                </a:cubicBezTo>
                <a:lnTo>
                  <a:pt x="7122817" y="6454784"/>
                </a:lnTo>
                <a:cubicBezTo>
                  <a:pt x="7142814" y="6454784"/>
                  <a:pt x="7149006" y="6449796"/>
                  <a:pt x="7149006" y="6430980"/>
                </a:cubicBezTo>
                <a:lnTo>
                  <a:pt x="7149006" y="6417166"/>
                </a:lnTo>
                <a:cubicBezTo>
                  <a:pt x="7149006" y="6398117"/>
                  <a:pt x="7142822" y="6393362"/>
                  <a:pt x="7122817" y="6393362"/>
                </a:cubicBezTo>
                <a:lnTo>
                  <a:pt x="7057325" y="6393362"/>
                </a:lnTo>
                <a:lnTo>
                  <a:pt x="7057325" y="6372154"/>
                </a:lnTo>
                <a:lnTo>
                  <a:pt x="7126616" y="6372154"/>
                </a:lnTo>
                <a:lnTo>
                  <a:pt x="7126616" y="6381565"/>
                </a:lnTo>
                <a:lnTo>
                  <a:pt x="7147802" y="6377051"/>
                </a:lnTo>
                <a:lnTo>
                  <a:pt x="7147802" y="6375968"/>
                </a:lnTo>
                <a:cubicBezTo>
                  <a:pt x="7147802" y="6358356"/>
                  <a:pt x="7139955" y="6354060"/>
                  <a:pt x="7121380" y="6354060"/>
                </a:cubicBezTo>
                <a:close/>
                <a:moveTo>
                  <a:pt x="6897287" y="6354060"/>
                </a:moveTo>
                <a:lnTo>
                  <a:pt x="6897287" y="6454776"/>
                </a:lnTo>
                <a:lnTo>
                  <a:pt x="7006580" y="6454776"/>
                </a:lnTo>
                <a:lnTo>
                  <a:pt x="7006580" y="6435967"/>
                </a:lnTo>
                <a:lnTo>
                  <a:pt x="6922054" y="6435967"/>
                </a:lnTo>
                <a:lnTo>
                  <a:pt x="6922054" y="6411200"/>
                </a:lnTo>
                <a:lnTo>
                  <a:pt x="6970626" y="6411200"/>
                </a:lnTo>
                <a:lnTo>
                  <a:pt x="6970626" y="6393821"/>
                </a:lnTo>
                <a:lnTo>
                  <a:pt x="6922054" y="6393821"/>
                </a:lnTo>
                <a:lnTo>
                  <a:pt x="6922054" y="6371913"/>
                </a:lnTo>
                <a:lnTo>
                  <a:pt x="7005399" y="6371913"/>
                </a:lnTo>
                <a:lnTo>
                  <a:pt x="7005399" y="6354060"/>
                </a:lnTo>
                <a:close/>
                <a:moveTo>
                  <a:pt x="6759578" y="6354060"/>
                </a:moveTo>
                <a:lnTo>
                  <a:pt x="6759578" y="6454776"/>
                </a:lnTo>
                <a:lnTo>
                  <a:pt x="6868871" y="6454776"/>
                </a:lnTo>
                <a:lnTo>
                  <a:pt x="6868871" y="6435967"/>
                </a:lnTo>
                <a:lnTo>
                  <a:pt x="6784345" y="6435967"/>
                </a:lnTo>
                <a:lnTo>
                  <a:pt x="6784345" y="6411200"/>
                </a:lnTo>
                <a:lnTo>
                  <a:pt x="6832917" y="6411200"/>
                </a:lnTo>
                <a:lnTo>
                  <a:pt x="6832917" y="6393821"/>
                </a:lnTo>
                <a:lnTo>
                  <a:pt x="6784345" y="6393821"/>
                </a:lnTo>
                <a:lnTo>
                  <a:pt x="6784345" y="6371913"/>
                </a:lnTo>
                <a:lnTo>
                  <a:pt x="6867690" y="6371913"/>
                </a:lnTo>
                <a:lnTo>
                  <a:pt x="6867690" y="6354060"/>
                </a:lnTo>
                <a:close/>
                <a:moveTo>
                  <a:pt x="6611562" y="6354060"/>
                </a:moveTo>
                <a:lnTo>
                  <a:pt x="6611562" y="6454776"/>
                </a:lnTo>
                <a:lnTo>
                  <a:pt x="6635855" y="6454776"/>
                </a:lnTo>
                <a:lnTo>
                  <a:pt x="6635855" y="6416670"/>
                </a:lnTo>
                <a:lnTo>
                  <a:pt x="6658952" y="6416670"/>
                </a:lnTo>
                <a:lnTo>
                  <a:pt x="6701098" y="6454776"/>
                </a:lnTo>
                <a:lnTo>
                  <a:pt x="6736345" y="6454776"/>
                </a:lnTo>
                <a:lnTo>
                  <a:pt x="6688474" y="6416670"/>
                </a:lnTo>
                <a:lnTo>
                  <a:pt x="6702287" y="6416670"/>
                </a:lnTo>
                <a:cubicBezTo>
                  <a:pt x="6718485" y="6416670"/>
                  <a:pt x="6725865" y="6411193"/>
                  <a:pt x="6725865" y="6397395"/>
                </a:cubicBezTo>
                <a:lnTo>
                  <a:pt x="6725865" y="6373583"/>
                </a:lnTo>
                <a:cubicBezTo>
                  <a:pt x="6725865" y="6359537"/>
                  <a:pt x="6718477" y="6354060"/>
                  <a:pt x="6702287" y="6354060"/>
                </a:cubicBezTo>
                <a:close/>
                <a:moveTo>
                  <a:pt x="6461741" y="6353819"/>
                </a:moveTo>
                <a:lnTo>
                  <a:pt x="6512456" y="6353819"/>
                </a:lnTo>
                <a:cubicBezTo>
                  <a:pt x="6539368" y="6353819"/>
                  <a:pt x="6552940" y="6367158"/>
                  <a:pt x="6552940" y="6392158"/>
                </a:cubicBezTo>
                <a:cubicBezTo>
                  <a:pt x="6552940" y="6422636"/>
                  <a:pt x="6534839" y="6431686"/>
                  <a:pt x="6498643" y="6431686"/>
                </a:cubicBezTo>
                <a:lnTo>
                  <a:pt x="6461741" y="6431686"/>
                </a:lnTo>
                <a:close/>
                <a:moveTo>
                  <a:pt x="7271306" y="6331911"/>
                </a:moveTo>
                <a:cubicBezTo>
                  <a:pt x="7250346" y="6331911"/>
                  <a:pt x="7240829" y="6336681"/>
                  <a:pt x="7240829" y="6354293"/>
                </a:cubicBezTo>
                <a:lnTo>
                  <a:pt x="7240829" y="6361192"/>
                </a:lnTo>
                <a:cubicBezTo>
                  <a:pt x="7240829" y="6368339"/>
                  <a:pt x="7244162" y="6373816"/>
                  <a:pt x="7251309" y="6379767"/>
                </a:cubicBezTo>
                <a:lnTo>
                  <a:pt x="7226294" y="6394776"/>
                </a:lnTo>
                <a:cubicBezTo>
                  <a:pt x="7215588" y="6401202"/>
                  <a:pt x="7211059" y="6405008"/>
                  <a:pt x="7211059" y="6417633"/>
                </a:cubicBezTo>
                <a:lnTo>
                  <a:pt x="7211059" y="6425728"/>
                </a:lnTo>
                <a:cubicBezTo>
                  <a:pt x="7211059" y="6448825"/>
                  <a:pt x="7218680" y="6454776"/>
                  <a:pt x="7241770" y="6454776"/>
                </a:cubicBezTo>
                <a:lnTo>
                  <a:pt x="7285586" y="6454776"/>
                </a:lnTo>
                <a:cubicBezTo>
                  <a:pt x="7295818" y="6454776"/>
                  <a:pt x="7300821" y="6454302"/>
                  <a:pt x="7308683" y="6447388"/>
                </a:cubicBezTo>
                <a:lnTo>
                  <a:pt x="7319637" y="6437630"/>
                </a:lnTo>
                <a:lnTo>
                  <a:pt x="7339875" y="6454776"/>
                </a:lnTo>
                <a:lnTo>
                  <a:pt x="7377266" y="6454776"/>
                </a:lnTo>
                <a:lnTo>
                  <a:pt x="7338453" y="6422147"/>
                </a:lnTo>
                <a:lnTo>
                  <a:pt x="7366786" y="6398583"/>
                </a:lnTo>
                <a:lnTo>
                  <a:pt x="7350588" y="6384537"/>
                </a:lnTo>
                <a:lnTo>
                  <a:pt x="7322014" y="6408341"/>
                </a:lnTo>
                <a:lnTo>
                  <a:pt x="7264152" y="6360244"/>
                </a:lnTo>
                <a:lnTo>
                  <a:pt x="7264152" y="6351434"/>
                </a:lnTo>
                <a:lnTo>
                  <a:pt x="7304402" y="6351434"/>
                </a:lnTo>
                <a:lnTo>
                  <a:pt x="7304402" y="6367873"/>
                </a:lnTo>
                <a:lnTo>
                  <a:pt x="7326536" y="6364066"/>
                </a:lnTo>
                <a:lnTo>
                  <a:pt x="7326536" y="6356678"/>
                </a:lnTo>
                <a:cubicBezTo>
                  <a:pt x="7326536" y="6336681"/>
                  <a:pt x="7318200" y="6331911"/>
                  <a:pt x="7296058" y="6331911"/>
                </a:cubicBezTo>
                <a:close/>
                <a:moveTo>
                  <a:pt x="6433167" y="6331911"/>
                </a:moveTo>
                <a:lnTo>
                  <a:pt x="6433167" y="6454776"/>
                </a:lnTo>
                <a:lnTo>
                  <a:pt x="6504843" y="6454776"/>
                </a:lnTo>
                <a:cubicBezTo>
                  <a:pt x="6526736" y="6454776"/>
                  <a:pt x="6543408" y="6452632"/>
                  <a:pt x="6555325" y="6445259"/>
                </a:cubicBezTo>
                <a:cubicBezTo>
                  <a:pt x="6572471" y="6434779"/>
                  <a:pt x="6582462" y="6415729"/>
                  <a:pt x="6582462" y="6392632"/>
                </a:cubicBezTo>
                <a:cubicBezTo>
                  <a:pt x="6582462" y="6354534"/>
                  <a:pt x="6558184" y="6331911"/>
                  <a:pt x="6512216" y="6331911"/>
                </a:cubicBezTo>
                <a:close/>
                <a:moveTo>
                  <a:pt x="0" y="0"/>
                </a:moveTo>
                <a:lnTo>
                  <a:pt x="7904316" y="0"/>
                </a:lnTo>
                <a:lnTo>
                  <a:pt x="7904316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logo drees&amp;sommer white">
            <a:extLst>
              <a:ext uri="{FF2B5EF4-FFF2-40B4-BE49-F238E27FC236}">
                <a16:creationId xmlns:a16="http://schemas.microsoft.com/office/drawing/2014/main" id="{A61848D7-A07E-41F7-9AA3-92AF59A5092A}"/>
              </a:ext>
            </a:extLst>
          </p:cNvPr>
          <p:cNvSpPr>
            <a:spLocks noGrp="1"/>
          </p:cNvSpPr>
          <p:nvPr>
            <p:ph type="media" sz="quarter" idx="20"/>
          </p:nvPr>
        </p:nvSpPr>
        <p:spPr bwMode="gray">
          <a:xfrm>
            <a:off x="10716797" y="6330042"/>
            <a:ext cx="946800" cy="2880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15875" cap="flat">
            <a:noFill/>
            <a:prstDash val="lgDash"/>
          </a:ln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de-DE"/>
              <a:t>Mediaclip durch Klicken auf Symbol hinzufügen</a:t>
            </a:r>
            <a:endParaRPr lang="de-DE" dirty="0"/>
          </a:p>
        </p:txBody>
      </p:sp>
      <p:sp>
        <p:nvSpPr>
          <p:cNvPr id="12" name="info">
            <a:extLst>
              <a:ext uri="{FF2B5EF4-FFF2-40B4-BE49-F238E27FC236}">
                <a16:creationId xmlns:a16="http://schemas.microsoft.com/office/drawing/2014/main" id="{5F5CE368-5878-4009-8D08-30FB2FBBB9D7}"/>
              </a:ext>
            </a:extLst>
          </p:cNvPr>
          <p:cNvSpPr/>
          <p:nvPr/>
        </p:nvSpPr>
        <p:spPr bwMode="gray">
          <a:xfrm flipH="1">
            <a:off x="12247320" y="6288645"/>
            <a:ext cx="1579616" cy="370793"/>
          </a:xfrm>
          <a:prstGeom prst="homePlate">
            <a:avLst/>
          </a:prstGeom>
          <a:solidFill>
            <a:srgbClr val="0029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36000" rtlCol="0" anchor="ctr">
            <a:spAutoFit/>
          </a:bodyPr>
          <a:lstStyle/>
          <a:p>
            <a:pPr algn="ctr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sz="1050" dirty="0">
                <a:solidFill>
                  <a:schemeClr val="bg1"/>
                </a:solidFill>
              </a:rPr>
              <a:t>delete the white logo </a:t>
            </a:r>
            <a:br>
              <a:rPr lang="en-US" sz="1050" dirty="0">
                <a:solidFill>
                  <a:schemeClr val="bg1"/>
                </a:solidFill>
              </a:rPr>
            </a:br>
            <a:r>
              <a:rPr lang="en-US" sz="1050" dirty="0">
                <a:solidFill>
                  <a:schemeClr val="bg1"/>
                </a:solidFill>
              </a:rPr>
              <a:t>to get the BLUE LOGO</a:t>
            </a:r>
            <a:endParaRPr lang="de-DE" sz="1050" dirty="0">
              <a:solidFill>
                <a:schemeClr val="bg1"/>
              </a:solidFill>
            </a:endParaRPr>
          </a:p>
        </p:txBody>
      </p:sp>
      <p:grpSp>
        <p:nvGrpSpPr>
          <p:cNvPr id="3" name="info">
            <a:extLst>
              <a:ext uri="{FF2B5EF4-FFF2-40B4-BE49-F238E27FC236}">
                <a16:creationId xmlns:a16="http://schemas.microsoft.com/office/drawing/2014/main" id="{035150EF-9A7B-B6C6-A16C-61E38937842E}"/>
              </a:ext>
            </a:extLst>
          </p:cNvPr>
          <p:cNvGrpSpPr/>
          <p:nvPr/>
        </p:nvGrpSpPr>
        <p:grpSpPr>
          <a:xfrm>
            <a:off x="12247320" y="3143250"/>
            <a:ext cx="1579616" cy="2823211"/>
            <a:chOff x="12399720" y="2598103"/>
            <a:chExt cx="1579616" cy="2823211"/>
          </a:xfrm>
          <a:solidFill>
            <a:srgbClr val="002965"/>
          </a:solidFill>
        </p:grpSpPr>
        <p:sp>
          <p:nvSpPr>
            <p:cNvPr id="8" name="info">
              <a:extLst>
                <a:ext uri="{FF2B5EF4-FFF2-40B4-BE49-F238E27FC236}">
                  <a16:creationId xmlns:a16="http://schemas.microsoft.com/office/drawing/2014/main" id="{CB8FACE0-4643-606D-DA08-1E6193E1120B}"/>
                </a:ext>
              </a:extLst>
            </p:cNvPr>
            <p:cNvSpPr/>
            <p:nvPr userDrawn="1"/>
          </p:nvSpPr>
          <p:spPr bwMode="gray">
            <a:xfrm flipH="1">
              <a:off x="12399720" y="4947928"/>
              <a:ext cx="1579616" cy="473385"/>
            </a:xfrm>
            <a:prstGeom prst="homePlat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36000" rtlCol="0" anchor="ctr">
              <a:spAutoFit/>
            </a:bodyPr>
            <a:lstStyle/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 dirty="0">
                <a:solidFill>
                  <a:schemeClr val="tx2"/>
                </a:solidFill>
              </a:endParaRPr>
            </a:p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 dirty="0">
                <a:solidFill>
                  <a:schemeClr val="tx2"/>
                </a:solidFill>
              </a:endParaRPr>
            </a:p>
          </p:txBody>
        </p:sp>
        <p:sp>
          <p:nvSpPr>
            <p:cNvPr id="9" name="info">
              <a:extLst>
                <a:ext uri="{FF2B5EF4-FFF2-40B4-BE49-F238E27FC236}">
                  <a16:creationId xmlns:a16="http://schemas.microsoft.com/office/drawing/2014/main" id="{788E6B60-307F-74A8-7E7F-15ABDCFC784F}"/>
                </a:ext>
              </a:extLst>
            </p:cNvPr>
            <p:cNvSpPr/>
            <p:nvPr userDrawn="1"/>
          </p:nvSpPr>
          <p:spPr bwMode="gray">
            <a:xfrm flipH="1">
              <a:off x="12634899" y="2598103"/>
              <a:ext cx="1344423" cy="28232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36000" rtlCol="0" anchor="t">
              <a:noAutofit/>
            </a:bodyPr>
            <a:lstStyle/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b="1" cap="all" dirty="0">
                  <a:solidFill>
                    <a:schemeClr val="bg1"/>
                  </a:solidFill>
                </a:rPr>
                <a:t>image credit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b="1" dirty="0">
                  <a:solidFill>
                    <a:schemeClr val="bg1"/>
                  </a:solidFill>
                </a:rPr>
                <a:t>Always include</a:t>
              </a:r>
              <a:br>
                <a:rPr lang="en-US" sz="1050" b="1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redit!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How to get 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redit </a:t>
              </a:r>
              <a:r>
                <a:rPr lang="en-US" sz="1050" b="1" dirty="0">
                  <a:solidFill>
                    <a:schemeClr val="bg1"/>
                  </a:solidFill>
                </a:rPr>
                <a:t>placeholder</a:t>
              </a:r>
              <a:r>
                <a:rPr lang="en-US" sz="1050" dirty="0">
                  <a:solidFill>
                    <a:schemeClr val="bg1"/>
                  </a:solidFill>
                </a:rPr>
                <a:t>: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&gt; empower menu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&gt; text elements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&gt; depending on 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hoose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“</a:t>
              </a:r>
              <a:r>
                <a:rPr lang="en-US" sz="1050" b="1" dirty="0">
                  <a:solidFill>
                    <a:schemeClr val="bg1"/>
                  </a:solidFill>
                </a:rPr>
                <a:t>Copyright right grey</a:t>
              </a:r>
              <a:r>
                <a:rPr lang="en-US" sz="1050" dirty="0">
                  <a:solidFill>
                    <a:schemeClr val="bg1"/>
                  </a:solidFill>
                </a:rPr>
                <a:t>” 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or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“</a:t>
              </a:r>
              <a:r>
                <a:rPr lang="en-US" sz="1050" b="1" dirty="0">
                  <a:solidFill>
                    <a:schemeClr val="bg1"/>
                  </a:solidFill>
                </a:rPr>
                <a:t>Copyright right white</a:t>
              </a:r>
              <a:r>
                <a:rPr lang="en-US" sz="1050" dirty="0">
                  <a:solidFill>
                    <a:schemeClr val="bg1"/>
                  </a:solidFill>
                </a:rPr>
                <a:t>”</a:t>
              </a:r>
            </a:p>
          </p:txBody>
        </p:sp>
      </p:grp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034503C0-755C-9309-372B-1668CB388B0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763200" y="6386400"/>
            <a:ext cx="3237300" cy="180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95DFAE7-2F81-F2D0-C113-A3E4336175F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9829449A-3FF3-45CE-9F4F-09BADC0910C6}" type="slidenum">
              <a:rPr lang="de-DE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7498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pos="2520">
          <p15:clr>
            <a:srgbClr val="FBAE40"/>
          </p15:clr>
        </p15:guide>
        <p15:guide id="2" pos="2700">
          <p15:clr>
            <a:srgbClr val="FBAE40"/>
          </p15:clr>
        </p15:guide>
        <p15:guide id="3" orient="horz" pos="64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Full Picture 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logo drees&amp;sommer blue mask">
            <a:extLst>
              <a:ext uri="{FF2B5EF4-FFF2-40B4-BE49-F238E27FC236}">
                <a16:creationId xmlns:a16="http://schemas.microsoft.com/office/drawing/2014/main" id="{7F360378-F73A-4B3A-B454-4B80CCCB2A92}"/>
              </a:ext>
            </a:extLst>
          </p:cNvPr>
          <p:cNvSpPr/>
          <p:nvPr/>
        </p:nvSpPr>
        <p:spPr bwMode="gray">
          <a:xfrm>
            <a:off x="10579100" y="6197600"/>
            <a:ext cx="1270000" cy="584200"/>
          </a:xfrm>
          <a:prstGeom prst="rect">
            <a:avLst/>
          </a:prstGeom>
          <a:solidFill>
            <a:srgbClr val="0029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de-DE" sz="1400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FFCB50B-5503-4467-8A0F-9FBB8B48B97D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25600" y="673200"/>
            <a:ext cx="5353200" cy="288000"/>
          </a:xfrm>
        </p:spPr>
        <p:txBody>
          <a:bodyPr lIns="0" tIns="0" rIns="0" bIns="0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MIO_CONVERT_SLIDES_SUBTITLE">
            <a:extLst>
              <a:ext uri="{FF2B5EF4-FFF2-40B4-BE49-F238E27FC236}">
                <a16:creationId xmlns:a16="http://schemas.microsoft.com/office/drawing/2014/main" id="{7086919D-8D03-4875-B9F0-05F0C85640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25600" y="1022400"/>
            <a:ext cx="5353200" cy="5040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2000"/>
            </a:lvl1pPr>
          </a:lstStyle>
          <a:p>
            <a:pPr lvl="0"/>
            <a:r>
              <a:rPr lang="de-DE" dirty="0" err="1"/>
              <a:t>Subtitle</a:t>
            </a:r>
            <a:endParaRPr lang="en-US" dirty="0"/>
          </a:p>
        </p:txBody>
      </p:sp>
      <p:sp>
        <p:nvSpPr>
          <p:cNvPr id="7" name="content">
            <a:extLst>
              <a:ext uri="{FF2B5EF4-FFF2-40B4-BE49-F238E27FC236}">
                <a16:creationId xmlns:a16="http://schemas.microsoft.com/office/drawing/2014/main" id="{5ACBB9A0-3E08-4278-AF60-F20CD65CA5C6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25600" y="1602000"/>
            <a:ext cx="5353200" cy="44964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34" name="picture">
            <a:extLst>
              <a:ext uri="{FF2B5EF4-FFF2-40B4-BE49-F238E27FC236}">
                <a16:creationId xmlns:a16="http://schemas.microsoft.com/office/drawing/2014/main" id="{8EA3C3E4-202D-4939-91A7-80ECB3EE2B1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6166800" y="0"/>
            <a:ext cx="6025200" cy="6858000"/>
          </a:xfrm>
          <a:custGeom>
            <a:avLst/>
            <a:gdLst>
              <a:gd name="connsiteX0" fmla="*/ 4742543 w 6025200"/>
              <a:gd name="connsiteY0" fmla="*/ 6535879 h 6858000"/>
              <a:gd name="connsiteX1" fmla="*/ 4825368 w 6025200"/>
              <a:gd name="connsiteY1" fmla="*/ 6535879 h 6858000"/>
              <a:gd name="connsiteX2" fmla="*/ 4825368 w 6025200"/>
              <a:gd name="connsiteY2" fmla="*/ 6598745 h 6858000"/>
              <a:gd name="connsiteX3" fmla="*/ 4742543 w 6025200"/>
              <a:gd name="connsiteY3" fmla="*/ 6598745 h 6858000"/>
              <a:gd name="connsiteX4" fmla="*/ 5396456 w 6025200"/>
              <a:gd name="connsiteY4" fmla="*/ 6534690 h 6858000"/>
              <a:gd name="connsiteX5" fmla="*/ 5452415 w 6025200"/>
              <a:gd name="connsiteY5" fmla="*/ 6534690 h 6858000"/>
              <a:gd name="connsiteX6" fmla="*/ 5463609 w 6025200"/>
              <a:gd name="connsiteY6" fmla="*/ 6542786 h 6858000"/>
              <a:gd name="connsiteX7" fmla="*/ 5463609 w 6025200"/>
              <a:gd name="connsiteY7" fmla="*/ 6554455 h 6858000"/>
              <a:gd name="connsiteX8" fmla="*/ 5452415 w 6025200"/>
              <a:gd name="connsiteY8" fmla="*/ 6562550 h 6858000"/>
              <a:gd name="connsiteX9" fmla="*/ 5396456 w 6025200"/>
              <a:gd name="connsiteY9" fmla="*/ 6562550 h 6858000"/>
              <a:gd name="connsiteX10" fmla="*/ 4743506 w 6025200"/>
              <a:gd name="connsiteY10" fmla="*/ 6517318 h 6858000"/>
              <a:gd name="connsiteX11" fmla="*/ 4716790 w 6025200"/>
              <a:gd name="connsiteY11" fmla="*/ 6541122 h 6858000"/>
              <a:gd name="connsiteX12" fmla="*/ 4716790 w 6025200"/>
              <a:gd name="connsiteY12" fmla="*/ 6594223 h 6858000"/>
              <a:gd name="connsiteX13" fmla="*/ 4743506 w 6025200"/>
              <a:gd name="connsiteY13" fmla="*/ 6618042 h 6858000"/>
              <a:gd name="connsiteX14" fmla="*/ 4822930 w 6025200"/>
              <a:gd name="connsiteY14" fmla="*/ 6618042 h 6858000"/>
              <a:gd name="connsiteX15" fmla="*/ 4849646 w 6025200"/>
              <a:gd name="connsiteY15" fmla="*/ 6594223 h 6858000"/>
              <a:gd name="connsiteX16" fmla="*/ 4849646 w 6025200"/>
              <a:gd name="connsiteY16" fmla="*/ 6541122 h 6858000"/>
              <a:gd name="connsiteX17" fmla="*/ 4822930 w 6025200"/>
              <a:gd name="connsiteY17" fmla="*/ 6517318 h 6858000"/>
              <a:gd name="connsiteX18" fmla="*/ 5372185 w 6025200"/>
              <a:gd name="connsiteY18" fmla="*/ 6517311 h 6858000"/>
              <a:gd name="connsiteX19" fmla="*/ 5372185 w 6025200"/>
              <a:gd name="connsiteY19" fmla="*/ 6618035 h 6858000"/>
              <a:gd name="connsiteX20" fmla="*/ 5396463 w 6025200"/>
              <a:gd name="connsiteY20" fmla="*/ 6618035 h 6858000"/>
              <a:gd name="connsiteX21" fmla="*/ 5396463 w 6025200"/>
              <a:gd name="connsiteY21" fmla="*/ 6579929 h 6858000"/>
              <a:gd name="connsiteX22" fmla="*/ 5419560 w 6025200"/>
              <a:gd name="connsiteY22" fmla="*/ 6579929 h 6858000"/>
              <a:gd name="connsiteX23" fmla="*/ 5461706 w 6025200"/>
              <a:gd name="connsiteY23" fmla="*/ 6618035 h 6858000"/>
              <a:gd name="connsiteX24" fmla="*/ 5496953 w 6025200"/>
              <a:gd name="connsiteY24" fmla="*/ 6618035 h 6858000"/>
              <a:gd name="connsiteX25" fmla="*/ 5449097 w 6025200"/>
              <a:gd name="connsiteY25" fmla="*/ 6579929 h 6858000"/>
              <a:gd name="connsiteX26" fmla="*/ 5462910 w 6025200"/>
              <a:gd name="connsiteY26" fmla="*/ 6579929 h 6858000"/>
              <a:gd name="connsiteX27" fmla="*/ 5486480 w 6025200"/>
              <a:gd name="connsiteY27" fmla="*/ 6560639 h 6858000"/>
              <a:gd name="connsiteX28" fmla="*/ 5486480 w 6025200"/>
              <a:gd name="connsiteY28" fmla="*/ 6536835 h 6858000"/>
              <a:gd name="connsiteX29" fmla="*/ 5462910 w 6025200"/>
              <a:gd name="connsiteY29" fmla="*/ 6517311 h 6858000"/>
              <a:gd name="connsiteX30" fmla="*/ 5234845 w 6025200"/>
              <a:gd name="connsiteY30" fmla="*/ 6517311 h 6858000"/>
              <a:gd name="connsiteX31" fmla="*/ 5234845 w 6025200"/>
              <a:gd name="connsiteY31" fmla="*/ 6618035 h 6858000"/>
              <a:gd name="connsiteX32" fmla="*/ 5346319 w 6025200"/>
              <a:gd name="connsiteY32" fmla="*/ 6618035 h 6858000"/>
              <a:gd name="connsiteX33" fmla="*/ 5346319 w 6025200"/>
              <a:gd name="connsiteY33" fmla="*/ 6599219 h 6858000"/>
              <a:gd name="connsiteX34" fmla="*/ 5260109 w 6025200"/>
              <a:gd name="connsiteY34" fmla="*/ 6599219 h 6858000"/>
              <a:gd name="connsiteX35" fmla="*/ 5260109 w 6025200"/>
              <a:gd name="connsiteY35" fmla="*/ 6574452 h 6858000"/>
              <a:gd name="connsiteX36" fmla="*/ 5309658 w 6025200"/>
              <a:gd name="connsiteY36" fmla="*/ 6574452 h 6858000"/>
              <a:gd name="connsiteX37" fmla="*/ 5309658 w 6025200"/>
              <a:gd name="connsiteY37" fmla="*/ 6557073 h 6858000"/>
              <a:gd name="connsiteX38" fmla="*/ 5260109 w 6025200"/>
              <a:gd name="connsiteY38" fmla="*/ 6557073 h 6858000"/>
              <a:gd name="connsiteX39" fmla="*/ 5260109 w 6025200"/>
              <a:gd name="connsiteY39" fmla="*/ 6535179 h 6858000"/>
              <a:gd name="connsiteX40" fmla="*/ 5345108 w 6025200"/>
              <a:gd name="connsiteY40" fmla="*/ 6535179 h 6858000"/>
              <a:gd name="connsiteX41" fmla="*/ 5345108 w 6025200"/>
              <a:gd name="connsiteY41" fmla="*/ 6517311 h 6858000"/>
              <a:gd name="connsiteX42" fmla="*/ 5058654 w 6025200"/>
              <a:gd name="connsiteY42" fmla="*/ 6517311 h 6858000"/>
              <a:gd name="connsiteX43" fmla="*/ 5058654 w 6025200"/>
              <a:gd name="connsiteY43" fmla="*/ 6618035 h 6858000"/>
              <a:gd name="connsiteX44" fmla="*/ 5081623 w 6025200"/>
              <a:gd name="connsiteY44" fmla="*/ 6618035 h 6858000"/>
              <a:gd name="connsiteX45" fmla="*/ 5081623 w 6025200"/>
              <a:gd name="connsiteY45" fmla="*/ 6550414 h 6858000"/>
              <a:gd name="connsiteX46" fmla="*/ 5128005 w 6025200"/>
              <a:gd name="connsiteY46" fmla="*/ 6605892 h 6858000"/>
              <a:gd name="connsiteX47" fmla="*/ 5132865 w 6025200"/>
              <a:gd name="connsiteY47" fmla="*/ 6605892 h 6858000"/>
              <a:gd name="connsiteX48" fmla="*/ 5178758 w 6025200"/>
              <a:gd name="connsiteY48" fmla="*/ 6548737 h 6858000"/>
              <a:gd name="connsiteX49" fmla="*/ 5178758 w 6025200"/>
              <a:gd name="connsiteY49" fmla="*/ 6618035 h 6858000"/>
              <a:gd name="connsiteX50" fmla="*/ 5202073 w 6025200"/>
              <a:gd name="connsiteY50" fmla="*/ 6618035 h 6858000"/>
              <a:gd name="connsiteX51" fmla="*/ 5202073 w 6025200"/>
              <a:gd name="connsiteY51" fmla="*/ 6517311 h 6858000"/>
              <a:gd name="connsiteX52" fmla="*/ 5181925 w 6025200"/>
              <a:gd name="connsiteY52" fmla="*/ 6517311 h 6858000"/>
              <a:gd name="connsiteX53" fmla="*/ 5131887 w 6025200"/>
              <a:gd name="connsiteY53" fmla="*/ 6577070 h 6858000"/>
              <a:gd name="connsiteX54" fmla="*/ 5081623 w 6025200"/>
              <a:gd name="connsiteY54" fmla="*/ 6517311 h 6858000"/>
              <a:gd name="connsiteX55" fmla="*/ 4881335 w 6025200"/>
              <a:gd name="connsiteY55" fmla="*/ 6517311 h 6858000"/>
              <a:gd name="connsiteX56" fmla="*/ 4881335 w 6025200"/>
              <a:gd name="connsiteY56" fmla="*/ 6618035 h 6858000"/>
              <a:gd name="connsiteX57" fmla="*/ 4904296 w 6025200"/>
              <a:gd name="connsiteY57" fmla="*/ 6618035 h 6858000"/>
              <a:gd name="connsiteX58" fmla="*/ 4904296 w 6025200"/>
              <a:gd name="connsiteY58" fmla="*/ 6550414 h 6858000"/>
              <a:gd name="connsiteX59" fmla="*/ 4950678 w 6025200"/>
              <a:gd name="connsiteY59" fmla="*/ 6605892 h 6858000"/>
              <a:gd name="connsiteX60" fmla="*/ 4955531 w 6025200"/>
              <a:gd name="connsiteY60" fmla="*/ 6605892 h 6858000"/>
              <a:gd name="connsiteX61" fmla="*/ 5001439 w 6025200"/>
              <a:gd name="connsiteY61" fmla="*/ 6548737 h 6858000"/>
              <a:gd name="connsiteX62" fmla="*/ 5001439 w 6025200"/>
              <a:gd name="connsiteY62" fmla="*/ 6618035 h 6858000"/>
              <a:gd name="connsiteX63" fmla="*/ 5024754 w 6025200"/>
              <a:gd name="connsiteY63" fmla="*/ 6618035 h 6858000"/>
              <a:gd name="connsiteX64" fmla="*/ 5024754 w 6025200"/>
              <a:gd name="connsiteY64" fmla="*/ 6517311 h 6858000"/>
              <a:gd name="connsiteX65" fmla="*/ 5004599 w 6025200"/>
              <a:gd name="connsiteY65" fmla="*/ 6517311 h 6858000"/>
              <a:gd name="connsiteX66" fmla="*/ 4954568 w 6025200"/>
              <a:gd name="connsiteY66" fmla="*/ 6577070 h 6858000"/>
              <a:gd name="connsiteX67" fmla="*/ 4904296 w 6025200"/>
              <a:gd name="connsiteY67" fmla="*/ 6517311 h 6858000"/>
              <a:gd name="connsiteX68" fmla="*/ 4585477 w 6025200"/>
              <a:gd name="connsiteY68" fmla="*/ 6495162 h 6858000"/>
              <a:gd name="connsiteX69" fmla="*/ 4554999 w 6025200"/>
              <a:gd name="connsiteY69" fmla="*/ 6524218 h 6858000"/>
              <a:gd name="connsiteX70" fmla="*/ 4554999 w 6025200"/>
              <a:gd name="connsiteY70" fmla="*/ 6537775 h 6858000"/>
              <a:gd name="connsiteX71" fmla="*/ 4585477 w 6025200"/>
              <a:gd name="connsiteY71" fmla="*/ 6566830 h 6858000"/>
              <a:gd name="connsiteX72" fmla="*/ 4662155 w 6025200"/>
              <a:gd name="connsiteY72" fmla="*/ 6566830 h 6858000"/>
              <a:gd name="connsiteX73" fmla="*/ 4662155 w 6025200"/>
              <a:gd name="connsiteY73" fmla="*/ 6594930 h 6858000"/>
              <a:gd name="connsiteX74" fmla="*/ 4575252 w 6025200"/>
              <a:gd name="connsiteY74" fmla="*/ 6594930 h 6858000"/>
              <a:gd name="connsiteX75" fmla="*/ 4575252 w 6025200"/>
              <a:gd name="connsiteY75" fmla="*/ 6581704 h 6858000"/>
              <a:gd name="connsiteX76" fmla="*/ 4549996 w 6025200"/>
              <a:gd name="connsiteY76" fmla="*/ 6586948 h 6858000"/>
              <a:gd name="connsiteX77" fmla="*/ 4549996 w 6025200"/>
              <a:gd name="connsiteY77" fmla="*/ 6588979 h 6858000"/>
              <a:gd name="connsiteX78" fmla="*/ 4580714 w 6025200"/>
              <a:gd name="connsiteY78" fmla="*/ 6618027 h 6858000"/>
              <a:gd name="connsiteX79" fmla="*/ 4656686 w 6025200"/>
              <a:gd name="connsiteY79" fmla="*/ 6618027 h 6858000"/>
              <a:gd name="connsiteX80" fmla="*/ 4687404 w 6025200"/>
              <a:gd name="connsiteY80" fmla="*/ 6588979 h 6858000"/>
              <a:gd name="connsiteX81" fmla="*/ 4687404 w 6025200"/>
              <a:gd name="connsiteY81" fmla="*/ 6572074 h 6858000"/>
              <a:gd name="connsiteX82" fmla="*/ 4656686 w 6025200"/>
              <a:gd name="connsiteY82" fmla="*/ 6543019 h 6858000"/>
              <a:gd name="connsiteX83" fmla="*/ 4579999 w 6025200"/>
              <a:gd name="connsiteY83" fmla="*/ 6543019 h 6858000"/>
              <a:gd name="connsiteX84" fmla="*/ 4579999 w 6025200"/>
              <a:gd name="connsiteY84" fmla="*/ 6516596 h 6858000"/>
              <a:gd name="connsiteX85" fmla="*/ 4660485 w 6025200"/>
              <a:gd name="connsiteY85" fmla="*/ 6516596 h 6858000"/>
              <a:gd name="connsiteX86" fmla="*/ 4660485 w 6025200"/>
              <a:gd name="connsiteY86" fmla="*/ 6529905 h 6858000"/>
              <a:gd name="connsiteX87" fmla="*/ 4685726 w 6025200"/>
              <a:gd name="connsiteY87" fmla="*/ 6523954 h 6858000"/>
              <a:gd name="connsiteX88" fmla="*/ 4685726 w 6025200"/>
              <a:gd name="connsiteY88" fmla="*/ 6522074 h 6858000"/>
              <a:gd name="connsiteX89" fmla="*/ 4655249 w 6025200"/>
              <a:gd name="connsiteY89" fmla="*/ 6495162 h 6858000"/>
              <a:gd name="connsiteX90" fmla="*/ 5387421 w 6025200"/>
              <a:gd name="connsiteY90" fmla="*/ 6392873 h 6858000"/>
              <a:gd name="connsiteX91" fmla="*/ 5424323 w 6025200"/>
              <a:gd name="connsiteY91" fmla="*/ 6423591 h 6858000"/>
              <a:gd name="connsiteX92" fmla="*/ 5412895 w 6025200"/>
              <a:gd name="connsiteY92" fmla="*/ 6433349 h 6858000"/>
              <a:gd name="connsiteX93" fmla="*/ 5355995 w 6025200"/>
              <a:gd name="connsiteY93" fmla="*/ 6433349 h 6858000"/>
              <a:gd name="connsiteX94" fmla="*/ 5355995 w 6025200"/>
              <a:gd name="connsiteY94" fmla="*/ 6433342 h 6858000"/>
              <a:gd name="connsiteX95" fmla="*/ 5355995 w 6025200"/>
              <a:gd name="connsiteY95" fmla="*/ 6412396 h 6858000"/>
              <a:gd name="connsiteX96" fmla="*/ 4756732 w 6025200"/>
              <a:gd name="connsiteY96" fmla="*/ 6371439 h 6858000"/>
              <a:gd name="connsiteX97" fmla="*/ 4812691 w 6025200"/>
              <a:gd name="connsiteY97" fmla="*/ 6371439 h 6858000"/>
              <a:gd name="connsiteX98" fmla="*/ 4823885 w 6025200"/>
              <a:gd name="connsiteY98" fmla="*/ 6379534 h 6858000"/>
              <a:gd name="connsiteX99" fmla="*/ 4823885 w 6025200"/>
              <a:gd name="connsiteY99" fmla="*/ 6391203 h 6858000"/>
              <a:gd name="connsiteX100" fmla="*/ 4812691 w 6025200"/>
              <a:gd name="connsiteY100" fmla="*/ 6399298 h 6858000"/>
              <a:gd name="connsiteX101" fmla="*/ 4756732 w 6025200"/>
              <a:gd name="connsiteY101" fmla="*/ 6399298 h 6858000"/>
              <a:gd name="connsiteX102" fmla="*/ 5182505 w 6025200"/>
              <a:gd name="connsiteY102" fmla="*/ 6354060 h 6858000"/>
              <a:gd name="connsiteX103" fmla="*/ 5156068 w 6025200"/>
              <a:gd name="connsiteY103" fmla="*/ 6377879 h 6858000"/>
              <a:gd name="connsiteX104" fmla="*/ 5156068 w 6025200"/>
              <a:gd name="connsiteY104" fmla="*/ 6389074 h 6858000"/>
              <a:gd name="connsiteX105" fmla="*/ 5182505 w 6025200"/>
              <a:gd name="connsiteY105" fmla="*/ 6412878 h 6858000"/>
              <a:gd name="connsiteX106" fmla="*/ 5247741 w 6025200"/>
              <a:gd name="connsiteY106" fmla="*/ 6412878 h 6858000"/>
              <a:gd name="connsiteX107" fmla="*/ 5247741 w 6025200"/>
              <a:gd name="connsiteY107" fmla="*/ 6435983 h 6858000"/>
              <a:gd name="connsiteX108" fmla="*/ 5173680 w 6025200"/>
              <a:gd name="connsiteY108" fmla="*/ 6435983 h 6858000"/>
              <a:gd name="connsiteX109" fmla="*/ 5173680 w 6025200"/>
              <a:gd name="connsiteY109" fmla="*/ 6425375 h 6858000"/>
              <a:gd name="connsiteX110" fmla="*/ 5151787 w 6025200"/>
              <a:gd name="connsiteY110" fmla="*/ 6429430 h 6858000"/>
              <a:gd name="connsiteX111" fmla="*/ 5151787 w 6025200"/>
              <a:gd name="connsiteY111" fmla="*/ 6430980 h 6858000"/>
              <a:gd name="connsiteX112" fmla="*/ 5178209 w 6025200"/>
              <a:gd name="connsiteY112" fmla="*/ 6454784 h 6858000"/>
              <a:gd name="connsiteX113" fmla="*/ 5243701 w 6025200"/>
              <a:gd name="connsiteY113" fmla="*/ 6454784 h 6858000"/>
              <a:gd name="connsiteX114" fmla="*/ 5269890 w 6025200"/>
              <a:gd name="connsiteY114" fmla="*/ 6430980 h 6858000"/>
              <a:gd name="connsiteX115" fmla="*/ 5269890 w 6025200"/>
              <a:gd name="connsiteY115" fmla="*/ 6417166 h 6858000"/>
              <a:gd name="connsiteX116" fmla="*/ 5243701 w 6025200"/>
              <a:gd name="connsiteY116" fmla="*/ 6393362 h 6858000"/>
              <a:gd name="connsiteX117" fmla="*/ 5178209 w 6025200"/>
              <a:gd name="connsiteY117" fmla="*/ 6393362 h 6858000"/>
              <a:gd name="connsiteX118" fmla="*/ 5178209 w 6025200"/>
              <a:gd name="connsiteY118" fmla="*/ 6372154 h 6858000"/>
              <a:gd name="connsiteX119" fmla="*/ 5247500 w 6025200"/>
              <a:gd name="connsiteY119" fmla="*/ 6372154 h 6858000"/>
              <a:gd name="connsiteX120" fmla="*/ 5247500 w 6025200"/>
              <a:gd name="connsiteY120" fmla="*/ 6381565 h 6858000"/>
              <a:gd name="connsiteX121" fmla="*/ 5268686 w 6025200"/>
              <a:gd name="connsiteY121" fmla="*/ 6377051 h 6858000"/>
              <a:gd name="connsiteX122" fmla="*/ 5268686 w 6025200"/>
              <a:gd name="connsiteY122" fmla="*/ 6375968 h 6858000"/>
              <a:gd name="connsiteX123" fmla="*/ 5242264 w 6025200"/>
              <a:gd name="connsiteY123" fmla="*/ 6354060 h 6858000"/>
              <a:gd name="connsiteX124" fmla="*/ 5018171 w 6025200"/>
              <a:gd name="connsiteY124" fmla="*/ 6354060 h 6858000"/>
              <a:gd name="connsiteX125" fmla="*/ 5018171 w 6025200"/>
              <a:gd name="connsiteY125" fmla="*/ 6454776 h 6858000"/>
              <a:gd name="connsiteX126" fmla="*/ 5127464 w 6025200"/>
              <a:gd name="connsiteY126" fmla="*/ 6454776 h 6858000"/>
              <a:gd name="connsiteX127" fmla="*/ 5127464 w 6025200"/>
              <a:gd name="connsiteY127" fmla="*/ 6435967 h 6858000"/>
              <a:gd name="connsiteX128" fmla="*/ 5042938 w 6025200"/>
              <a:gd name="connsiteY128" fmla="*/ 6435967 h 6858000"/>
              <a:gd name="connsiteX129" fmla="*/ 5042938 w 6025200"/>
              <a:gd name="connsiteY129" fmla="*/ 6411200 h 6858000"/>
              <a:gd name="connsiteX130" fmla="*/ 5091510 w 6025200"/>
              <a:gd name="connsiteY130" fmla="*/ 6411200 h 6858000"/>
              <a:gd name="connsiteX131" fmla="*/ 5091510 w 6025200"/>
              <a:gd name="connsiteY131" fmla="*/ 6393821 h 6858000"/>
              <a:gd name="connsiteX132" fmla="*/ 5042938 w 6025200"/>
              <a:gd name="connsiteY132" fmla="*/ 6393821 h 6858000"/>
              <a:gd name="connsiteX133" fmla="*/ 5042938 w 6025200"/>
              <a:gd name="connsiteY133" fmla="*/ 6371913 h 6858000"/>
              <a:gd name="connsiteX134" fmla="*/ 5126283 w 6025200"/>
              <a:gd name="connsiteY134" fmla="*/ 6371913 h 6858000"/>
              <a:gd name="connsiteX135" fmla="*/ 5126283 w 6025200"/>
              <a:gd name="connsiteY135" fmla="*/ 6354060 h 6858000"/>
              <a:gd name="connsiteX136" fmla="*/ 4880462 w 6025200"/>
              <a:gd name="connsiteY136" fmla="*/ 6354060 h 6858000"/>
              <a:gd name="connsiteX137" fmla="*/ 4880462 w 6025200"/>
              <a:gd name="connsiteY137" fmla="*/ 6454776 h 6858000"/>
              <a:gd name="connsiteX138" fmla="*/ 4989755 w 6025200"/>
              <a:gd name="connsiteY138" fmla="*/ 6454776 h 6858000"/>
              <a:gd name="connsiteX139" fmla="*/ 4989755 w 6025200"/>
              <a:gd name="connsiteY139" fmla="*/ 6435967 h 6858000"/>
              <a:gd name="connsiteX140" fmla="*/ 4905229 w 6025200"/>
              <a:gd name="connsiteY140" fmla="*/ 6435967 h 6858000"/>
              <a:gd name="connsiteX141" fmla="*/ 4905229 w 6025200"/>
              <a:gd name="connsiteY141" fmla="*/ 6411200 h 6858000"/>
              <a:gd name="connsiteX142" fmla="*/ 4953801 w 6025200"/>
              <a:gd name="connsiteY142" fmla="*/ 6411200 h 6858000"/>
              <a:gd name="connsiteX143" fmla="*/ 4953801 w 6025200"/>
              <a:gd name="connsiteY143" fmla="*/ 6393821 h 6858000"/>
              <a:gd name="connsiteX144" fmla="*/ 4905229 w 6025200"/>
              <a:gd name="connsiteY144" fmla="*/ 6393821 h 6858000"/>
              <a:gd name="connsiteX145" fmla="*/ 4905229 w 6025200"/>
              <a:gd name="connsiteY145" fmla="*/ 6371913 h 6858000"/>
              <a:gd name="connsiteX146" fmla="*/ 4988574 w 6025200"/>
              <a:gd name="connsiteY146" fmla="*/ 6371913 h 6858000"/>
              <a:gd name="connsiteX147" fmla="*/ 4988574 w 6025200"/>
              <a:gd name="connsiteY147" fmla="*/ 6354060 h 6858000"/>
              <a:gd name="connsiteX148" fmla="*/ 4732446 w 6025200"/>
              <a:gd name="connsiteY148" fmla="*/ 6354060 h 6858000"/>
              <a:gd name="connsiteX149" fmla="*/ 4732446 w 6025200"/>
              <a:gd name="connsiteY149" fmla="*/ 6454776 h 6858000"/>
              <a:gd name="connsiteX150" fmla="*/ 4756739 w 6025200"/>
              <a:gd name="connsiteY150" fmla="*/ 6454776 h 6858000"/>
              <a:gd name="connsiteX151" fmla="*/ 4756739 w 6025200"/>
              <a:gd name="connsiteY151" fmla="*/ 6416670 h 6858000"/>
              <a:gd name="connsiteX152" fmla="*/ 4779836 w 6025200"/>
              <a:gd name="connsiteY152" fmla="*/ 6416670 h 6858000"/>
              <a:gd name="connsiteX153" fmla="*/ 4821982 w 6025200"/>
              <a:gd name="connsiteY153" fmla="*/ 6454776 h 6858000"/>
              <a:gd name="connsiteX154" fmla="*/ 4857229 w 6025200"/>
              <a:gd name="connsiteY154" fmla="*/ 6454776 h 6858000"/>
              <a:gd name="connsiteX155" fmla="*/ 4809358 w 6025200"/>
              <a:gd name="connsiteY155" fmla="*/ 6416670 h 6858000"/>
              <a:gd name="connsiteX156" fmla="*/ 4823171 w 6025200"/>
              <a:gd name="connsiteY156" fmla="*/ 6416670 h 6858000"/>
              <a:gd name="connsiteX157" fmla="*/ 4846749 w 6025200"/>
              <a:gd name="connsiteY157" fmla="*/ 6397395 h 6858000"/>
              <a:gd name="connsiteX158" fmla="*/ 4846749 w 6025200"/>
              <a:gd name="connsiteY158" fmla="*/ 6373583 h 6858000"/>
              <a:gd name="connsiteX159" fmla="*/ 4823171 w 6025200"/>
              <a:gd name="connsiteY159" fmla="*/ 6354060 h 6858000"/>
              <a:gd name="connsiteX160" fmla="*/ 4582625 w 6025200"/>
              <a:gd name="connsiteY160" fmla="*/ 6353819 h 6858000"/>
              <a:gd name="connsiteX161" fmla="*/ 4633340 w 6025200"/>
              <a:gd name="connsiteY161" fmla="*/ 6353819 h 6858000"/>
              <a:gd name="connsiteX162" fmla="*/ 4673824 w 6025200"/>
              <a:gd name="connsiteY162" fmla="*/ 6392158 h 6858000"/>
              <a:gd name="connsiteX163" fmla="*/ 4619527 w 6025200"/>
              <a:gd name="connsiteY163" fmla="*/ 6431686 h 6858000"/>
              <a:gd name="connsiteX164" fmla="*/ 4582625 w 6025200"/>
              <a:gd name="connsiteY164" fmla="*/ 6431686 h 6858000"/>
              <a:gd name="connsiteX165" fmla="*/ 5392190 w 6025200"/>
              <a:gd name="connsiteY165" fmla="*/ 6331911 h 6858000"/>
              <a:gd name="connsiteX166" fmla="*/ 5361713 w 6025200"/>
              <a:gd name="connsiteY166" fmla="*/ 6354293 h 6858000"/>
              <a:gd name="connsiteX167" fmla="*/ 5361713 w 6025200"/>
              <a:gd name="connsiteY167" fmla="*/ 6361192 h 6858000"/>
              <a:gd name="connsiteX168" fmla="*/ 5372193 w 6025200"/>
              <a:gd name="connsiteY168" fmla="*/ 6379767 h 6858000"/>
              <a:gd name="connsiteX169" fmla="*/ 5347178 w 6025200"/>
              <a:gd name="connsiteY169" fmla="*/ 6394776 h 6858000"/>
              <a:gd name="connsiteX170" fmla="*/ 5331943 w 6025200"/>
              <a:gd name="connsiteY170" fmla="*/ 6417633 h 6858000"/>
              <a:gd name="connsiteX171" fmla="*/ 5331943 w 6025200"/>
              <a:gd name="connsiteY171" fmla="*/ 6425728 h 6858000"/>
              <a:gd name="connsiteX172" fmla="*/ 5362654 w 6025200"/>
              <a:gd name="connsiteY172" fmla="*/ 6454776 h 6858000"/>
              <a:gd name="connsiteX173" fmla="*/ 5406470 w 6025200"/>
              <a:gd name="connsiteY173" fmla="*/ 6454776 h 6858000"/>
              <a:gd name="connsiteX174" fmla="*/ 5429567 w 6025200"/>
              <a:gd name="connsiteY174" fmla="*/ 6447388 h 6858000"/>
              <a:gd name="connsiteX175" fmla="*/ 5440521 w 6025200"/>
              <a:gd name="connsiteY175" fmla="*/ 6437630 h 6858000"/>
              <a:gd name="connsiteX176" fmla="*/ 5460759 w 6025200"/>
              <a:gd name="connsiteY176" fmla="*/ 6454776 h 6858000"/>
              <a:gd name="connsiteX177" fmla="*/ 5498150 w 6025200"/>
              <a:gd name="connsiteY177" fmla="*/ 6454776 h 6858000"/>
              <a:gd name="connsiteX178" fmla="*/ 5459337 w 6025200"/>
              <a:gd name="connsiteY178" fmla="*/ 6422147 h 6858000"/>
              <a:gd name="connsiteX179" fmla="*/ 5487670 w 6025200"/>
              <a:gd name="connsiteY179" fmla="*/ 6398583 h 6858000"/>
              <a:gd name="connsiteX180" fmla="*/ 5471472 w 6025200"/>
              <a:gd name="connsiteY180" fmla="*/ 6384537 h 6858000"/>
              <a:gd name="connsiteX181" fmla="*/ 5442898 w 6025200"/>
              <a:gd name="connsiteY181" fmla="*/ 6408341 h 6858000"/>
              <a:gd name="connsiteX182" fmla="*/ 5385036 w 6025200"/>
              <a:gd name="connsiteY182" fmla="*/ 6360244 h 6858000"/>
              <a:gd name="connsiteX183" fmla="*/ 5385036 w 6025200"/>
              <a:gd name="connsiteY183" fmla="*/ 6351434 h 6858000"/>
              <a:gd name="connsiteX184" fmla="*/ 5425286 w 6025200"/>
              <a:gd name="connsiteY184" fmla="*/ 6351434 h 6858000"/>
              <a:gd name="connsiteX185" fmla="*/ 5425286 w 6025200"/>
              <a:gd name="connsiteY185" fmla="*/ 6367873 h 6858000"/>
              <a:gd name="connsiteX186" fmla="*/ 5447420 w 6025200"/>
              <a:gd name="connsiteY186" fmla="*/ 6364066 h 6858000"/>
              <a:gd name="connsiteX187" fmla="*/ 5447420 w 6025200"/>
              <a:gd name="connsiteY187" fmla="*/ 6356678 h 6858000"/>
              <a:gd name="connsiteX188" fmla="*/ 5416942 w 6025200"/>
              <a:gd name="connsiteY188" fmla="*/ 6331911 h 6858000"/>
              <a:gd name="connsiteX189" fmla="*/ 4554051 w 6025200"/>
              <a:gd name="connsiteY189" fmla="*/ 6331911 h 6858000"/>
              <a:gd name="connsiteX190" fmla="*/ 4554051 w 6025200"/>
              <a:gd name="connsiteY190" fmla="*/ 6454776 h 6858000"/>
              <a:gd name="connsiteX191" fmla="*/ 4625727 w 6025200"/>
              <a:gd name="connsiteY191" fmla="*/ 6454776 h 6858000"/>
              <a:gd name="connsiteX192" fmla="*/ 4676209 w 6025200"/>
              <a:gd name="connsiteY192" fmla="*/ 6445259 h 6858000"/>
              <a:gd name="connsiteX193" fmla="*/ 4703346 w 6025200"/>
              <a:gd name="connsiteY193" fmla="*/ 6392632 h 6858000"/>
              <a:gd name="connsiteX194" fmla="*/ 4633100 w 6025200"/>
              <a:gd name="connsiteY194" fmla="*/ 6331911 h 6858000"/>
              <a:gd name="connsiteX195" fmla="*/ 0 w 6025200"/>
              <a:gd name="connsiteY195" fmla="*/ 0 h 6858000"/>
              <a:gd name="connsiteX196" fmla="*/ 6025200 w 6025200"/>
              <a:gd name="connsiteY196" fmla="*/ 0 h 6858000"/>
              <a:gd name="connsiteX197" fmla="*/ 6025200 w 6025200"/>
              <a:gd name="connsiteY197" fmla="*/ 6858000 h 6858000"/>
              <a:gd name="connsiteX198" fmla="*/ 0 w 6025200"/>
              <a:gd name="connsiteY19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</a:cxnLst>
            <a:rect l="l" t="t" r="r" b="b"/>
            <a:pathLst>
              <a:path w="6025200" h="6858000">
                <a:moveTo>
                  <a:pt x="4742543" y="6535879"/>
                </a:moveTo>
                <a:lnTo>
                  <a:pt x="4825368" y="6535879"/>
                </a:lnTo>
                <a:lnTo>
                  <a:pt x="4825368" y="6598745"/>
                </a:lnTo>
                <a:lnTo>
                  <a:pt x="4742543" y="6598745"/>
                </a:lnTo>
                <a:close/>
                <a:moveTo>
                  <a:pt x="5396456" y="6534690"/>
                </a:moveTo>
                <a:lnTo>
                  <a:pt x="5452415" y="6534690"/>
                </a:lnTo>
                <a:cubicBezTo>
                  <a:pt x="5459787" y="6534690"/>
                  <a:pt x="5463609" y="6536127"/>
                  <a:pt x="5463609" y="6542786"/>
                </a:cubicBezTo>
                <a:lnTo>
                  <a:pt x="5463609" y="6554455"/>
                </a:lnTo>
                <a:cubicBezTo>
                  <a:pt x="5463609" y="6561128"/>
                  <a:pt x="5459787" y="6562550"/>
                  <a:pt x="5452415" y="6562550"/>
                </a:cubicBezTo>
                <a:lnTo>
                  <a:pt x="5396456" y="6562550"/>
                </a:lnTo>
                <a:close/>
                <a:moveTo>
                  <a:pt x="4743506" y="6517318"/>
                </a:moveTo>
                <a:cubicBezTo>
                  <a:pt x="4723358" y="6517318"/>
                  <a:pt x="4716790" y="6521832"/>
                  <a:pt x="4716790" y="6541122"/>
                </a:cubicBezTo>
                <a:lnTo>
                  <a:pt x="4716790" y="6594223"/>
                </a:lnTo>
                <a:cubicBezTo>
                  <a:pt x="4716790" y="6613272"/>
                  <a:pt x="4723102" y="6618042"/>
                  <a:pt x="4743506" y="6618042"/>
                </a:cubicBezTo>
                <a:lnTo>
                  <a:pt x="4822930" y="6618042"/>
                </a:lnTo>
                <a:cubicBezTo>
                  <a:pt x="4843086" y="6618042"/>
                  <a:pt x="4849646" y="6613272"/>
                  <a:pt x="4849646" y="6594223"/>
                </a:cubicBezTo>
                <a:lnTo>
                  <a:pt x="4849646" y="6541122"/>
                </a:lnTo>
                <a:cubicBezTo>
                  <a:pt x="4849646" y="6521832"/>
                  <a:pt x="4843078" y="6517318"/>
                  <a:pt x="4822930" y="6517318"/>
                </a:cubicBezTo>
                <a:close/>
                <a:moveTo>
                  <a:pt x="5372185" y="6517311"/>
                </a:moveTo>
                <a:lnTo>
                  <a:pt x="5372185" y="6618035"/>
                </a:lnTo>
                <a:lnTo>
                  <a:pt x="5396463" y="6618035"/>
                </a:lnTo>
                <a:lnTo>
                  <a:pt x="5396463" y="6579929"/>
                </a:lnTo>
                <a:lnTo>
                  <a:pt x="5419560" y="6579929"/>
                </a:lnTo>
                <a:lnTo>
                  <a:pt x="5461706" y="6618035"/>
                </a:lnTo>
                <a:lnTo>
                  <a:pt x="5496953" y="6618035"/>
                </a:lnTo>
                <a:lnTo>
                  <a:pt x="5449097" y="6579929"/>
                </a:lnTo>
                <a:lnTo>
                  <a:pt x="5462910" y="6579929"/>
                </a:lnTo>
                <a:cubicBezTo>
                  <a:pt x="5479092" y="6579929"/>
                  <a:pt x="5486480" y="6574452"/>
                  <a:pt x="5486480" y="6560639"/>
                </a:cubicBezTo>
                <a:lnTo>
                  <a:pt x="5486480" y="6536835"/>
                </a:lnTo>
                <a:cubicBezTo>
                  <a:pt x="5486480" y="6522788"/>
                  <a:pt x="5479092" y="6517311"/>
                  <a:pt x="5462910" y="6517311"/>
                </a:cubicBezTo>
                <a:close/>
                <a:moveTo>
                  <a:pt x="5234845" y="6517311"/>
                </a:moveTo>
                <a:lnTo>
                  <a:pt x="5234845" y="6618035"/>
                </a:lnTo>
                <a:lnTo>
                  <a:pt x="5346319" y="6618035"/>
                </a:lnTo>
                <a:lnTo>
                  <a:pt x="5346319" y="6599219"/>
                </a:lnTo>
                <a:lnTo>
                  <a:pt x="5260109" y="6599219"/>
                </a:lnTo>
                <a:lnTo>
                  <a:pt x="5260109" y="6574452"/>
                </a:lnTo>
                <a:lnTo>
                  <a:pt x="5309658" y="6574452"/>
                </a:lnTo>
                <a:lnTo>
                  <a:pt x="5309658" y="6557073"/>
                </a:lnTo>
                <a:lnTo>
                  <a:pt x="5260109" y="6557073"/>
                </a:lnTo>
                <a:lnTo>
                  <a:pt x="5260109" y="6535179"/>
                </a:lnTo>
                <a:lnTo>
                  <a:pt x="5345108" y="6535179"/>
                </a:lnTo>
                <a:lnTo>
                  <a:pt x="5345108" y="6517311"/>
                </a:lnTo>
                <a:close/>
                <a:moveTo>
                  <a:pt x="5058654" y="6517311"/>
                </a:moveTo>
                <a:lnTo>
                  <a:pt x="5058654" y="6618035"/>
                </a:lnTo>
                <a:lnTo>
                  <a:pt x="5081623" y="6618035"/>
                </a:lnTo>
                <a:lnTo>
                  <a:pt x="5081623" y="6550414"/>
                </a:lnTo>
                <a:lnTo>
                  <a:pt x="5128005" y="6605892"/>
                </a:lnTo>
                <a:lnTo>
                  <a:pt x="5132865" y="6605892"/>
                </a:lnTo>
                <a:lnTo>
                  <a:pt x="5178758" y="6548737"/>
                </a:lnTo>
                <a:lnTo>
                  <a:pt x="5178758" y="6618035"/>
                </a:lnTo>
                <a:lnTo>
                  <a:pt x="5202073" y="6618035"/>
                </a:lnTo>
                <a:lnTo>
                  <a:pt x="5202073" y="6517311"/>
                </a:lnTo>
                <a:lnTo>
                  <a:pt x="5181925" y="6517311"/>
                </a:lnTo>
                <a:lnTo>
                  <a:pt x="5131887" y="6577070"/>
                </a:lnTo>
                <a:lnTo>
                  <a:pt x="5081623" y="6517311"/>
                </a:lnTo>
                <a:close/>
                <a:moveTo>
                  <a:pt x="4881335" y="6517311"/>
                </a:moveTo>
                <a:lnTo>
                  <a:pt x="4881335" y="6618035"/>
                </a:lnTo>
                <a:lnTo>
                  <a:pt x="4904296" y="6618035"/>
                </a:lnTo>
                <a:lnTo>
                  <a:pt x="4904296" y="6550414"/>
                </a:lnTo>
                <a:lnTo>
                  <a:pt x="4950678" y="6605892"/>
                </a:lnTo>
                <a:lnTo>
                  <a:pt x="4955531" y="6605892"/>
                </a:lnTo>
                <a:lnTo>
                  <a:pt x="5001439" y="6548737"/>
                </a:lnTo>
                <a:lnTo>
                  <a:pt x="5001439" y="6618035"/>
                </a:lnTo>
                <a:lnTo>
                  <a:pt x="5024754" y="6618035"/>
                </a:lnTo>
                <a:lnTo>
                  <a:pt x="5024754" y="6517311"/>
                </a:lnTo>
                <a:lnTo>
                  <a:pt x="5004599" y="6517311"/>
                </a:lnTo>
                <a:lnTo>
                  <a:pt x="4954568" y="6577070"/>
                </a:lnTo>
                <a:lnTo>
                  <a:pt x="4904296" y="6517311"/>
                </a:lnTo>
                <a:close/>
                <a:moveTo>
                  <a:pt x="4585477" y="6495162"/>
                </a:moveTo>
                <a:cubicBezTo>
                  <a:pt x="4562380" y="6495162"/>
                  <a:pt x="4554999" y="6501113"/>
                  <a:pt x="4554999" y="6524218"/>
                </a:cubicBezTo>
                <a:lnTo>
                  <a:pt x="4554999" y="6537775"/>
                </a:lnTo>
                <a:cubicBezTo>
                  <a:pt x="4554999" y="6560879"/>
                  <a:pt x="4562387" y="6566830"/>
                  <a:pt x="4585477" y="6566830"/>
                </a:cubicBezTo>
                <a:lnTo>
                  <a:pt x="4662155" y="6566830"/>
                </a:lnTo>
                <a:lnTo>
                  <a:pt x="4662155" y="6594930"/>
                </a:lnTo>
                <a:lnTo>
                  <a:pt x="4575252" y="6594930"/>
                </a:lnTo>
                <a:lnTo>
                  <a:pt x="4575252" y="6581704"/>
                </a:lnTo>
                <a:lnTo>
                  <a:pt x="4549996" y="6586948"/>
                </a:lnTo>
                <a:lnTo>
                  <a:pt x="4549996" y="6588979"/>
                </a:lnTo>
                <a:cubicBezTo>
                  <a:pt x="4549996" y="6612076"/>
                  <a:pt x="4557617" y="6618027"/>
                  <a:pt x="4580714" y="6618027"/>
                </a:cubicBezTo>
                <a:lnTo>
                  <a:pt x="4656686" y="6618027"/>
                </a:lnTo>
                <a:cubicBezTo>
                  <a:pt x="4679783" y="6618027"/>
                  <a:pt x="4687404" y="6612076"/>
                  <a:pt x="4687404" y="6588979"/>
                </a:cubicBezTo>
                <a:lnTo>
                  <a:pt x="4687404" y="6572074"/>
                </a:lnTo>
                <a:cubicBezTo>
                  <a:pt x="4687404" y="6548970"/>
                  <a:pt x="4679783" y="6543019"/>
                  <a:pt x="4656686" y="6543019"/>
                </a:cubicBezTo>
                <a:lnTo>
                  <a:pt x="4579999" y="6543019"/>
                </a:lnTo>
                <a:lnTo>
                  <a:pt x="4579999" y="6516596"/>
                </a:lnTo>
                <a:lnTo>
                  <a:pt x="4660485" y="6516596"/>
                </a:lnTo>
                <a:lnTo>
                  <a:pt x="4660485" y="6529905"/>
                </a:lnTo>
                <a:lnTo>
                  <a:pt x="4685726" y="6523954"/>
                </a:lnTo>
                <a:lnTo>
                  <a:pt x="4685726" y="6522074"/>
                </a:lnTo>
                <a:cubicBezTo>
                  <a:pt x="4685726" y="6500872"/>
                  <a:pt x="4677157" y="6495162"/>
                  <a:pt x="4655249" y="6495162"/>
                </a:cubicBezTo>
                <a:close/>
                <a:moveTo>
                  <a:pt x="5387421" y="6392873"/>
                </a:moveTo>
                <a:lnTo>
                  <a:pt x="5424323" y="6423591"/>
                </a:lnTo>
                <a:lnTo>
                  <a:pt x="5412895" y="6433349"/>
                </a:lnTo>
                <a:lnTo>
                  <a:pt x="5355995" y="6433349"/>
                </a:lnTo>
                <a:lnTo>
                  <a:pt x="5355995" y="6433342"/>
                </a:lnTo>
                <a:lnTo>
                  <a:pt x="5355995" y="6412396"/>
                </a:lnTo>
                <a:close/>
                <a:moveTo>
                  <a:pt x="4756732" y="6371439"/>
                </a:moveTo>
                <a:lnTo>
                  <a:pt x="4812691" y="6371439"/>
                </a:lnTo>
                <a:cubicBezTo>
                  <a:pt x="4820064" y="6371439"/>
                  <a:pt x="4823885" y="6372876"/>
                  <a:pt x="4823885" y="6379534"/>
                </a:cubicBezTo>
                <a:lnTo>
                  <a:pt x="4823885" y="6391203"/>
                </a:lnTo>
                <a:cubicBezTo>
                  <a:pt x="4823885" y="6397876"/>
                  <a:pt x="4820064" y="6399298"/>
                  <a:pt x="4812691" y="6399298"/>
                </a:cubicBezTo>
                <a:lnTo>
                  <a:pt x="4756732" y="6399298"/>
                </a:lnTo>
                <a:close/>
                <a:moveTo>
                  <a:pt x="5182505" y="6354060"/>
                </a:moveTo>
                <a:cubicBezTo>
                  <a:pt x="5162741" y="6354060"/>
                  <a:pt x="5156068" y="6358830"/>
                  <a:pt x="5156068" y="6377879"/>
                </a:cubicBezTo>
                <a:lnTo>
                  <a:pt x="5156068" y="6389074"/>
                </a:lnTo>
                <a:cubicBezTo>
                  <a:pt x="5156068" y="6408123"/>
                  <a:pt x="5162741" y="6412878"/>
                  <a:pt x="5182505" y="6412878"/>
                </a:cubicBezTo>
                <a:lnTo>
                  <a:pt x="5247741" y="6412878"/>
                </a:lnTo>
                <a:lnTo>
                  <a:pt x="5247741" y="6435983"/>
                </a:lnTo>
                <a:lnTo>
                  <a:pt x="5173680" y="6435983"/>
                </a:lnTo>
                <a:lnTo>
                  <a:pt x="5173680" y="6425375"/>
                </a:lnTo>
                <a:lnTo>
                  <a:pt x="5151787" y="6429430"/>
                </a:lnTo>
                <a:lnTo>
                  <a:pt x="5151787" y="6430980"/>
                </a:lnTo>
                <a:cubicBezTo>
                  <a:pt x="5151787" y="6449796"/>
                  <a:pt x="5158212" y="6454784"/>
                  <a:pt x="5178209" y="6454784"/>
                </a:cubicBezTo>
                <a:lnTo>
                  <a:pt x="5243701" y="6454784"/>
                </a:lnTo>
                <a:cubicBezTo>
                  <a:pt x="5263698" y="6454784"/>
                  <a:pt x="5269890" y="6449796"/>
                  <a:pt x="5269890" y="6430980"/>
                </a:cubicBezTo>
                <a:lnTo>
                  <a:pt x="5269890" y="6417166"/>
                </a:lnTo>
                <a:cubicBezTo>
                  <a:pt x="5269890" y="6398117"/>
                  <a:pt x="5263706" y="6393362"/>
                  <a:pt x="5243701" y="6393362"/>
                </a:cubicBezTo>
                <a:lnTo>
                  <a:pt x="5178209" y="6393362"/>
                </a:lnTo>
                <a:lnTo>
                  <a:pt x="5178209" y="6372154"/>
                </a:lnTo>
                <a:lnTo>
                  <a:pt x="5247500" y="6372154"/>
                </a:lnTo>
                <a:lnTo>
                  <a:pt x="5247500" y="6381565"/>
                </a:lnTo>
                <a:lnTo>
                  <a:pt x="5268686" y="6377051"/>
                </a:lnTo>
                <a:lnTo>
                  <a:pt x="5268686" y="6375968"/>
                </a:lnTo>
                <a:cubicBezTo>
                  <a:pt x="5268686" y="6358356"/>
                  <a:pt x="5260839" y="6354060"/>
                  <a:pt x="5242264" y="6354060"/>
                </a:cubicBezTo>
                <a:close/>
                <a:moveTo>
                  <a:pt x="5018171" y="6354060"/>
                </a:moveTo>
                <a:lnTo>
                  <a:pt x="5018171" y="6454776"/>
                </a:lnTo>
                <a:lnTo>
                  <a:pt x="5127464" y="6454776"/>
                </a:lnTo>
                <a:lnTo>
                  <a:pt x="5127464" y="6435967"/>
                </a:lnTo>
                <a:lnTo>
                  <a:pt x="5042938" y="6435967"/>
                </a:lnTo>
                <a:lnTo>
                  <a:pt x="5042938" y="6411200"/>
                </a:lnTo>
                <a:lnTo>
                  <a:pt x="5091510" y="6411200"/>
                </a:lnTo>
                <a:lnTo>
                  <a:pt x="5091510" y="6393821"/>
                </a:lnTo>
                <a:lnTo>
                  <a:pt x="5042938" y="6393821"/>
                </a:lnTo>
                <a:lnTo>
                  <a:pt x="5042938" y="6371913"/>
                </a:lnTo>
                <a:lnTo>
                  <a:pt x="5126283" y="6371913"/>
                </a:lnTo>
                <a:lnTo>
                  <a:pt x="5126283" y="6354060"/>
                </a:lnTo>
                <a:close/>
                <a:moveTo>
                  <a:pt x="4880462" y="6354060"/>
                </a:moveTo>
                <a:lnTo>
                  <a:pt x="4880462" y="6454776"/>
                </a:lnTo>
                <a:lnTo>
                  <a:pt x="4989755" y="6454776"/>
                </a:lnTo>
                <a:lnTo>
                  <a:pt x="4989755" y="6435967"/>
                </a:lnTo>
                <a:lnTo>
                  <a:pt x="4905229" y="6435967"/>
                </a:lnTo>
                <a:lnTo>
                  <a:pt x="4905229" y="6411200"/>
                </a:lnTo>
                <a:lnTo>
                  <a:pt x="4953801" y="6411200"/>
                </a:lnTo>
                <a:lnTo>
                  <a:pt x="4953801" y="6393821"/>
                </a:lnTo>
                <a:lnTo>
                  <a:pt x="4905229" y="6393821"/>
                </a:lnTo>
                <a:lnTo>
                  <a:pt x="4905229" y="6371913"/>
                </a:lnTo>
                <a:lnTo>
                  <a:pt x="4988574" y="6371913"/>
                </a:lnTo>
                <a:lnTo>
                  <a:pt x="4988574" y="6354060"/>
                </a:lnTo>
                <a:close/>
                <a:moveTo>
                  <a:pt x="4732446" y="6354060"/>
                </a:moveTo>
                <a:lnTo>
                  <a:pt x="4732446" y="6454776"/>
                </a:lnTo>
                <a:lnTo>
                  <a:pt x="4756739" y="6454776"/>
                </a:lnTo>
                <a:lnTo>
                  <a:pt x="4756739" y="6416670"/>
                </a:lnTo>
                <a:lnTo>
                  <a:pt x="4779836" y="6416670"/>
                </a:lnTo>
                <a:lnTo>
                  <a:pt x="4821982" y="6454776"/>
                </a:lnTo>
                <a:lnTo>
                  <a:pt x="4857229" y="6454776"/>
                </a:lnTo>
                <a:lnTo>
                  <a:pt x="4809358" y="6416670"/>
                </a:lnTo>
                <a:lnTo>
                  <a:pt x="4823171" y="6416670"/>
                </a:lnTo>
                <a:cubicBezTo>
                  <a:pt x="4839369" y="6416670"/>
                  <a:pt x="4846749" y="6411193"/>
                  <a:pt x="4846749" y="6397395"/>
                </a:cubicBezTo>
                <a:lnTo>
                  <a:pt x="4846749" y="6373583"/>
                </a:lnTo>
                <a:cubicBezTo>
                  <a:pt x="4846749" y="6359537"/>
                  <a:pt x="4839361" y="6354060"/>
                  <a:pt x="4823171" y="6354060"/>
                </a:cubicBezTo>
                <a:close/>
                <a:moveTo>
                  <a:pt x="4582625" y="6353819"/>
                </a:moveTo>
                <a:lnTo>
                  <a:pt x="4633340" y="6353819"/>
                </a:lnTo>
                <a:cubicBezTo>
                  <a:pt x="4660252" y="6353819"/>
                  <a:pt x="4673824" y="6367158"/>
                  <a:pt x="4673824" y="6392158"/>
                </a:cubicBezTo>
                <a:cubicBezTo>
                  <a:pt x="4673824" y="6422636"/>
                  <a:pt x="4655723" y="6431686"/>
                  <a:pt x="4619527" y="6431686"/>
                </a:cubicBezTo>
                <a:lnTo>
                  <a:pt x="4582625" y="6431686"/>
                </a:lnTo>
                <a:close/>
                <a:moveTo>
                  <a:pt x="5392190" y="6331911"/>
                </a:moveTo>
                <a:cubicBezTo>
                  <a:pt x="5371230" y="6331911"/>
                  <a:pt x="5361713" y="6336681"/>
                  <a:pt x="5361713" y="6354293"/>
                </a:cubicBezTo>
                <a:lnTo>
                  <a:pt x="5361713" y="6361192"/>
                </a:lnTo>
                <a:cubicBezTo>
                  <a:pt x="5361713" y="6368339"/>
                  <a:pt x="5365046" y="6373816"/>
                  <a:pt x="5372193" y="6379767"/>
                </a:cubicBezTo>
                <a:lnTo>
                  <a:pt x="5347178" y="6394776"/>
                </a:lnTo>
                <a:cubicBezTo>
                  <a:pt x="5336472" y="6401202"/>
                  <a:pt x="5331943" y="6405008"/>
                  <a:pt x="5331943" y="6417633"/>
                </a:cubicBezTo>
                <a:lnTo>
                  <a:pt x="5331943" y="6425728"/>
                </a:lnTo>
                <a:cubicBezTo>
                  <a:pt x="5331943" y="6448825"/>
                  <a:pt x="5339564" y="6454776"/>
                  <a:pt x="5362654" y="6454776"/>
                </a:cubicBezTo>
                <a:lnTo>
                  <a:pt x="5406470" y="6454776"/>
                </a:lnTo>
                <a:cubicBezTo>
                  <a:pt x="5416702" y="6454776"/>
                  <a:pt x="5421705" y="6454302"/>
                  <a:pt x="5429567" y="6447388"/>
                </a:cubicBezTo>
                <a:lnTo>
                  <a:pt x="5440521" y="6437630"/>
                </a:lnTo>
                <a:lnTo>
                  <a:pt x="5460759" y="6454776"/>
                </a:lnTo>
                <a:lnTo>
                  <a:pt x="5498150" y="6454776"/>
                </a:lnTo>
                <a:lnTo>
                  <a:pt x="5459337" y="6422147"/>
                </a:lnTo>
                <a:lnTo>
                  <a:pt x="5487670" y="6398583"/>
                </a:lnTo>
                <a:lnTo>
                  <a:pt x="5471472" y="6384537"/>
                </a:lnTo>
                <a:lnTo>
                  <a:pt x="5442898" y="6408341"/>
                </a:lnTo>
                <a:lnTo>
                  <a:pt x="5385036" y="6360244"/>
                </a:lnTo>
                <a:lnTo>
                  <a:pt x="5385036" y="6351434"/>
                </a:lnTo>
                <a:lnTo>
                  <a:pt x="5425286" y="6351434"/>
                </a:lnTo>
                <a:lnTo>
                  <a:pt x="5425286" y="6367873"/>
                </a:lnTo>
                <a:lnTo>
                  <a:pt x="5447420" y="6364066"/>
                </a:lnTo>
                <a:lnTo>
                  <a:pt x="5447420" y="6356678"/>
                </a:lnTo>
                <a:cubicBezTo>
                  <a:pt x="5447420" y="6336681"/>
                  <a:pt x="5439084" y="6331911"/>
                  <a:pt x="5416942" y="6331911"/>
                </a:cubicBezTo>
                <a:close/>
                <a:moveTo>
                  <a:pt x="4554051" y="6331911"/>
                </a:moveTo>
                <a:lnTo>
                  <a:pt x="4554051" y="6454776"/>
                </a:lnTo>
                <a:lnTo>
                  <a:pt x="4625727" y="6454776"/>
                </a:lnTo>
                <a:cubicBezTo>
                  <a:pt x="4647620" y="6454776"/>
                  <a:pt x="4664292" y="6452632"/>
                  <a:pt x="4676209" y="6445259"/>
                </a:cubicBezTo>
                <a:cubicBezTo>
                  <a:pt x="4693355" y="6434779"/>
                  <a:pt x="4703346" y="6415729"/>
                  <a:pt x="4703346" y="6392632"/>
                </a:cubicBezTo>
                <a:cubicBezTo>
                  <a:pt x="4703346" y="6354534"/>
                  <a:pt x="4679068" y="6331911"/>
                  <a:pt x="4633100" y="6331911"/>
                </a:cubicBezTo>
                <a:close/>
                <a:moveTo>
                  <a:pt x="0" y="0"/>
                </a:moveTo>
                <a:lnTo>
                  <a:pt x="6025200" y="0"/>
                </a:lnTo>
                <a:lnTo>
                  <a:pt x="60252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36" name="logo drees&amp;sommer white">
            <a:extLst>
              <a:ext uri="{FF2B5EF4-FFF2-40B4-BE49-F238E27FC236}">
                <a16:creationId xmlns:a16="http://schemas.microsoft.com/office/drawing/2014/main" id="{58D9E566-0030-4B7F-9084-265EDE84DE2D}"/>
              </a:ext>
            </a:extLst>
          </p:cNvPr>
          <p:cNvSpPr>
            <a:spLocks noGrp="1"/>
          </p:cNvSpPr>
          <p:nvPr>
            <p:ph type="media" sz="quarter" idx="20"/>
          </p:nvPr>
        </p:nvSpPr>
        <p:spPr bwMode="gray">
          <a:xfrm>
            <a:off x="10716797" y="6330042"/>
            <a:ext cx="946800" cy="2880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15875" cap="flat">
            <a:noFill/>
            <a:prstDash val="lgDash"/>
          </a:ln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de-DE"/>
              <a:t>Mediaclip durch Klicken auf Symbol hinzufügen</a:t>
            </a:r>
            <a:endParaRPr lang="de-DE" dirty="0"/>
          </a:p>
        </p:txBody>
      </p:sp>
      <p:sp>
        <p:nvSpPr>
          <p:cNvPr id="12" name="info">
            <a:extLst>
              <a:ext uri="{FF2B5EF4-FFF2-40B4-BE49-F238E27FC236}">
                <a16:creationId xmlns:a16="http://schemas.microsoft.com/office/drawing/2014/main" id="{9E77869E-35B5-4B1F-AAA9-427D489FE3D3}"/>
              </a:ext>
            </a:extLst>
          </p:cNvPr>
          <p:cNvSpPr/>
          <p:nvPr/>
        </p:nvSpPr>
        <p:spPr bwMode="gray">
          <a:xfrm flipH="1">
            <a:off x="12247320" y="6288645"/>
            <a:ext cx="1579616" cy="370793"/>
          </a:xfrm>
          <a:prstGeom prst="homePlate">
            <a:avLst/>
          </a:prstGeom>
          <a:solidFill>
            <a:srgbClr val="0029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36000" rtlCol="0" anchor="ctr">
            <a:spAutoFit/>
          </a:bodyPr>
          <a:lstStyle/>
          <a:p>
            <a:pPr algn="ctr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sz="1050" dirty="0">
                <a:solidFill>
                  <a:schemeClr val="bg1"/>
                </a:solidFill>
              </a:rPr>
              <a:t>delete the white logo </a:t>
            </a:r>
            <a:br>
              <a:rPr lang="en-US" sz="1050" dirty="0">
                <a:solidFill>
                  <a:schemeClr val="bg1"/>
                </a:solidFill>
              </a:rPr>
            </a:br>
            <a:r>
              <a:rPr lang="en-US" sz="1050" dirty="0">
                <a:solidFill>
                  <a:schemeClr val="bg1"/>
                </a:solidFill>
              </a:rPr>
              <a:t>to get the BLUE LOGO</a:t>
            </a:r>
            <a:endParaRPr lang="de-DE" sz="1050" dirty="0">
              <a:solidFill>
                <a:schemeClr val="bg1"/>
              </a:solidFill>
            </a:endParaRPr>
          </a:p>
        </p:txBody>
      </p:sp>
      <p:grpSp>
        <p:nvGrpSpPr>
          <p:cNvPr id="3" name="info">
            <a:extLst>
              <a:ext uri="{FF2B5EF4-FFF2-40B4-BE49-F238E27FC236}">
                <a16:creationId xmlns:a16="http://schemas.microsoft.com/office/drawing/2014/main" id="{4EFF346B-DFB7-D046-8E19-46804A435A61}"/>
              </a:ext>
            </a:extLst>
          </p:cNvPr>
          <p:cNvGrpSpPr/>
          <p:nvPr/>
        </p:nvGrpSpPr>
        <p:grpSpPr>
          <a:xfrm>
            <a:off x="12247320" y="3143250"/>
            <a:ext cx="1579616" cy="2823211"/>
            <a:chOff x="12399720" y="2598103"/>
            <a:chExt cx="1579616" cy="2823211"/>
          </a:xfrm>
          <a:solidFill>
            <a:srgbClr val="002965"/>
          </a:solidFill>
        </p:grpSpPr>
        <p:sp>
          <p:nvSpPr>
            <p:cNvPr id="8" name="info">
              <a:extLst>
                <a:ext uri="{FF2B5EF4-FFF2-40B4-BE49-F238E27FC236}">
                  <a16:creationId xmlns:a16="http://schemas.microsoft.com/office/drawing/2014/main" id="{B75DE2CF-7519-4412-AA51-EEE258165682}"/>
                </a:ext>
              </a:extLst>
            </p:cNvPr>
            <p:cNvSpPr/>
            <p:nvPr userDrawn="1"/>
          </p:nvSpPr>
          <p:spPr bwMode="gray">
            <a:xfrm flipH="1">
              <a:off x="12399720" y="4947928"/>
              <a:ext cx="1579616" cy="473385"/>
            </a:xfrm>
            <a:prstGeom prst="homePlat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36000" rtlCol="0" anchor="ctr">
              <a:spAutoFit/>
            </a:bodyPr>
            <a:lstStyle/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 dirty="0">
                <a:solidFill>
                  <a:schemeClr val="tx2"/>
                </a:solidFill>
              </a:endParaRPr>
            </a:p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 dirty="0">
                <a:solidFill>
                  <a:schemeClr val="tx2"/>
                </a:solidFill>
              </a:endParaRPr>
            </a:p>
          </p:txBody>
        </p:sp>
        <p:sp>
          <p:nvSpPr>
            <p:cNvPr id="9" name="info">
              <a:extLst>
                <a:ext uri="{FF2B5EF4-FFF2-40B4-BE49-F238E27FC236}">
                  <a16:creationId xmlns:a16="http://schemas.microsoft.com/office/drawing/2014/main" id="{5C63A5DE-2BB5-1503-6126-4B6120DD4679}"/>
                </a:ext>
              </a:extLst>
            </p:cNvPr>
            <p:cNvSpPr/>
            <p:nvPr userDrawn="1"/>
          </p:nvSpPr>
          <p:spPr bwMode="gray">
            <a:xfrm flipH="1">
              <a:off x="12634899" y="2598103"/>
              <a:ext cx="1344423" cy="28232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36000" rtlCol="0" anchor="t">
              <a:noAutofit/>
            </a:bodyPr>
            <a:lstStyle/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b="1" cap="all" dirty="0">
                  <a:solidFill>
                    <a:schemeClr val="bg1"/>
                  </a:solidFill>
                </a:rPr>
                <a:t>image credit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b="1" dirty="0">
                  <a:solidFill>
                    <a:schemeClr val="bg1"/>
                  </a:solidFill>
                </a:rPr>
                <a:t>Always include</a:t>
              </a:r>
              <a:br>
                <a:rPr lang="en-US" sz="1050" b="1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redit!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How to get 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redit </a:t>
              </a:r>
              <a:r>
                <a:rPr lang="en-US" sz="1050" b="1" dirty="0">
                  <a:solidFill>
                    <a:schemeClr val="bg1"/>
                  </a:solidFill>
                </a:rPr>
                <a:t>placeholder</a:t>
              </a:r>
              <a:r>
                <a:rPr lang="en-US" sz="1050" dirty="0">
                  <a:solidFill>
                    <a:schemeClr val="bg1"/>
                  </a:solidFill>
                </a:rPr>
                <a:t>: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&gt; empower menu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&gt; text elements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&gt; depending on 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hoose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“</a:t>
              </a:r>
              <a:r>
                <a:rPr lang="en-US" sz="1050" b="1" dirty="0">
                  <a:solidFill>
                    <a:schemeClr val="bg1"/>
                  </a:solidFill>
                </a:rPr>
                <a:t>Copyright right grey</a:t>
              </a:r>
              <a:r>
                <a:rPr lang="en-US" sz="1050" dirty="0">
                  <a:solidFill>
                    <a:schemeClr val="bg1"/>
                  </a:solidFill>
                </a:rPr>
                <a:t>” 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or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“</a:t>
              </a:r>
              <a:r>
                <a:rPr lang="en-US" sz="1050" b="1" dirty="0">
                  <a:solidFill>
                    <a:schemeClr val="bg1"/>
                  </a:solidFill>
                </a:rPr>
                <a:t>Copyright right white</a:t>
              </a:r>
              <a:r>
                <a:rPr lang="en-US" sz="1050" dirty="0">
                  <a:solidFill>
                    <a:schemeClr val="bg1"/>
                  </a:solidFill>
                </a:rPr>
                <a:t>”</a:t>
              </a:r>
            </a:p>
          </p:txBody>
        </p:sp>
      </p:grp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E0C95456-1757-CC1D-14D6-3A8319EF92A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763200" y="6386400"/>
            <a:ext cx="5116900" cy="180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D55ED23-40BD-1723-C41D-29EF8723723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9829449A-3FF3-45CE-9F4F-09BADC0910C6}" type="slidenum">
              <a:rPr lang="de-DE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62643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644">
          <p15:clr>
            <a:srgbClr val="FBAE40"/>
          </p15:clr>
        </p15:guide>
        <p15:guide id="2" pos="3704">
          <p15:clr>
            <a:srgbClr val="FBAE40"/>
          </p15:clr>
        </p15:guide>
        <p15:guide id="3" pos="388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Full Picture 2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logo drees&amp;sommer blue mask">
            <a:extLst>
              <a:ext uri="{FF2B5EF4-FFF2-40B4-BE49-F238E27FC236}">
                <a16:creationId xmlns:a16="http://schemas.microsoft.com/office/drawing/2014/main" id="{30573451-C3D8-4D01-84C3-D375C7D33197}"/>
              </a:ext>
            </a:extLst>
          </p:cNvPr>
          <p:cNvSpPr/>
          <p:nvPr/>
        </p:nvSpPr>
        <p:spPr bwMode="gray">
          <a:xfrm>
            <a:off x="10579100" y="6197600"/>
            <a:ext cx="1270000" cy="584200"/>
          </a:xfrm>
          <a:prstGeom prst="rect">
            <a:avLst/>
          </a:prstGeom>
          <a:solidFill>
            <a:srgbClr val="0029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de-DE" sz="1400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FFCB50B-5503-4467-8A0F-9FBB8B48B97D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25600" y="673200"/>
            <a:ext cx="7236000" cy="288000"/>
          </a:xfrm>
        </p:spPr>
        <p:txBody>
          <a:bodyPr lIns="0" tIns="0" rIns="0" bIns="0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MIO_CONVERT_SLIDES_SUBTITLE">
            <a:extLst>
              <a:ext uri="{FF2B5EF4-FFF2-40B4-BE49-F238E27FC236}">
                <a16:creationId xmlns:a16="http://schemas.microsoft.com/office/drawing/2014/main" id="{7086919D-8D03-4875-B9F0-05F0C85640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25600" y="1022400"/>
            <a:ext cx="7236000" cy="5040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2000"/>
            </a:lvl1pPr>
          </a:lstStyle>
          <a:p>
            <a:pPr lvl="0"/>
            <a:r>
              <a:rPr lang="de-DE" dirty="0" err="1"/>
              <a:t>Subtitle</a:t>
            </a:r>
            <a:endParaRPr lang="en-US" dirty="0"/>
          </a:p>
        </p:txBody>
      </p:sp>
      <p:sp>
        <p:nvSpPr>
          <p:cNvPr id="7" name="content">
            <a:extLst>
              <a:ext uri="{FF2B5EF4-FFF2-40B4-BE49-F238E27FC236}">
                <a16:creationId xmlns:a16="http://schemas.microsoft.com/office/drawing/2014/main" id="{5ACBB9A0-3E08-4278-AF60-F20CD65CA5C6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25599" y="1602000"/>
            <a:ext cx="7236000" cy="44964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3" name="picture">
            <a:extLst>
              <a:ext uri="{FF2B5EF4-FFF2-40B4-BE49-F238E27FC236}">
                <a16:creationId xmlns:a16="http://schemas.microsoft.com/office/drawing/2014/main" id="{8E094460-BD2F-463B-A397-6EBBC121720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8046865" y="0"/>
            <a:ext cx="4145135" cy="6858000"/>
          </a:xfrm>
          <a:custGeom>
            <a:avLst/>
            <a:gdLst>
              <a:gd name="connsiteX0" fmla="*/ 2862478 w 4145135"/>
              <a:gd name="connsiteY0" fmla="*/ 6535879 h 6858000"/>
              <a:gd name="connsiteX1" fmla="*/ 2945303 w 4145135"/>
              <a:gd name="connsiteY1" fmla="*/ 6535879 h 6858000"/>
              <a:gd name="connsiteX2" fmla="*/ 2945303 w 4145135"/>
              <a:gd name="connsiteY2" fmla="*/ 6598745 h 6858000"/>
              <a:gd name="connsiteX3" fmla="*/ 2862478 w 4145135"/>
              <a:gd name="connsiteY3" fmla="*/ 6598745 h 6858000"/>
              <a:gd name="connsiteX4" fmla="*/ 3516391 w 4145135"/>
              <a:gd name="connsiteY4" fmla="*/ 6534690 h 6858000"/>
              <a:gd name="connsiteX5" fmla="*/ 3572350 w 4145135"/>
              <a:gd name="connsiteY5" fmla="*/ 6534690 h 6858000"/>
              <a:gd name="connsiteX6" fmla="*/ 3583544 w 4145135"/>
              <a:gd name="connsiteY6" fmla="*/ 6542786 h 6858000"/>
              <a:gd name="connsiteX7" fmla="*/ 3583544 w 4145135"/>
              <a:gd name="connsiteY7" fmla="*/ 6554455 h 6858000"/>
              <a:gd name="connsiteX8" fmla="*/ 3572350 w 4145135"/>
              <a:gd name="connsiteY8" fmla="*/ 6562550 h 6858000"/>
              <a:gd name="connsiteX9" fmla="*/ 3516391 w 4145135"/>
              <a:gd name="connsiteY9" fmla="*/ 6562550 h 6858000"/>
              <a:gd name="connsiteX10" fmla="*/ 2863441 w 4145135"/>
              <a:gd name="connsiteY10" fmla="*/ 6517318 h 6858000"/>
              <a:gd name="connsiteX11" fmla="*/ 2836725 w 4145135"/>
              <a:gd name="connsiteY11" fmla="*/ 6541122 h 6858000"/>
              <a:gd name="connsiteX12" fmla="*/ 2836725 w 4145135"/>
              <a:gd name="connsiteY12" fmla="*/ 6594223 h 6858000"/>
              <a:gd name="connsiteX13" fmla="*/ 2863441 w 4145135"/>
              <a:gd name="connsiteY13" fmla="*/ 6618042 h 6858000"/>
              <a:gd name="connsiteX14" fmla="*/ 2942865 w 4145135"/>
              <a:gd name="connsiteY14" fmla="*/ 6618042 h 6858000"/>
              <a:gd name="connsiteX15" fmla="*/ 2969581 w 4145135"/>
              <a:gd name="connsiteY15" fmla="*/ 6594223 h 6858000"/>
              <a:gd name="connsiteX16" fmla="*/ 2969581 w 4145135"/>
              <a:gd name="connsiteY16" fmla="*/ 6541122 h 6858000"/>
              <a:gd name="connsiteX17" fmla="*/ 2942865 w 4145135"/>
              <a:gd name="connsiteY17" fmla="*/ 6517318 h 6858000"/>
              <a:gd name="connsiteX18" fmla="*/ 3492120 w 4145135"/>
              <a:gd name="connsiteY18" fmla="*/ 6517311 h 6858000"/>
              <a:gd name="connsiteX19" fmla="*/ 3492120 w 4145135"/>
              <a:gd name="connsiteY19" fmla="*/ 6618035 h 6858000"/>
              <a:gd name="connsiteX20" fmla="*/ 3516398 w 4145135"/>
              <a:gd name="connsiteY20" fmla="*/ 6618035 h 6858000"/>
              <a:gd name="connsiteX21" fmla="*/ 3516398 w 4145135"/>
              <a:gd name="connsiteY21" fmla="*/ 6579929 h 6858000"/>
              <a:gd name="connsiteX22" fmla="*/ 3539495 w 4145135"/>
              <a:gd name="connsiteY22" fmla="*/ 6579929 h 6858000"/>
              <a:gd name="connsiteX23" fmla="*/ 3581641 w 4145135"/>
              <a:gd name="connsiteY23" fmla="*/ 6618035 h 6858000"/>
              <a:gd name="connsiteX24" fmla="*/ 3616888 w 4145135"/>
              <a:gd name="connsiteY24" fmla="*/ 6618035 h 6858000"/>
              <a:gd name="connsiteX25" fmla="*/ 3569032 w 4145135"/>
              <a:gd name="connsiteY25" fmla="*/ 6579929 h 6858000"/>
              <a:gd name="connsiteX26" fmla="*/ 3582845 w 4145135"/>
              <a:gd name="connsiteY26" fmla="*/ 6579929 h 6858000"/>
              <a:gd name="connsiteX27" fmla="*/ 3606415 w 4145135"/>
              <a:gd name="connsiteY27" fmla="*/ 6560639 h 6858000"/>
              <a:gd name="connsiteX28" fmla="*/ 3606415 w 4145135"/>
              <a:gd name="connsiteY28" fmla="*/ 6536835 h 6858000"/>
              <a:gd name="connsiteX29" fmla="*/ 3582845 w 4145135"/>
              <a:gd name="connsiteY29" fmla="*/ 6517311 h 6858000"/>
              <a:gd name="connsiteX30" fmla="*/ 3354780 w 4145135"/>
              <a:gd name="connsiteY30" fmla="*/ 6517311 h 6858000"/>
              <a:gd name="connsiteX31" fmla="*/ 3354780 w 4145135"/>
              <a:gd name="connsiteY31" fmla="*/ 6618035 h 6858000"/>
              <a:gd name="connsiteX32" fmla="*/ 3466254 w 4145135"/>
              <a:gd name="connsiteY32" fmla="*/ 6618035 h 6858000"/>
              <a:gd name="connsiteX33" fmla="*/ 3466254 w 4145135"/>
              <a:gd name="connsiteY33" fmla="*/ 6599219 h 6858000"/>
              <a:gd name="connsiteX34" fmla="*/ 3380044 w 4145135"/>
              <a:gd name="connsiteY34" fmla="*/ 6599219 h 6858000"/>
              <a:gd name="connsiteX35" fmla="*/ 3380044 w 4145135"/>
              <a:gd name="connsiteY35" fmla="*/ 6574452 h 6858000"/>
              <a:gd name="connsiteX36" fmla="*/ 3429593 w 4145135"/>
              <a:gd name="connsiteY36" fmla="*/ 6574452 h 6858000"/>
              <a:gd name="connsiteX37" fmla="*/ 3429593 w 4145135"/>
              <a:gd name="connsiteY37" fmla="*/ 6557073 h 6858000"/>
              <a:gd name="connsiteX38" fmla="*/ 3380044 w 4145135"/>
              <a:gd name="connsiteY38" fmla="*/ 6557073 h 6858000"/>
              <a:gd name="connsiteX39" fmla="*/ 3380044 w 4145135"/>
              <a:gd name="connsiteY39" fmla="*/ 6535179 h 6858000"/>
              <a:gd name="connsiteX40" fmla="*/ 3465043 w 4145135"/>
              <a:gd name="connsiteY40" fmla="*/ 6535179 h 6858000"/>
              <a:gd name="connsiteX41" fmla="*/ 3465043 w 4145135"/>
              <a:gd name="connsiteY41" fmla="*/ 6517311 h 6858000"/>
              <a:gd name="connsiteX42" fmla="*/ 3178589 w 4145135"/>
              <a:gd name="connsiteY42" fmla="*/ 6517311 h 6858000"/>
              <a:gd name="connsiteX43" fmla="*/ 3178589 w 4145135"/>
              <a:gd name="connsiteY43" fmla="*/ 6618035 h 6858000"/>
              <a:gd name="connsiteX44" fmla="*/ 3201558 w 4145135"/>
              <a:gd name="connsiteY44" fmla="*/ 6618035 h 6858000"/>
              <a:gd name="connsiteX45" fmla="*/ 3201558 w 4145135"/>
              <a:gd name="connsiteY45" fmla="*/ 6550414 h 6858000"/>
              <a:gd name="connsiteX46" fmla="*/ 3247940 w 4145135"/>
              <a:gd name="connsiteY46" fmla="*/ 6605892 h 6858000"/>
              <a:gd name="connsiteX47" fmla="*/ 3252800 w 4145135"/>
              <a:gd name="connsiteY47" fmla="*/ 6605892 h 6858000"/>
              <a:gd name="connsiteX48" fmla="*/ 3298693 w 4145135"/>
              <a:gd name="connsiteY48" fmla="*/ 6548737 h 6858000"/>
              <a:gd name="connsiteX49" fmla="*/ 3298693 w 4145135"/>
              <a:gd name="connsiteY49" fmla="*/ 6618035 h 6858000"/>
              <a:gd name="connsiteX50" fmla="*/ 3322008 w 4145135"/>
              <a:gd name="connsiteY50" fmla="*/ 6618035 h 6858000"/>
              <a:gd name="connsiteX51" fmla="*/ 3322008 w 4145135"/>
              <a:gd name="connsiteY51" fmla="*/ 6517311 h 6858000"/>
              <a:gd name="connsiteX52" fmla="*/ 3301860 w 4145135"/>
              <a:gd name="connsiteY52" fmla="*/ 6517311 h 6858000"/>
              <a:gd name="connsiteX53" fmla="*/ 3251822 w 4145135"/>
              <a:gd name="connsiteY53" fmla="*/ 6577070 h 6858000"/>
              <a:gd name="connsiteX54" fmla="*/ 3201558 w 4145135"/>
              <a:gd name="connsiteY54" fmla="*/ 6517311 h 6858000"/>
              <a:gd name="connsiteX55" fmla="*/ 3001270 w 4145135"/>
              <a:gd name="connsiteY55" fmla="*/ 6517311 h 6858000"/>
              <a:gd name="connsiteX56" fmla="*/ 3001270 w 4145135"/>
              <a:gd name="connsiteY56" fmla="*/ 6618035 h 6858000"/>
              <a:gd name="connsiteX57" fmla="*/ 3024231 w 4145135"/>
              <a:gd name="connsiteY57" fmla="*/ 6618035 h 6858000"/>
              <a:gd name="connsiteX58" fmla="*/ 3024231 w 4145135"/>
              <a:gd name="connsiteY58" fmla="*/ 6550414 h 6858000"/>
              <a:gd name="connsiteX59" fmla="*/ 3070613 w 4145135"/>
              <a:gd name="connsiteY59" fmla="*/ 6605892 h 6858000"/>
              <a:gd name="connsiteX60" fmla="*/ 3075466 w 4145135"/>
              <a:gd name="connsiteY60" fmla="*/ 6605892 h 6858000"/>
              <a:gd name="connsiteX61" fmla="*/ 3121374 w 4145135"/>
              <a:gd name="connsiteY61" fmla="*/ 6548737 h 6858000"/>
              <a:gd name="connsiteX62" fmla="*/ 3121374 w 4145135"/>
              <a:gd name="connsiteY62" fmla="*/ 6618035 h 6858000"/>
              <a:gd name="connsiteX63" fmla="*/ 3144689 w 4145135"/>
              <a:gd name="connsiteY63" fmla="*/ 6618035 h 6858000"/>
              <a:gd name="connsiteX64" fmla="*/ 3144689 w 4145135"/>
              <a:gd name="connsiteY64" fmla="*/ 6517311 h 6858000"/>
              <a:gd name="connsiteX65" fmla="*/ 3124534 w 4145135"/>
              <a:gd name="connsiteY65" fmla="*/ 6517311 h 6858000"/>
              <a:gd name="connsiteX66" fmla="*/ 3074503 w 4145135"/>
              <a:gd name="connsiteY66" fmla="*/ 6577070 h 6858000"/>
              <a:gd name="connsiteX67" fmla="*/ 3024231 w 4145135"/>
              <a:gd name="connsiteY67" fmla="*/ 6517311 h 6858000"/>
              <a:gd name="connsiteX68" fmla="*/ 2705412 w 4145135"/>
              <a:gd name="connsiteY68" fmla="*/ 6495162 h 6858000"/>
              <a:gd name="connsiteX69" fmla="*/ 2674934 w 4145135"/>
              <a:gd name="connsiteY69" fmla="*/ 6524218 h 6858000"/>
              <a:gd name="connsiteX70" fmla="*/ 2674934 w 4145135"/>
              <a:gd name="connsiteY70" fmla="*/ 6537775 h 6858000"/>
              <a:gd name="connsiteX71" fmla="*/ 2705412 w 4145135"/>
              <a:gd name="connsiteY71" fmla="*/ 6566830 h 6858000"/>
              <a:gd name="connsiteX72" fmla="*/ 2782090 w 4145135"/>
              <a:gd name="connsiteY72" fmla="*/ 6566830 h 6858000"/>
              <a:gd name="connsiteX73" fmla="*/ 2782090 w 4145135"/>
              <a:gd name="connsiteY73" fmla="*/ 6594930 h 6858000"/>
              <a:gd name="connsiteX74" fmla="*/ 2695187 w 4145135"/>
              <a:gd name="connsiteY74" fmla="*/ 6594930 h 6858000"/>
              <a:gd name="connsiteX75" fmla="*/ 2695187 w 4145135"/>
              <a:gd name="connsiteY75" fmla="*/ 6581704 h 6858000"/>
              <a:gd name="connsiteX76" fmla="*/ 2669931 w 4145135"/>
              <a:gd name="connsiteY76" fmla="*/ 6586948 h 6858000"/>
              <a:gd name="connsiteX77" fmla="*/ 2669931 w 4145135"/>
              <a:gd name="connsiteY77" fmla="*/ 6588979 h 6858000"/>
              <a:gd name="connsiteX78" fmla="*/ 2700649 w 4145135"/>
              <a:gd name="connsiteY78" fmla="*/ 6618027 h 6858000"/>
              <a:gd name="connsiteX79" fmla="*/ 2776621 w 4145135"/>
              <a:gd name="connsiteY79" fmla="*/ 6618027 h 6858000"/>
              <a:gd name="connsiteX80" fmla="*/ 2807339 w 4145135"/>
              <a:gd name="connsiteY80" fmla="*/ 6588979 h 6858000"/>
              <a:gd name="connsiteX81" fmla="*/ 2807339 w 4145135"/>
              <a:gd name="connsiteY81" fmla="*/ 6572074 h 6858000"/>
              <a:gd name="connsiteX82" fmla="*/ 2776621 w 4145135"/>
              <a:gd name="connsiteY82" fmla="*/ 6543019 h 6858000"/>
              <a:gd name="connsiteX83" fmla="*/ 2699934 w 4145135"/>
              <a:gd name="connsiteY83" fmla="*/ 6543019 h 6858000"/>
              <a:gd name="connsiteX84" fmla="*/ 2699934 w 4145135"/>
              <a:gd name="connsiteY84" fmla="*/ 6516596 h 6858000"/>
              <a:gd name="connsiteX85" fmla="*/ 2780420 w 4145135"/>
              <a:gd name="connsiteY85" fmla="*/ 6516596 h 6858000"/>
              <a:gd name="connsiteX86" fmla="*/ 2780420 w 4145135"/>
              <a:gd name="connsiteY86" fmla="*/ 6529905 h 6858000"/>
              <a:gd name="connsiteX87" fmla="*/ 2805661 w 4145135"/>
              <a:gd name="connsiteY87" fmla="*/ 6523954 h 6858000"/>
              <a:gd name="connsiteX88" fmla="*/ 2805661 w 4145135"/>
              <a:gd name="connsiteY88" fmla="*/ 6522074 h 6858000"/>
              <a:gd name="connsiteX89" fmla="*/ 2775184 w 4145135"/>
              <a:gd name="connsiteY89" fmla="*/ 6495162 h 6858000"/>
              <a:gd name="connsiteX90" fmla="*/ 3507356 w 4145135"/>
              <a:gd name="connsiteY90" fmla="*/ 6392873 h 6858000"/>
              <a:gd name="connsiteX91" fmla="*/ 3544258 w 4145135"/>
              <a:gd name="connsiteY91" fmla="*/ 6423591 h 6858000"/>
              <a:gd name="connsiteX92" fmla="*/ 3532830 w 4145135"/>
              <a:gd name="connsiteY92" fmla="*/ 6433349 h 6858000"/>
              <a:gd name="connsiteX93" fmla="*/ 3475930 w 4145135"/>
              <a:gd name="connsiteY93" fmla="*/ 6433349 h 6858000"/>
              <a:gd name="connsiteX94" fmla="*/ 3475930 w 4145135"/>
              <a:gd name="connsiteY94" fmla="*/ 6433342 h 6858000"/>
              <a:gd name="connsiteX95" fmla="*/ 3475930 w 4145135"/>
              <a:gd name="connsiteY95" fmla="*/ 6412396 h 6858000"/>
              <a:gd name="connsiteX96" fmla="*/ 2876667 w 4145135"/>
              <a:gd name="connsiteY96" fmla="*/ 6371439 h 6858000"/>
              <a:gd name="connsiteX97" fmla="*/ 2932626 w 4145135"/>
              <a:gd name="connsiteY97" fmla="*/ 6371439 h 6858000"/>
              <a:gd name="connsiteX98" fmla="*/ 2943820 w 4145135"/>
              <a:gd name="connsiteY98" fmla="*/ 6379534 h 6858000"/>
              <a:gd name="connsiteX99" fmla="*/ 2943820 w 4145135"/>
              <a:gd name="connsiteY99" fmla="*/ 6391203 h 6858000"/>
              <a:gd name="connsiteX100" fmla="*/ 2932626 w 4145135"/>
              <a:gd name="connsiteY100" fmla="*/ 6399298 h 6858000"/>
              <a:gd name="connsiteX101" fmla="*/ 2876667 w 4145135"/>
              <a:gd name="connsiteY101" fmla="*/ 6399298 h 6858000"/>
              <a:gd name="connsiteX102" fmla="*/ 3302440 w 4145135"/>
              <a:gd name="connsiteY102" fmla="*/ 6354060 h 6858000"/>
              <a:gd name="connsiteX103" fmla="*/ 3276003 w 4145135"/>
              <a:gd name="connsiteY103" fmla="*/ 6377879 h 6858000"/>
              <a:gd name="connsiteX104" fmla="*/ 3276003 w 4145135"/>
              <a:gd name="connsiteY104" fmla="*/ 6389074 h 6858000"/>
              <a:gd name="connsiteX105" fmla="*/ 3302440 w 4145135"/>
              <a:gd name="connsiteY105" fmla="*/ 6412878 h 6858000"/>
              <a:gd name="connsiteX106" fmla="*/ 3367676 w 4145135"/>
              <a:gd name="connsiteY106" fmla="*/ 6412878 h 6858000"/>
              <a:gd name="connsiteX107" fmla="*/ 3367676 w 4145135"/>
              <a:gd name="connsiteY107" fmla="*/ 6435983 h 6858000"/>
              <a:gd name="connsiteX108" fmla="*/ 3293615 w 4145135"/>
              <a:gd name="connsiteY108" fmla="*/ 6435983 h 6858000"/>
              <a:gd name="connsiteX109" fmla="*/ 3293615 w 4145135"/>
              <a:gd name="connsiteY109" fmla="*/ 6425375 h 6858000"/>
              <a:gd name="connsiteX110" fmla="*/ 3271722 w 4145135"/>
              <a:gd name="connsiteY110" fmla="*/ 6429430 h 6858000"/>
              <a:gd name="connsiteX111" fmla="*/ 3271722 w 4145135"/>
              <a:gd name="connsiteY111" fmla="*/ 6430980 h 6858000"/>
              <a:gd name="connsiteX112" fmla="*/ 3298144 w 4145135"/>
              <a:gd name="connsiteY112" fmla="*/ 6454784 h 6858000"/>
              <a:gd name="connsiteX113" fmla="*/ 3363636 w 4145135"/>
              <a:gd name="connsiteY113" fmla="*/ 6454784 h 6858000"/>
              <a:gd name="connsiteX114" fmla="*/ 3389825 w 4145135"/>
              <a:gd name="connsiteY114" fmla="*/ 6430980 h 6858000"/>
              <a:gd name="connsiteX115" fmla="*/ 3389825 w 4145135"/>
              <a:gd name="connsiteY115" fmla="*/ 6417166 h 6858000"/>
              <a:gd name="connsiteX116" fmla="*/ 3363636 w 4145135"/>
              <a:gd name="connsiteY116" fmla="*/ 6393362 h 6858000"/>
              <a:gd name="connsiteX117" fmla="*/ 3298144 w 4145135"/>
              <a:gd name="connsiteY117" fmla="*/ 6393362 h 6858000"/>
              <a:gd name="connsiteX118" fmla="*/ 3298144 w 4145135"/>
              <a:gd name="connsiteY118" fmla="*/ 6372154 h 6858000"/>
              <a:gd name="connsiteX119" fmla="*/ 3367435 w 4145135"/>
              <a:gd name="connsiteY119" fmla="*/ 6372154 h 6858000"/>
              <a:gd name="connsiteX120" fmla="*/ 3367435 w 4145135"/>
              <a:gd name="connsiteY120" fmla="*/ 6381565 h 6858000"/>
              <a:gd name="connsiteX121" fmla="*/ 3388621 w 4145135"/>
              <a:gd name="connsiteY121" fmla="*/ 6377051 h 6858000"/>
              <a:gd name="connsiteX122" fmla="*/ 3388621 w 4145135"/>
              <a:gd name="connsiteY122" fmla="*/ 6375968 h 6858000"/>
              <a:gd name="connsiteX123" fmla="*/ 3362199 w 4145135"/>
              <a:gd name="connsiteY123" fmla="*/ 6354060 h 6858000"/>
              <a:gd name="connsiteX124" fmla="*/ 3138106 w 4145135"/>
              <a:gd name="connsiteY124" fmla="*/ 6354060 h 6858000"/>
              <a:gd name="connsiteX125" fmla="*/ 3138106 w 4145135"/>
              <a:gd name="connsiteY125" fmla="*/ 6454776 h 6858000"/>
              <a:gd name="connsiteX126" fmla="*/ 3247399 w 4145135"/>
              <a:gd name="connsiteY126" fmla="*/ 6454776 h 6858000"/>
              <a:gd name="connsiteX127" fmla="*/ 3247399 w 4145135"/>
              <a:gd name="connsiteY127" fmla="*/ 6435967 h 6858000"/>
              <a:gd name="connsiteX128" fmla="*/ 3162873 w 4145135"/>
              <a:gd name="connsiteY128" fmla="*/ 6435967 h 6858000"/>
              <a:gd name="connsiteX129" fmla="*/ 3162873 w 4145135"/>
              <a:gd name="connsiteY129" fmla="*/ 6411200 h 6858000"/>
              <a:gd name="connsiteX130" fmla="*/ 3211445 w 4145135"/>
              <a:gd name="connsiteY130" fmla="*/ 6411200 h 6858000"/>
              <a:gd name="connsiteX131" fmla="*/ 3211445 w 4145135"/>
              <a:gd name="connsiteY131" fmla="*/ 6393821 h 6858000"/>
              <a:gd name="connsiteX132" fmla="*/ 3162873 w 4145135"/>
              <a:gd name="connsiteY132" fmla="*/ 6393821 h 6858000"/>
              <a:gd name="connsiteX133" fmla="*/ 3162873 w 4145135"/>
              <a:gd name="connsiteY133" fmla="*/ 6371913 h 6858000"/>
              <a:gd name="connsiteX134" fmla="*/ 3246218 w 4145135"/>
              <a:gd name="connsiteY134" fmla="*/ 6371913 h 6858000"/>
              <a:gd name="connsiteX135" fmla="*/ 3246218 w 4145135"/>
              <a:gd name="connsiteY135" fmla="*/ 6354060 h 6858000"/>
              <a:gd name="connsiteX136" fmla="*/ 3000397 w 4145135"/>
              <a:gd name="connsiteY136" fmla="*/ 6354060 h 6858000"/>
              <a:gd name="connsiteX137" fmla="*/ 3000397 w 4145135"/>
              <a:gd name="connsiteY137" fmla="*/ 6454776 h 6858000"/>
              <a:gd name="connsiteX138" fmla="*/ 3109690 w 4145135"/>
              <a:gd name="connsiteY138" fmla="*/ 6454776 h 6858000"/>
              <a:gd name="connsiteX139" fmla="*/ 3109690 w 4145135"/>
              <a:gd name="connsiteY139" fmla="*/ 6435967 h 6858000"/>
              <a:gd name="connsiteX140" fmla="*/ 3025164 w 4145135"/>
              <a:gd name="connsiteY140" fmla="*/ 6435967 h 6858000"/>
              <a:gd name="connsiteX141" fmla="*/ 3025164 w 4145135"/>
              <a:gd name="connsiteY141" fmla="*/ 6411200 h 6858000"/>
              <a:gd name="connsiteX142" fmla="*/ 3073736 w 4145135"/>
              <a:gd name="connsiteY142" fmla="*/ 6411200 h 6858000"/>
              <a:gd name="connsiteX143" fmla="*/ 3073736 w 4145135"/>
              <a:gd name="connsiteY143" fmla="*/ 6393821 h 6858000"/>
              <a:gd name="connsiteX144" fmla="*/ 3025164 w 4145135"/>
              <a:gd name="connsiteY144" fmla="*/ 6393821 h 6858000"/>
              <a:gd name="connsiteX145" fmla="*/ 3025164 w 4145135"/>
              <a:gd name="connsiteY145" fmla="*/ 6371913 h 6858000"/>
              <a:gd name="connsiteX146" fmla="*/ 3108509 w 4145135"/>
              <a:gd name="connsiteY146" fmla="*/ 6371913 h 6858000"/>
              <a:gd name="connsiteX147" fmla="*/ 3108509 w 4145135"/>
              <a:gd name="connsiteY147" fmla="*/ 6354060 h 6858000"/>
              <a:gd name="connsiteX148" fmla="*/ 2852381 w 4145135"/>
              <a:gd name="connsiteY148" fmla="*/ 6354060 h 6858000"/>
              <a:gd name="connsiteX149" fmla="*/ 2852381 w 4145135"/>
              <a:gd name="connsiteY149" fmla="*/ 6454776 h 6858000"/>
              <a:gd name="connsiteX150" fmla="*/ 2876674 w 4145135"/>
              <a:gd name="connsiteY150" fmla="*/ 6454776 h 6858000"/>
              <a:gd name="connsiteX151" fmla="*/ 2876674 w 4145135"/>
              <a:gd name="connsiteY151" fmla="*/ 6416670 h 6858000"/>
              <a:gd name="connsiteX152" fmla="*/ 2899771 w 4145135"/>
              <a:gd name="connsiteY152" fmla="*/ 6416670 h 6858000"/>
              <a:gd name="connsiteX153" fmla="*/ 2941917 w 4145135"/>
              <a:gd name="connsiteY153" fmla="*/ 6454776 h 6858000"/>
              <a:gd name="connsiteX154" fmla="*/ 2977164 w 4145135"/>
              <a:gd name="connsiteY154" fmla="*/ 6454776 h 6858000"/>
              <a:gd name="connsiteX155" fmla="*/ 2929293 w 4145135"/>
              <a:gd name="connsiteY155" fmla="*/ 6416670 h 6858000"/>
              <a:gd name="connsiteX156" fmla="*/ 2943106 w 4145135"/>
              <a:gd name="connsiteY156" fmla="*/ 6416670 h 6858000"/>
              <a:gd name="connsiteX157" fmla="*/ 2966684 w 4145135"/>
              <a:gd name="connsiteY157" fmla="*/ 6397395 h 6858000"/>
              <a:gd name="connsiteX158" fmla="*/ 2966684 w 4145135"/>
              <a:gd name="connsiteY158" fmla="*/ 6373583 h 6858000"/>
              <a:gd name="connsiteX159" fmla="*/ 2943106 w 4145135"/>
              <a:gd name="connsiteY159" fmla="*/ 6354060 h 6858000"/>
              <a:gd name="connsiteX160" fmla="*/ 2702560 w 4145135"/>
              <a:gd name="connsiteY160" fmla="*/ 6353819 h 6858000"/>
              <a:gd name="connsiteX161" fmla="*/ 2753275 w 4145135"/>
              <a:gd name="connsiteY161" fmla="*/ 6353819 h 6858000"/>
              <a:gd name="connsiteX162" fmla="*/ 2793759 w 4145135"/>
              <a:gd name="connsiteY162" fmla="*/ 6392158 h 6858000"/>
              <a:gd name="connsiteX163" fmla="*/ 2739462 w 4145135"/>
              <a:gd name="connsiteY163" fmla="*/ 6431686 h 6858000"/>
              <a:gd name="connsiteX164" fmla="*/ 2702560 w 4145135"/>
              <a:gd name="connsiteY164" fmla="*/ 6431686 h 6858000"/>
              <a:gd name="connsiteX165" fmla="*/ 3512125 w 4145135"/>
              <a:gd name="connsiteY165" fmla="*/ 6331911 h 6858000"/>
              <a:gd name="connsiteX166" fmla="*/ 3481648 w 4145135"/>
              <a:gd name="connsiteY166" fmla="*/ 6354293 h 6858000"/>
              <a:gd name="connsiteX167" fmla="*/ 3481648 w 4145135"/>
              <a:gd name="connsiteY167" fmla="*/ 6361192 h 6858000"/>
              <a:gd name="connsiteX168" fmla="*/ 3492128 w 4145135"/>
              <a:gd name="connsiteY168" fmla="*/ 6379767 h 6858000"/>
              <a:gd name="connsiteX169" fmla="*/ 3467113 w 4145135"/>
              <a:gd name="connsiteY169" fmla="*/ 6394776 h 6858000"/>
              <a:gd name="connsiteX170" fmla="*/ 3451878 w 4145135"/>
              <a:gd name="connsiteY170" fmla="*/ 6417633 h 6858000"/>
              <a:gd name="connsiteX171" fmla="*/ 3451878 w 4145135"/>
              <a:gd name="connsiteY171" fmla="*/ 6425728 h 6858000"/>
              <a:gd name="connsiteX172" fmla="*/ 3482589 w 4145135"/>
              <a:gd name="connsiteY172" fmla="*/ 6454776 h 6858000"/>
              <a:gd name="connsiteX173" fmla="*/ 3526405 w 4145135"/>
              <a:gd name="connsiteY173" fmla="*/ 6454776 h 6858000"/>
              <a:gd name="connsiteX174" fmla="*/ 3549502 w 4145135"/>
              <a:gd name="connsiteY174" fmla="*/ 6447388 h 6858000"/>
              <a:gd name="connsiteX175" fmla="*/ 3560456 w 4145135"/>
              <a:gd name="connsiteY175" fmla="*/ 6437630 h 6858000"/>
              <a:gd name="connsiteX176" fmla="*/ 3580694 w 4145135"/>
              <a:gd name="connsiteY176" fmla="*/ 6454776 h 6858000"/>
              <a:gd name="connsiteX177" fmla="*/ 3618085 w 4145135"/>
              <a:gd name="connsiteY177" fmla="*/ 6454776 h 6858000"/>
              <a:gd name="connsiteX178" fmla="*/ 3579272 w 4145135"/>
              <a:gd name="connsiteY178" fmla="*/ 6422147 h 6858000"/>
              <a:gd name="connsiteX179" fmla="*/ 3607605 w 4145135"/>
              <a:gd name="connsiteY179" fmla="*/ 6398583 h 6858000"/>
              <a:gd name="connsiteX180" fmla="*/ 3591407 w 4145135"/>
              <a:gd name="connsiteY180" fmla="*/ 6384537 h 6858000"/>
              <a:gd name="connsiteX181" fmla="*/ 3562833 w 4145135"/>
              <a:gd name="connsiteY181" fmla="*/ 6408341 h 6858000"/>
              <a:gd name="connsiteX182" fmla="*/ 3504971 w 4145135"/>
              <a:gd name="connsiteY182" fmla="*/ 6360244 h 6858000"/>
              <a:gd name="connsiteX183" fmla="*/ 3504971 w 4145135"/>
              <a:gd name="connsiteY183" fmla="*/ 6351434 h 6858000"/>
              <a:gd name="connsiteX184" fmla="*/ 3545221 w 4145135"/>
              <a:gd name="connsiteY184" fmla="*/ 6351434 h 6858000"/>
              <a:gd name="connsiteX185" fmla="*/ 3545221 w 4145135"/>
              <a:gd name="connsiteY185" fmla="*/ 6367873 h 6858000"/>
              <a:gd name="connsiteX186" fmla="*/ 3567355 w 4145135"/>
              <a:gd name="connsiteY186" fmla="*/ 6364066 h 6858000"/>
              <a:gd name="connsiteX187" fmla="*/ 3567355 w 4145135"/>
              <a:gd name="connsiteY187" fmla="*/ 6356678 h 6858000"/>
              <a:gd name="connsiteX188" fmla="*/ 3536877 w 4145135"/>
              <a:gd name="connsiteY188" fmla="*/ 6331911 h 6858000"/>
              <a:gd name="connsiteX189" fmla="*/ 2673986 w 4145135"/>
              <a:gd name="connsiteY189" fmla="*/ 6331911 h 6858000"/>
              <a:gd name="connsiteX190" fmla="*/ 2673986 w 4145135"/>
              <a:gd name="connsiteY190" fmla="*/ 6454776 h 6858000"/>
              <a:gd name="connsiteX191" fmla="*/ 2745662 w 4145135"/>
              <a:gd name="connsiteY191" fmla="*/ 6454776 h 6858000"/>
              <a:gd name="connsiteX192" fmla="*/ 2796144 w 4145135"/>
              <a:gd name="connsiteY192" fmla="*/ 6445259 h 6858000"/>
              <a:gd name="connsiteX193" fmla="*/ 2823281 w 4145135"/>
              <a:gd name="connsiteY193" fmla="*/ 6392632 h 6858000"/>
              <a:gd name="connsiteX194" fmla="*/ 2753035 w 4145135"/>
              <a:gd name="connsiteY194" fmla="*/ 6331911 h 6858000"/>
              <a:gd name="connsiteX195" fmla="*/ 0 w 4145135"/>
              <a:gd name="connsiteY195" fmla="*/ 0 h 6858000"/>
              <a:gd name="connsiteX196" fmla="*/ 4145135 w 4145135"/>
              <a:gd name="connsiteY196" fmla="*/ 0 h 6858000"/>
              <a:gd name="connsiteX197" fmla="*/ 4145135 w 4145135"/>
              <a:gd name="connsiteY197" fmla="*/ 6858000 h 6858000"/>
              <a:gd name="connsiteX198" fmla="*/ 0 w 4145135"/>
              <a:gd name="connsiteY19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</a:cxnLst>
            <a:rect l="l" t="t" r="r" b="b"/>
            <a:pathLst>
              <a:path w="4145135" h="6858000">
                <a:moveTo>
                  <a:pt x="2862478" y="6535879"/>
                </a:moveTo>
                <a:lnTo>
                  <a:pt x="2945303" y="6535879"/>
                </a:lnTo>
                <a:lnTo>
                  <a:pt x="2945303" y="6598745"/>
                </a:lnTo>
                <a:lnTo>
                  <a:pt x="2862478" y="6598745"/>
                </a:lnTo>
                <a:close/>
                <a:moveTo>
                  <a:pt x="3516391" y="6534690"/>
                </a:moveTo>
                <a:lnTo>
                  <a:pt x="3572350" y="6534690"/>
                </a:lnTo>
                <a:cubicBezTo>
                  <a:pt x="3579722" y="6534690"/>
                  <a:pt x="3583544" y="6536127"/>
                  <a:pt x="3583544" y="6542786"/>
                </a:cubicBezTo>
                <a:lnTo>
                  <a:pt x="3583544" y="6554455"/>
                </a:lnTo>
                <a:cubicBezTo>
                  <a:pt x="3583544" y="6561128"/>
                  <a:pt x="3579722" y="6562550"/>
                  <a:pt x="3572350" y="6562550"/>
                </a:cubicBezTo>
                <a:lnTo>
                  <a:pt x="3516391" y="6562550"/>
                </a:lnTo>
                <a:close/>
                <a:moveTo>
                  <a:pt x="2863441" y="6517318"/>
                </a:moveTo>
                <a:cubicBezTo>
                  <a:pt x="2843293" y="6517318"/>
                  <a:pt x="2836725" y="6521832"/>
                  <a:pt x="2836725" y="6541122"/>
                </a:cubicBezTo>
                <a:lnTo>
                  <a:pt x="2836725" y="6594223"/>
                </a:lnTo>
                <a:cubicBezTo>
                  <a:pt x="2836725" y="6613272"/>
                  <a:pt x="2843037" y="6618042"/>
                  <a:pt x="2863441" y="6618042"/>
                </a:cubicBezTo>
                <a:lnTo>
                  <a:pt x="2942865" y="6618042"/>
                </a:lnTo>
                <a:cubicBezTo>
                  <a:pt x="2963021" y="6618042"/>
                  <a:pt x="2969581" y="6613272"/>
                  <a:pt x="2969581" y="6594223"/>
                </a:cubicBezTo>
                <a:lnTo>
                  <a:pt x="2969581" y="6541122"/>
                </a:lnTo>
                <a:cubicBezTo>
                  <a:pt x="2969581" y="6521832"/>
                  <a:pt x="2963013" y="6517318"/>
                  <a:pt x="2942865" y="6517318"/>
                </a:cubicBezTo>
                <a:close/>
                <a:moveTo>
                  <a:pt x="3492120" y="6517311"/>
                </a:moveTo>
                <a:lnTo>
                  <a:pt x="3492120" y="6618035"/>
                </a:lnTo>
                <a:lnTo>
                  <a:pt x="3516398" y="6618035"/>
                </a:lnTo>
                <a:lnTo>
                  <a:pt x="3516398" y="6579929"/>
                </a:lnTo>
                <a:lnTo>
                  <a:pt x="3539495" y="6579929"/>
                </a:lnTo>
                <a:lnTo>
                  <a:pt x="3581641" y="6618035"/>
                </a:lnTo>
                <a:lnTo>
                  <a:pt x="3616888" y="6618035"/>
                </a:lnTo>
                <a:lnTo>
                  <a:pt x="3569032" y="6579929"/>
                </a:lnTo>
                <a:lnTo>
                  <a:pt x="3582845" y="6579929"/>
                </a:lnTo>
                <a:cubicBezTo>
                  <a:pt x="3599027" y="6579929"/>
                  <a:pt x="3606415" y="6574452"/>
                  <a:pt x="3606415" y="6560639"/>
                </a:cubicBezTo>
                <a:lnTo>
                  <a:pt x="3606415" y="6536835"/>
                </a:lnTo>
                <a:cubicBezTo>
                  <a:pt x="3606415" y="6522788"/>
                  <a:pt x="3599027" y="6517311"/>
                  <a:pt x="3582845" y="6517311"/>
                </a:cubicBezTo>
                <a:close/>
                <a:moveTo>
                  <a:pt x="3354780" y="6517311"/>
                </a:moveTo>
                <a:lnTo>
                  <a:pt x="3354780" y="6618035"/>
                </a:lnTo>
                <a:lnTo>
                  <a:pt x="3466254" y="6618035"/>
                </a:lnTo>
                <a:lnTo>
                  <a:pt x="3466254" y="6599219"/>
                </a:lnTo>
                <a:lnTo>
                  <a:pt x="3380044" y="6599219"/>
                </a:lnTo>
                <a:lnTo>
                  <a:pt x="3380044" y="6574452"/>
                </a:lnTo>
                <a:lnTo>
                  <a:pt x="3429593" y="6574452"/>
                </a:lnTo>
                <a:lnTo>
                  <a:pt x="3429593" y="6557073"/>
                </a:lnTo>
                <a:lnTo>
                  <a:pt x="3380044" y="6557073"/>
                </a:lnTo>
                <a:lnTo>
                  <a:pt x="3380044" y="6535179"/>
                </a:lnTo>
                <a:lnTo>
                  <a:pt x="3465043" y="6535179"/>
                </a:lnTo>
                <a:lnTo>
                  <a:pt x="3465043" y="6517311"/>
                </a:lnTo>
                <a:close/>
                <a:moveTo>
                  <a:pt x="3178589" y="6517311"/>
                </a:moveTo>
                <a:lnTo>
                  <a:pt x="3178589" y="6618035"/>
                </a:lnTo>
                <a:lnTo>
                  <a:pt x="3201558" y="6618035"/>
                </a:lnTo>
                <a:lnTo>
                  <a:pt x="3201558" y="6550414"/>
                </a:lnTo>
                <a:lnTo>
                  <a:pt x="3247940" y="6605892"/>
                </a:lnTo>
                <a:lnTo>
                  <a:pt x="3252800" y="6605892"/>
                </a:lnTo>
                <a:lnTo>
                  <a:pt x="3298693" y="6548737"/>
                </a:lnTo>
                <a:lnTo>
                  <a:pt x="3298693" y="6618035"/>
                </a:lnTo>
                <a:lnTo>
                  <a:pt x="3322008" y="6618035"/>
                </a:lnTo>
                <a:lnTo>
                  <a:pt x="3322008" y="6517311"/>
                </a:lnTo>
                <a:lnTo>
                  <a:pt x="3301860" y="6517311"/>
                </a:lnTo>
                <a:lnTo>
                  <a:pt x="3251822" y="6577070"/>
                </a:lnTo>
                <a:lnTo>
                  <a:pt x="3201558" y="6517311"/>
                </a:lnTo>
                <a:close/>
                <a:moveTo>
                  <a:pt x="3001270" y="6517311"/>
                </a:moveTo>
                <a:lnTo>
                  <a:pt x="3001270" y="6618035"/>
                </a:lnTo>
                <a:lnTo>
                  <a:pt x="3024231" y="6618035"/>
                </a:lnTo>
                <a:lnTo>
                  <a:pt x="3024231" y="6550414"/>
                </a:lnTo>
                <a:lnTo>
                  <a:pt x="3070613" y="6605892"/>
                </a:lnTo>
                <a:lnTo>
                  <a:pt x="3075466" y="6605892"/>
                </a:lnTo>
                <a:lnTo>
                  <a:pt x="3121374" y="6548737"/>
                </a:lnTo>
                <a:lnTo>
                  <a:pt x="3121374" y="6618035"/>
                </a:lnTo>
                <a:lnTo>
                  <a:pt x="3144689" y="6618035"/>
                </a:lnTo>
                <a:lnTo>
                  <a:pt x="3144689" y="6517311"/>
                </a:lnTo>
                <a:lnTo>
                  <a:pt x="3124534" y="6517311"/>
                </a:lnTo>
                <a:lnTo>
                  <a:pt x="3074503" y="6577070"/>
                </a:lnTo>
                <a:lnTo>
                  <a:pt x="3024231" y="6517311"/>
                </a:lnTo>
                <a:close/>
                <a:moveTo>
                  <a:pt x="2705412" y="6495162"/>
                </a:moveTo>
                <a:cubicBezTo>
                  <a:pt x="2682315" y="6495162"/>
                  <a:pt x="2674934" y="6501113"/>
                  <a:pt x="2674934" y="6524218"/>
                </a:cubicBezTo>
                <a:lnTo>
                  <a:pt x="2674934" y="6537775"/>
                </a:lnTo>
                <a:cubicBezTo>
                  <a:pt x="2674934" y="6560879"/>
                  <a:pt x="2682322" y="6566830"/>
                  <a:pt x="2705412" y="6566830"/>
                </a:cubicBezTo>
                <a:lnTo>
                  <a:pt x="2782090" y="6566830"/>
                </a:lnTo>
                <a:lnTo>
                  <a:pt x="2782090" y="6594930"/>
                </a:lnTo>
                <a:lnTo>
                  <a:pt x="2695187" y="6594930"/>
                </a:lnTo>
                <a:lnTo>
                  <a:pt x="2695187" y="6581704"/>
                </a:lnTo>
                <a:lnTo>
                  <a:pt x="2669931" y="6586948"/>
                </a:lnTo>
                <a:lnTo>
                  <a:pt x="2669931" y="6588979"/>
                </a:lnTo>
                <a:cubicBezTo>
                  <a:pt x="2669931" y="6612076"/>
                  <a:pt x="2677552" y="6618027"/>
                  <a:pt x="2700649" y="6618027"/>
                </a:cubicBezTo>
                <a:lnTo>
                  <a:pt x="2776621" y="6618027"/>
                </a:lnTo>
                <a:cubicBezTo>
                  <a:pt x="2799718" y="6618027"/>
                  <a:pt x="2807339" y="6612076"/>
                  <a:pt x="2807339" y="6588979"/>
                </a:cubicBezTo>
                <a:lnTo>
                  <a:pt x="2807339" y="6572074"/>
                </a:lnTo>
                <a:cubicBezTo>
                  <a:pt x="2807339" y="6548970"/>
                  <a:pt x="2799718" y="6543019"/>
                  <a:pt x="2776621" y="6543019"/>
                </a:cubicBezTo>
                <a:lnTo>
                  <a:pt x="2699934" y="6543019"/>
                </a:lnTo>
                <a:lnTo>
                  <a:pt x="2699934" y="6516596"/>
                </a:lnTo>
                <a:lnTo>
                  <a:pt x="2780420" y="6516596"/>
                </a:lnTo>
                <a:lnTo>
                  <a:pt x="2780420" y="6529905"/>
                </a:lnTo>
                <a:lnTo>
                  <a:pt x="2805661" y="6523954"/>
                </a:lnTo>
                <a:lnTo>
                  <a:pt x="2805661" y="6522074"/>
                </a:lnTo>
                <a:cubicBezTo>
                  <a:pt x="2805661" y="6500872"/>
                  <a:pt x="2797092" y="6495162"/>
                  <a:pt x="2775184" y="6495162"/>
                </a:cubicBezTo>
                <a:close/>
                <a:moveTo>
                  <a:pt x="3507356" y="6392873"/>
                </a:moveTo>
                <a:lnTo>
                  <a:pt x="3544258" y="6423591"/>
                </a:lnTo>
                <a:lnTo>
                  <a:pt x="3532830" y="6433349"/>
                </a:lnTo>
                <a:lnTo>
                  <a:pt x="3475930" y="6433349"/>
                </a:lnTo>
                <a:lnTo>
                  <a:pt x="3475930" y="6433342"/>
                </a:lnTo>
                <a:lnTo>
                  <a:pt x="3475930" y="6412396"/>
                </a:lnTo>
                <a:close/>
                <a:moveTo>
                  <a:pt x="2876667" y="6371439"/>
                </a:moveTo>
                <a:lnTo>
                  <a:pt x="2932626" y="6371439"/>
                </a:lnTo>
                <a:cubicBezTo>
                  <a:pt x="2939999" y="6371439"/>
                  <a:pt x="2943820" y="6372876"/>
                  <a:pt x="2943820" y="6379534"/>
                </a:cubicBezTo>
                <a:lnTo>
                  <a:pt x="2943820" y="6391203"/>
                </a:lnTo>
                <a:cubicBezTo>
                  <a:pt x="2943820" y="6397876"/>
                  <a:pt x="2939999" y="6399298"/>
                  <a:pt x="2932626" y="6399298"/>
                </a:cubicBezTo>
                <a:lnTo>
                  <a:pt x="2876667" y="6399298"/>
                </a:lnTo>
                <a:close/>
                <a:moveTo>
                  <a:pt x="3302440" y="6354060"/>
                </a:moveTo>
                <a:cubicBezTo>
                  <a:pt x="3282676" y="6354060"/>
                  <a:pt x="3276003" y="6358830"/>
                  <a:pt x="3276003" y="6377879"/>
                </a:cubicBezTo>
                <a:lnTo>
                  <a:pt x="3276003" y="6389074"/>
                </a:lnTo>
                <a:cubicBezTo>
                  <a:pt x="3276003" y="6408123"/>
                  <a:pt x="3282676" y="6412878"/>
                  <a:pt x="3302440" y="6412878"/>
                </a:cubicBezTo>
                <a:lnTo>
                  <a:pt x="3367676" y="6412878"/>
                </a:lnTo>
                <a:lnTo>
                  <a:pt x="3367676" y="6435983"/>
                </a:lnTo>
                <a:lnTo>
                  <a:pt x="3293615" y="6435983"/>
                </a:lnTo>
                <a:lnTo>
                  <a:pt x="3293615" y="6425375"/>
                </a:lnTo>
                <a:lnTo>
                  <a:pt x="3271722" y="6429430"/>
                </a:lnTo>
                <a:lnTo>
                  <a:pt x="3271722" y="6430980"/>
                </a:lnTo>
                <a:cubicBezTo>
                  <a:pt x="3271722" y="6449796"/>
                  <a:pt x="3278147" y="6454784"/>
                  <a:pt x="3298144" y="6454784"/>
                </a:cubicBezTo>
                <a:lnTo>
                  <a:pt x="3363636" y="6454784"/>
                </a:lnTo>
                <a:cubicBezTo>
                  <a:pt x="3383633" y="6454784"/>
                  <a:pt x="3389825" y="6449796"/>
                  <a:pt x="3389825" y="6430980"/>
                </a:cubicBezTo>
                <a:lnTo>
                  <a:pt x="3389825" y="6417166"/>
                </a:lnTo>
                <a:cubicBezTo>
                  <a:pt x="3389825" y="6398117"/>
                  <a:pt x="3383641" y="6393362"/>
                  <a:pt x="3363636" y="6393362"/>
                </a:cubicBezTo>
                <a:lnTo>
                  <a:pt x="3298144" y="6393362"/>
                </a:lnTo>
                <a:lnTo>
                  <a:pt x="3298144" y="6372154"/>
                </a:lnTo>
                <a:lnTo>
                  <a:pt x="3367435" y="6372154"/>
                </a:lnTo>
                <a:lnTo>
                  <a:pt x="3367435" y="6381565"/>
                </a:lnTo>
                <a:lnTo>
                  <a:pt x="3388621" y="6377051"/>
                </a:lnTo>
                <a:lnTo>
                  <a:pt x="3388621" y="6375968"/>
                </a:lnTo>
                <a:cubicBezTo>
                  <a:pt x="3388621" y="6358356"/>
                  <a:pt x="3380774" y="6354060"/>
                  <a:pt x="3362199" y="6354060"/>
                </a:cubicBezTo>
                <a:close/>
                <a:moveTo>
                  <a:pt x="3138106" y="6354060"/>
                </a:moveTo>
                <a:lnTo>
                  <a:pt x="3138106" y="6454776"/>
                </a:lnTo>
                <a:lnTo>
                  <a:pt x="3247399" y="6454776"/>
                </a:lnTo>
                <a:lnTo>
                  <a:pt x="3247399" y="6435967"/>
                </a:lnTo>
                <a:lnTo>
                  <a:pt x="3162873" y="6435967"/>
                </a:lnTo>
                <a:lnTo>
                  <a:pt x="3162873" y="6411200"/>
                </a:lnTo>
                <a:lnTo>
                  <a:pt x="3211445" y="6411200"/>
                </a:lnTo>
                <a:lnTo>
                  <a:pt x="3211445" y="6393821"/>
                </a:lnTo>
                <a:lnTo>
                  <a:pt x="3162873" y="6393821"/>
                </a:lnTo>
                <a:lnTo>
                  <a:pt x="3162873" y="6371913"/>
                </a:lnTo>
                <a:lnTo>
                  <a:pt x="3246218" y="6371913"/>
                </a:lnTo>
                <a:lnTo>
                  <a:pt x="3246218" y="6354060"/>
                </a:lnTo>
                <a:close/>
                <a:moveTo>
                  <a:pt x="3000397" y="6354060"/>
                </a:moveTo>
                <a:lnTo>
                  <a:pt x="3000397" y="6454776"/>
                </a:lnTo>
                <a:lnTo>
                  <a:pt x="3109690" y="6454776"/>
                </a:lnTo>
                <a:lnTo>
                  <a:pt x="3109690" y="6435967"/>
                </a:lnTo>
                <a:lnTo>
                  <a:pt x="3025164" y="6435967"/>
                </a:lnTo>
                <a:lnTo>
                  <a:pt x="3025164" y="6411200"/>
                </a:lnTo>
                <a:lnTo>
                  <a:pt x="3073736" y="6411200"/>
                </a:lnTo>
                <a:lnTo>
                  <a:pt x="3073736" y="6393821"/>
                </a:lnTo>
                <a:lnTo>
                  <a:pt x="3025164" y="6393821"/>
                </a:lnTo>
                <a:lnTo>
                  <a:pt x="3025164" y="6371913"/>
                </a:lnTo>
                <a:lnTo>
                  <a:pt x="3108509" y="6371913"/>
                </a:lnTo>
                <a:lnTo>
                  <a:pt x="3108509" y="6354060"/>
                </a:lnTo>
                <a:close/>
                <a:moveTo>
                  <a:pt x="2852381" y="6354060"/>
                </a:moveTo>
                <a:lnTo>
                  <a:pt x="2852381" y="6454776"/>
                </a:lnTo>
                <a:lnTo>
                  <a:pt x="2876674" y="6454776"/>
                </a:lnTo>
                <a:lnTo>
                  <a:pt x="2876674" y="6416670"/>
                </a:lnTo>
                <a:lnTo>
                  <a:pt x="2899771" y="6416670"/>
                </a:lnTo>
                <a:lnTo>
                  <a:pt x="2941917" y="6454776"/>
                </a:lnTo>
                <a:lnTo>
                  <a:pt x="2977164" y="6454776"/>
                </a:lnTo>
                <a:lnTo>
                  <a:pt x="2929293" y="6416670"/>
                </a:lnTo>
                <a:lnTo>
                  <a:pt x="2943106" y="6416670"/>
                </a:lnTo>
                <a:cubicBezTo>
                  <a:pt x="2959304" y="6416670"/>
                  <a:pt x="2966684" y="6411193"/>
                  <a:pt x="2966684" y="6397395"/>
                </a:cubicBezTo>
                <a:lnTo>
                  <a:pt x="2966684" y="6373583"/>
                </a:lnTo>
                <a:cubicBezTo>
                  <a:pt x="2966684" y="6359537"/>
                  <a:pt x="2959296" y="6354060"/>
                  <a:pt x="2943106" y="6354060"/>
                </a:cubicBezTo>
                <a:close/>
                <a:moveTo>
                  <a:pt x="2702560" y="6353819"/>
                </a:moveTo>
                <a:lnTo>
                  <a:pt x="2753275" y="6353819"/>
                </a:lnTo>
                <a:cubicBezTo>
                  <a:pt x="2780187" y="6353819"/>
                  <a:pt x="2793759" y="6367158"/>
                  <a:pt x="2793759" y="6392158"/>
                </a:cubicBezTo>
                <a:cubicBezTo>
                  <a:pt x="2793759" y="6422636"/>
                  <a:pt x="2775658" y="6431686"/>
                  <a:pt x="2739462" y="6431686"/>
                </a:cubicBezTo>
                <a:lnTo>
                  <a:pt x="2702560" y="6431686"/>
                </a:lnTo>
                <a:close/>
                <a:moveTo>
                  <a:pt x="3512125" y="6331911"/>
                </a:moveTo>
                <a:cubicBezTo>
                  <a:pt x="3491165" y="6331911"/>
                  <a:pt x="3481648" y="6336681"/>
                  <a:pt x="3481648" y="6354293"/>
                </a:cubicBezTo>
                <a:lnTo>
                  <a:pt x="3481648" y="6361192"/>
                </a:lnTo>
                <a:cubicBezTo>
                  <a:pt x="3481648" y="6368339"/>
                  <a:pt x="3484981" y="6373816"/>
                  <a:pt x="3492128" y="6379767"/>
                </a:cubicBezTo>
                <a:lnTo>
                  <a:pt x="3467113" y="6394776"/>
                </a:lnTo>
                <a:cubicBezTo>
                  <a:pt x="3456407" y="6401202"/>
                  <a:pt x="3451878" y="6405008"/>
                  <a:pt x="3451878" y="6417633"/>
                </a:cubicBezTo>
                <a:lnTo>
                  <a:pt x="3451878" y="6425728"/>
                </a:lnTo>
                <a:cubicBezTo>
                  <a:pt x="3451878" y="6448825"/>
                  <a:pt x="3459499" y="6454776"/>
                  <a:pt x="3482589" y="6454776"/>
                </a:cubicBezTo>
                <a:lnTo>
                  <a:pt x="3526405" y="6454776"/>
                </a:lnTo>
                <a:cubicBezTo>
                  <a:pt x="3536637" y="6454776"/>
                  <a:pt x="3541640" y="6454302"/>
                  <a:pt x="3549502" y="6447388"/>
                </a:cubicBezTo>
                <a:lnTo>
                  <a:pt x="3560456" y="6437630"/>
                </a:lnTo>
                <a:lnTo>
                  <a:pt x="3580694" y="6454776"/>
                </a:lnTo>
                <a:lnTo>
                  <a:pt x="3618085" y="6454776"/>
                </a:lnTo>
                <a:lnTo>
                  <a:pt x="3579272" y="6422147"/>
                </a:lnTo>
                <a:lnTo>
                  <a:pt x="3607605" y="6398583"/>
                </a:lnTo>
                <a:lnTo>
                  <a:pt x="3591407" y="6384537"/>
                </a:lnTo>
                <a:lnTo>
                  <a:pt x="3562833" y="6408341"/>
                </a:lnTo>
                <a:lnTo>
                  <a:pt x="3504971" y="6360244"/>
                </a:lnTo>
                <a:lnTo>
                  <a:pt x="3504971" y="6351434"/>
                </a:lnTo>
                <a:lnTo>
                  <a:pt x="3545221" y="6351434"/>
                </a:lnTo>
                <a:lnTo>
                  <a:pt x="3545221" y="6367873"/>
                </a:lnTo>
                <a:lnTo>
                  <a:pt x="3567355" y="6364066"/>
                </a:lnTo>
                <a:lnTo>
                  <a:pt x="3567355" y="6356678"/>
                </a:lnTo>
                <a:cubicBezTo>
                  <a:pt x="3567355" y="6336681"/>
                  <a:pt x="3559019" y="6331911"/>
                  <a:pt x="3536877" y="6331911"/>
                </a:cubicBezTo>
                <a:close/>
                <a:moveTo>
                  <a:pt x="2673986" y="6331911"/>
                </a:moveTo>
                <a:lnTo>
                  <a:pt x="2673986" y="6454776"/>
                </a:lnTo>
                <a:lnTo>
                  <a:pt x="2745662" y="6454776"/>
                </a:lnTo>
                <a:cubicBezTo>
                  <a:pt x="2767555" y="6454776"/>
                  <a:pt x="2784227" y="6452632"/>
                  <a:pt x="2796144" y="6445259"/>
                </a:cubicBezTo>
                <a:cubicBezTo>
                  <a:pt x="2813290" y="6434779"/>
                  <a:pt x="2823281" y="6415729"/>
                  <a:pt x="2823281" y="6392632"/>
                </a:cubicBezTo>
                <a:cubicBezTo>
                  <a:pt x="2823281" y="6354534"/>
                  <a:pt x="2799003" y="6331911"/>
                  <a:pt x="2753035" y="6331911"/>
                </a:cubicBezTo>
                <a:close/>
                <a:moveTo>
                  <a:pt x="0" y="0"/>
                </a:moveTo>
                <a:lnTo>
                  <a:pt x="4145135" y="0"/>
                </a:lnTo>
                <a:lnTo>
                  <a:pt x="4145135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logo drees&amp;sommer white">
            <a:extLst>
              <a:ext uri="{FF2B5EF4-FFF2-40B4-BE49-F238E27FC236}">
                <a16:creationId xmlns:a16="http://schemas.microsoft.com/office/drawing/2014/main" id="{F3E5A22C-5837-40C0-8E09-40DEB6AA2A9D}"/>
              </a:ext>
            </a:extLst>
          </p:cNvPr>
          <p:cNvSpPr>
            <a:spLocks noGrp="1"/>
          </p:cNvSpPr>
          <p:nvPr>
            <p:ph type="media" sz="quarter" idx="20"/>
          </p:nvPr>
        </p:nvSpPr>
        <p:spPr bwMode="gray">
          <a:xfrm>
            <a:off x="10716797" y="6330042"/>
            <a:ext cx="946800" cy="2880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15875" cap="flat">
            <a:noFill/>
            <a:prstDash val="lgDash"/>
          </a:ln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de-DE"/>
              <a:t>Mediaclip durch Klicken auf Symbol hinzufügen</a:t>
            </a:r>
            <a:endParaRPr lang="de-DE" dirty="0"/>
          </a:p>
        </p:txBody>
      </p:sp>
      <p:sp>
        <p:nvSpPr>
          <p:cNvPr id="12" name="info">
            <a:extLst>
              <a:ext uri="{FF2B5EF4-FFF2-40B4-BE49-F238E27FC236}">
                <a16:creationId xmlns:a16="http://schemas.microsoft.com/office/drawing/2014/main" id="{43D6FDCE-9CC1-42E7-8918-ED9A701879FC}"/>
              </a:ext>
            </a:extLst>
          </p:cNvPr>
          <p:cNvSpPr/>
          <p:nvPr/>
        </p:nvSpPr>
        <p:spPr bwMode="gray">
          <a:xfrm flipH="1">
            <a:off x="12247320" y="6288645"/>
            <a:ext cx="1579616" cy="370793"/>
          </a:xfrm>
          <a:prstGeom prst="homePlate">
            <a:avLst/>
          </a:prstGeom>
          <a:solidFill>
            <a:srgbClr val="0029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36000" rtlCol="0" anchor="ctr">
            <a:spAutoFit/>
          </a:bodyPr>
          <a:lstStyle/>
          <a:p>
            <a:pPr algn="ctr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sz="1050" dirty="0">
                <a:solidFill>
                  <a:schemeClr val="bg1"/>
                </a:solidFill>
              </a:rPr>
              <a:t>delete the white logo </a:t>
            </a:r>
            <a:br>
              <a:rPr lang="en-US" sz="1050" dirty="0">
                <a:solidFill>
                  <a:schemeClr val="bg1"/>
                </a:solidFill>
              </a:rPr>
            </a:br>
            <a:r>
              <a:rPr lang="en-US" sz="1050" dirty="0">
                <a:solidFill>
                  <a:schemeClr val="bg1"/>
                </a:solidFill>
              </a:rPr>
              <a:t>to get the BLUE LOGO</a:t>
            </a:r>
            <a:endParaRPr lang="de-DE" sz="1050" dirty="0">
              <a:solidFill>
                <a:schemeClr val="bg1"/>
              </a:solidFill>
            </a:endParaRPr>
          </a:p>
        </p:txBody>
      </p:sp>
      <p:grpSp>
        <p:nvGrpSpPr>
          <p:cNvPr id="3" name="info">
            <a:extLst>
              <a:ext uri="{FF2B5EF4-FFF2-40B4-BE49-F238E27FC236}">
                <a16:creationId xmlns:a16="http://schemas.microsoft.com/office/drawing/2014/main" id="{23E2F83B-F785-A841-7CA8-7964190C1282}"/>
              </a:ext>
            </a:extLst>
          </p:cNvPr>
          <p:cNvGrpSpPr/>
          <p:nvPr/>
        </p:nvGrpSpPr>
        <p:grpSpPr>
          <a:xfrm>
            <a:off x="12247320" y="3143250"/>
            <a:ext cx="1579616" cy="2823211"/>
            <a:chOff x="12399720" y="2598103"/>
            <a:chExt cx="1579616" cy="2823211"/>
          </a:xfrm>
          <a:solidFill>
            <a:srgbClr val="002965"/>
          </a:solidFill>
        </p:grpSpPr>
        <p:sp>
          <p:nvSpPr>
            <p:cNvPr id="8" name="info">
              <a:extLst>
                <a:ext uri="{FF2B5EF4-FFF2-40B4-BE49-F238E27FC236}">
                  <a16:creationId xmlns:a16="http://schemas.microsoft.com/office/drawing/2014/main" id="{860F4EBC-826A-5D71-9AF0-0629C3B5C100}"/>
                </a:ext>
              </a:extLst>
            </p:cNvPr>
            <p:cNvSpPr/>
            <p:nvPr userDrawn="1"/>
          </p:nvSpPr>
          <p:spPr bwMode="gray">
            <a:xfrm flipH="1">
              <a:off x="12399720" y="4947928"/>
              <a:ext cx="1579616" cy="473385"/>
            </a:xfrm>
            <a:prstGeom prst="homePlat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36000" rtlCol="0" anchor="ctr">
              <a:spAutoFit/>
            </a:bodyPr>
            <a:lstStyle/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 dirty="0">
                <a:solidFill>
                  <a:schemeClr val="tx2"/>
                </a:solidFill>
              </a:endParaRPr>
            </a:p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 dirty="0">
                <a:solidFill>
                  <a:schemeClr val="tx2"/>
                </a:solidFill>
              </a:endParaRPr>
            </a:p>
          </p:txBody>
        </p:sp>
        <p:sp>
          <p:nvSpPr>
            <p:cNvPr id="9" name="info">
              <a:extLst>
                <a:ext uri="{FF2B5EF4-FFF2-40B4-BE49-F238E27FC236}">
                  <a16:creationId xmlns:a16="http://schemas.microsoft.com/office/drawing/2014/main" id="{5EA87AE6-A025-665A-EDAE-69FEEF779B76}"/>
                </a:ext>
              </a:extLst>
            </p:cNvPr>
            <p:cNvSpPr/>
            <p:nvPr userDrawn="1"/>
          </p:nvSpPr>
          <p:spPr bwMode="gray">
            <a:xfrm flipH="1">
              <a:off x="12634899" y="2598103"/>
              <a:ext cx="1344423" cy="28232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36000" rtlCol="0" anchor="t">
              <a:noAutofit/>
            </a:bodyPr>
            <a:lstStyle/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b="1" cap="all" dirty="0">
                  <a:solidFill>
                    <a:schemeClr val="bg1"/>
                  </a:solidFill>
                </a:rPr>
                <a:t>image credit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b="1" dirty="0">
                  <a:solidFill>
                    <a:schemeClr val="bg1"/>
                  </a:solidFill>
                </a:rPr>
                <a:t>Always include</a:t>
              </a:r>
              <a:br>
                <a:rPr lang="en-US" sz="1050" b="1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redit!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How to get 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redit </a:t>
              </a:r>
              <a:r>
                <a:rPr lang="en-US" sz="1050" b="1" dirty="0">
                  <a:solidFill>
                    <a:schemeClr val="bg1"/>
                  </a:solidFill>
                </a:rPr>
                <a:t>placeholder</a:t>
              </a:r>
              <a:r>
                <a:rPr lang="en-US" sz="1050" dirty="0">
                  <a:solidFill>
                    <a:schemeClr val="bg1"/>
                  </a:solidFill>
                </a:rPr>
                <a:t>: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&gt; empower menu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&gt; text elements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&gt; depending on 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hoose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“</a:t>
              </a:r>
              <a:r>
                <a:rPr lang="en-US" sz="1050" b="1" dirty="0">
                  <a:solidFill>
                    <a:schemeClr val="bg1"/>
                  </a:solidFill>
                </a:rPr>
                <a:t>Copyright right grey</a:t>
              </a:r>
              <a:r>
                <a:rPr lang="en-US" sz="1050" dirty="0">
                  <a:solidFill>
                    <a:schemeClr val="bg1"/>
                  </a:solidFill>
                </a:rPr>
                <a:t>” 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or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“</a:t>
              </a:r>
              <a:r>
                <a:rPr lang="en-US" sz="1050" b="1" dirty="0">
                  <a:solidFill>
                    <a:schemeClr val="bg1"/>
                  </a:solidFill>
                </a:rPr>
                <a:t>Copyright right white</a:t>
              </a:r>
              <a:r>
                <a:rPr lang="en-US" sz="1050" dirty="0">
                  <a:solidFill>
                    <a:schemeClr val="bg1"/>
                  </a:solidFill>
                </a:rPr>
                <a:t>”</a:t>
              </a:r>
            </a:p>
          </p:txBody>
        </p:sp>
      </p:grp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635EB24C-4D4A-FC28-03C9-89A521FEF61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763200" y="6386400"/>
            <a:ext cx="6999675" cy="180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FF9EE1B6-9C33-ADC4-275E-E8ED4605550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9829449A-3FF3-45CE-9F4F-09BADC0910C6}" type="slidenum">
              <a:rPr lang="de-DE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2351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pos="4890">
          <p15:clr>
            <a:srgbClr val="FBAE40"/>
          </p15:clr>
        </p15:guide>
        <p15:guide id="2" pos="5069">
          <p15:clr>
            <a:srgbClr val="FBAE40"/>
          </p15:clr>
        </p15:guide>
        <p15:guide id="3" orient="horz" pos="64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foboxes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 grey">
            <a:extLst>
              <a:ext uri="{FF2B5EF4-FFF2-40B4-BE49-F238E27FC236}">
                <a16:creationId xmlns:a16="http://schemas.microsoft.com/office/drawing/2014/main" id="{601226B0-B5A9-49D1-A3DA-8469D6E529BC}"/>
              </a:ext>
            </a:extLst>
          </p:cNvPr>
          <p:cNvSpPr/>
          <p:nvPr/>
        </p:nvSpPr>
        <p:spPr bwMode="gray">
          <a:xfrm>
            <a:off x="0" y="1599889"/>
            <a:ext cx="12192000" cy="356833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de-DE" sz="1400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FFCB50B-5503-4467-8A0F-9FBB8B48B97D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25600" y="673200"/>
            <a:ext cx="11138400" cy="288000"/>
          </a:xfrm>
        </p:spPr>
        <p:txBody>
          <a:bodyPr lIns="0" tIns="0" rIns="0" bIns="0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MIO_CONVERT_SLIDES_SUBTITLE">
            <a:extLst>
              <a:ext uri="{FF2B5EF4-FFF2-40B4-BE49-F238E27FC236}">
                <a16:creationId xmlns:a16="http://schemas.microsoft.com/office/drawing/2014/main" id="{7086919D-8D03-4875-B9F0-05F0C85640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25599" y="1022400"/>
            <a:ext cx="8882212" cy="5040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2000"/>
            </a:lvl1pPr>
          </a:lstStyle>
          <a:p>
            <a:pPr lvl="0"/>
            <a:r>
              <a:rPr lang="de-DE" dirty="0" err="1"/>
              <a:t>Subtitle</a:t>
            </a:r>
            <a:endParaRPr lang="en-US" dirty="0"/>
          </a:p>
        </p:txBody>
      </p:sp>
      <p:sp>
        <p:nvSpPr>
          <p:cNvPr id="10" name="picture">
            <a:extLst>
              <a:ext uri="{FF2B5EF4-FFF2-40B4-BE49-F238E27FC236}">
                <a16:creationId xmlns:a16="http://schemas.microsoft.com/office/drawing/2014/main" id="{76533136-822A-4672-82A6-5B4464AD390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0" y="1602000"/>
            <a:ext cx="5647494" cy="5255999"/>
          </a:xfrm>
          <a:pattFill prst="lt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7" name="text white">
            <a:extLst>
              <a:ext uri="{FF2B5EF4-FFF2-40B4-BE49-F238E27FC236}">
                <a16:creationId xmlns:a16="http://schemas.microsoft.com/office/drawing/2014/main" id="{76947769-F1C5-46D2-A578-B46158BB445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5791492" y="1886400"/>
            <a:ext cx="3616319" cy="4212002"/>
          </a:xfrm>
          <a:solidFill>
            <a:schemeClr val="bg1"/>
          </a:solidFill>
        </p:spPr>
        <p:txBody>
          <a:bodyPr lIns="216000" tIns="288000" rIns="216000" bIns="216000"/>
          <a:lstStyle>
            <a:lvl1pPr>
              <a:spcBef>
                <a:spcPts val="40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 blue">
            <a:extLst>
              <a:ext uri="{FF2B5EF4-FFF2-40B4-BE49-F238E27FC236}">
                <a16:creationId xmlns:a16="http://schemas.microsoft.com/office/drawing/2014/main" id="{F221FFD9-8744-4B06-8073-6630F4E6F75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ltGray">
          <a:xfrm>
            <a:off x="9551810" y="1022400"/>
            <a:ext cx="2115790" cy="1400585"/>
          </a:xfrm>
          <a:solidFill>
            <a:schemeClr val="tx2"/>
          </a:solidFill>
        </p:spPr>
        <p:txBody>
          <a:bodyPr lIns="216000" tIns="216000" rIns="216000" bIns="216000">
            <a:spAutoFit/>
          </a:bodyPr>
          <a:lstStyle>
            <a:lvl1pPr>
              <a:defRPr b="1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 marL="504000" indent="0">
              <a:buNone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90B54C2D-8235-4852-8EB7-5E05529B24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525600" y="7200000"/>
            <a:ext cx="234000" cy="180000"/>
          </a:xfrm>
        </p:spPr>
        <p:txBody>
          <a:bodyPr lIns="0" tIns="0" rIns="0" bIns="0"/>
          <a:lstStyle/>
          <a:p>
            <a:fld id="{9829449A-3FF3-45CE-9F4F-09BADC0910C6}" type="slidenum">
              <a:rPr lang="en-US"/>
              <a:t>‹Nr.›</a:t>
            </a:fld>
            <a:endParaRPr lang="en-US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A4534FC4-D037-44B0-B266-D9E820FC1D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763200" y="7200000"/>
            <a:ext cx="7880400" cy="180000"/>
          </a:xfrm>
        </p:spPr>
        <p:txBody>
          <a:bodyPr lIns="0" tIns="0" rIns="0" bIns="0"/>
          <a:lstStyle/>
          <a:p>
            <a:endParaRPr lang="en-US" dirty="0"/>
          </a:p>
        </p:txBody>
      </p:sp>
      <p:grpSp>
        <p:nvGrpSpPr>
          <p:cNvPr id="3" name="info">
            <a:extLst>
              <a:ext uri="{FF2B5EF4-FFF2-40B4-BE49-F238E27FC236}">
                <a16:creationId xmlns:a16="http://schemas.microsoft.com/office/drawing/2014/main" id="{CCB26EEA-100B-0240-199D-50EFB0452FF1}"/>
              </a:ext>
            </a:extLst>
          </p:cNvPr>
          <p:cNvGrpSpPr/>
          <p:nvPr/>
        </p:nvGrpSpPr>
        <p:grpSpPr>
          <a:xfrm flipH="1">
            <a:off x="-1729937" y="3143250"/>
            <a:ext cx="1579616" cy="2823211"/>
            <a:chOff x="12399720" y="2598103"/>
            <a:chExt cx="1579616" cy="2823211"/>
          </a:xfrm>
          <a:solidFill>
            <a:srgbClr val="002965"/>
          </a:solidFill>
        </p:grpSpPr>
        <p:sp>
          <p:nvSpPr>
            <p:cNvPr id="9" name="info">
              <a:extLst>
                <a:ext uri="{FF2B5EF4-FFF2-40B4-BE49-F238E27FC236}">
                  <a16:creationId xmlns:a16="http://schemas.microsoft.com/office/drawing/2014/main" id="{83294D58-F997-18DA-9639-71351984E5E7}"/>
                </a:ext>
              </a:extLst>
            </p:cNvPr>
            <p:cNvSpPr/>
            <p:nvPr userDrawn="1"/>
          </p:nvSpPr>
          <p:spPr bwMode="gray">
            <a:xfrm flipH="1">
              <a:off x="12399720" y="4947928"/>
              <a:ext cx="1579616" cy="473385"/>
            </a:xfrm>
            <a:prstGeom prst="homePlat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36000" rtlCol="0" anchor="ctr">
              <a:spAutoFit/>
            </a:bodyPr>
            <a:lstStyle/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 dirty="0">
                <a:solidFill>
                  <a:schemeClr val="tx2"/>
                </a:solidFill>
              </a:endParaRPr>
            </a:p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 dirty="0">
                <a:solidFill>
                  <a:schemeClr val="tx2"/>
                </a:solidFill>
              </a:endParaRPr>
            </a:p>
          </p:txBody>
        </p:sp>
        <p:sp>
          <p:nvSpPr>
            <p:cNvPr id="11" name="info">
              <a:extLst>
                <a:ext uri="{FF2B5EF4-FFF2-40B4-BE49-F238E27FC236}">
                  <a16:creationId xmlns:a16="http://schemas.microsoft.com/office/drawing/2014/main" id="{C022EC41-3726-1303-890D-8937885DA394}"/>
                </a:ext>
              </a:extLst>
            </p:cNvPr>
            <p:cNvSpPr/>
            <p:nvPr userDrawn="1"/>
          </p:nvSpPr>
          <p:spPr bwMode="gray">
            <a:xfrm flipH="1">
              <a:off x="12634899" y="2598103"/>
              <a:ext cx="1344423" cy="28232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36000" rtlCol="0" anchor="t">
              <a:noAutofit/>
            </a:bodyPr>
            <a:lstStyle/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b="1" cap="all" dirty="0">
                  <a:solidFill>
                    <a:schemeClr val="bg1"/>
                  </a:solidFill>
                </a:rPr>
                <a:t>image credit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b="1" dirty="0">
                  <a:solidFill>
                    <a:schemeClr val="bg1"/>
                  </a:solidFill>
                </a:rPr>
                <a:t>Always include</a:t>
              </a:r>
              <a:br>
                <a:rPr lang="en-US" sz="1050" b="1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redit!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How to get 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redit </a:t>
              </a:r>
              <a:r>
                <a:rPr lang="en-US" sz="1050" b="1" dirty="0">
                  <a:solidFill>
                    <a:schemeClr val="bg1"/>
                  </a:solidFill>
                </a:rPr>
                <a:t>placeholder</a:t>
              </a:r>
              <a:r>
                <a:rPr lang="en-US" sz="1050" dirty="0">
                  <a:solidFill>
                    <a:schemeClr val="bg1"/>
                  </a:solidFill>
                </a:rPr>
                <a:t>: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&gt; empower menu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&gt; text elements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&gt; depending on 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hoose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“</a:t>
              </a:r>
              <a:r>
                <a:rPr lang="en-US" sz="1050" b="1" dirty="0">
                  <a:solidFill>
                    <a:schemeClr val="bg1"/>
                  </a:solidFill>
                </a:rPr>
                <a:t>Copyright left grey</a:t>
              </a:r>
              <a:r>
                <a:rPr lang="en-US" sz="1050" dirty="0">
                  <a:solidFill>
                    <a:schemeClr val="bg1"/>
                  </a:solidFill>
                </a:rPr>
                <a:t>” 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or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“</a:t>
              </a:r>
              <a:r>
                <a:rPr lang="en-US" sz="1050" b="1" dirty="0">
                  <a:solidFill>
                    <a:schemeClr val="bg1"/>
                  </a:solidFill>
                </a:rPr>
                <a:t>Copyright left white</a:t>
              </a:r>
              <a:r>
                <a:rPr lang="en-US" sz="1050" dirty="0">
                  <a:solidFill>
                    <a:schemeClr val="bg1"/>
                  </a:solidFill>
                </a:rPr>
                <a:t>”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44327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644">
          <p15:clr>
            <a:srgbClr val="FBAE40"/>
          </p15:clr>
        </p15:guide>
        <p15:guide id="2" pos="3558">
          <p15:clr>
            <a:srgbClr val="FBAE40"/>
          </p15:clr>
        </p15:guide>
        <p15:guide id="3" pos="3648">
          <p15:clr>
            <a:srgbClr val="FBAE40"/>
          </p15:clr>
        </p15:guide>
        <p15:guide id="4" pos="5927">
          <p15:clr>
            <a:srgbClr val="FBAE40"/>
          </p15:clr>
        </p15:guide>
        <p15:guide id="5" pos="6017">
          <p15:clr>
            <a:srgbClr val="FBAE40"/>
          </p15:clr>
        </p15:guide>
        <p15:guide id="6" orient="horz" pos="1188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foboxes &amp;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 grey">
            <a:extLst>
              <a:ext uri="{FF2B5EF4-FFF2-40B4-BE49-F238E27FC236}">
                <a16:creationId xmlns:a16="http://schemas.microsoft.com/office/drawing/2014/main" id="{67B920F9-FFDD-4A7E-B64D-74D2EEEAED0E}"/>
              </a:ext>
            </a:extLst>
          </p:cNvPr>
          <p:cNvSpPr/>
          <p:nvPr/>
        </p:nvSpPr>
        <p:spPr bwMode="gray">
          <a:xfrm>
            <a:off x="0" y="0"/>
            <a:ext cx="12192000" cy="3298785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de-DE" sz="1400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FFCB50B-5503-4467-8A0F-9FBB8B48B97D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25600" y="673200"/>
            <a:ext cx="7570800" cy="288000"/>
          </a:xfrm>
        </p:spPr>
        <p:txBody>
          <a:bodyPr lIns="0" tIns="0" rIns="0" bIns="0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MIO_CONVERT_SLIDES_SUBTITLE">
            <a:extLst>
              <a:ext uri="{FF2B5EF4-FFF2-40B4-BE49-F238E27FC236}">
                <a16:creationId xmlns:a16="http://schemas.microsoft.com/office/drawing/2014/main" id="{7086919D-8D03-4875-B9F0-05F0C85640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25600" y="1022400"/>
            <a:ext cx="7570800" cy="5040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2000"/>
            </a:lvl1pPr>
          </a:lstStyle>
          <a:p>
            <a:pPr lvl="0"/>
            <a:r>
              <a:rPr lang="de-DE" dirty="0" err="1"/>
              <a:t>Subtitle</a:t>
            </a:r>
            <a:endParaRPr lang="en-US" dirty="0"/>
          </a:p>
        </p:txBody>
      </p:sp>
      <p:sp>
        <p:nvSpPr>
          <p:cNvPr id="10" name="picture 1">
            <a:extLst>
              <a:ext uri="{FF2B5EF4-FFF2-40B4-BE49-F238E27FC236}">
                <a16:creationId xmlns:a16="http://schemas.microsoft.com/office/drawing/2014/main" id="{76533136-822A-4672-82A6-5B4464AD390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525600" y="1601092"/>
            <a:ext cx="4186800" cy="3591621"/>
          </a:xfrm>
          <a:pattFill prst="lt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9" name="picture 2">
            <a:extLst>
              <a:ext uri="{FF2B5EF4-FFF2-40B4-BE49-F238E27FC236}">
                <a16:creationId xmlns:a16="http://schemas.microsoft.com/office/drawing/2014/main" id="{0C332C5E-6672-488C-98EF-4F5E858F7E9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4856400" y="2370280"/>
            <a:ext cx="3240000" cy="1406265"/>
          </a:xfrm>
          <a:pattFill prst="lt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7" name="text white">
            <a:extLst>
              <a:ext uri="{FF2B5EF4-FFF2-40B4-BE49-F238E27FC236}">
                <a16:creationId xmlns:a16="http://schemas.microsoft.com/office/drawing/2014/main" id="{76947769-F1C5-46D2-A578-B46158BB445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3346574" y="3456655"/>
            <a:ext cx="4893825" cy="2641746"/>
          </a:xfrm>
          <a:solidFill>
            <a:schemeClr val="bg1"/>
          </a:solidFill>
        </p:spPr>
        <p:txBody>
          <a:bodyPr lIns="432000" tIns="432000" rIns="216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 blue">
            <a:extLst>
              <a:ext uri="{FF2B5EF4-FFF2-40B4-BE49-F238E27FC236}">
                <a16:creationId xmlns:a16="http://schemas.microsoft.com/office/drawing/2014/main" id="{F221FFD9-8744-4B06-8073-6630F4E6F75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ltGray">
          <a:xfrm>
            <a:off x="8384400" y="673200"/>
            <a:ext cx="3279600" cy="1800695"/>
          </a:xfrm>
          <a:solidFill>
            <a:schemeClr val="tx2"/>
          </a:solidFill>
        </p:spPr>
        <p:txBody>
          <a:bodyPr lIns="216000" tIns="216000" rIns="216000" bIns="21600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grpSp>
        <p:nvGrpSpPr>
          <p:cNvPr id="3" name="info">
            <a:extLst>
              <a:ext uri="{FF2B5EF4-FFF2-40B4-BE49-F238E27FC236}">
                <a16:creationId xmlns:a16="http://schemas.microsoft.com/office/drawing/2014/main" id="{3534C70B-8D67-7338-60C4-915A64D18518}"/>
              </a:ext>
            </a:extLst>
          </p:cNvPr>
          <p:cNvGrpSpPr/>
          <p:nvPr/>
        </p:nvGrpSpPr>
        <p:grpSpPr>
          <a:xfrm flipH="1">
            <a:off x="-1729937" y="2009776"/>
            <a:ext cx="1579616" cy="3042286"/>
            <a:chOff x="12399720" y="2379029"/>
            <a:chExt cx="1579616" cy="3042286"/>
          </a:xfrm>
          <a:solidFill>
            <a:srgbClr val="002965"/>
          </a:solidFill>
        </p:grpSpPr>
        <p:sp>
          <p:nvSpPr>
            <p:cNvPr id="12" name="info">
              <a:extLst>
                <a:ext uri="{FF2B5EF4-FFF2-40B4-BE49-F238E27FC236}">
                  <a16:creationId xmlns:a16="http://schemas.microsoft.com/office/drawing/2014/main" id="{88B463C0-4E6F-8448-C53A-2E85EFBE1D92}"/>
                </a:ext>
              </a:extLst>
            </p:cNvPr>
            <p:cNvSpPr/>
            <p:nvPr userDrawn="1"/>
          </p:nvSpPr>
          <p:spPr bwMode="gray">
            <a:xfrm flipH="1">
              <a:off x="12399720" y="4947928"/>
              <a:ext cx="1579616" cy="473385"/>
            </a:xfrm>
            <a:prstGeom prst="homePlat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36000" rtlCol="0" anchor="ctr">
              <a:spAutoFit/>
            </a:bodyPr>
            <a:lstStyle/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 dirty="0">
                <a:solidFill>
                  <a:schemeClr val="tx2"/>
                </a:solidFill>
              </a:endParaRPr>
            </a:p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 dirty="0">
                <a:solidFill>
                  <a:schemeClr val="tx2"/>
                </a:solidFill>
              </a:endParaRPr>
            </a:p>
          </p:txBody>
        </p:sp>
        <p:sp>
          <p:nvSpPr>
            <p:cNvPr id="13" name="info">
              <a:extLst>
                <a:ext uri="{FF2B5EF4-FFF2-40B4-BE49-F238E27FC236}">
                  <a16:creationId xmlns:a16="http://schemas.microsoft.com/office/drawing/2014/main" id="{45DFBC46-7A7A-13CE-2755-9305392E340D}"/>
                </a:ext>
              </a:extLst>
            </p:cNvPr>
            <p:cNvSpPr/>
            <p:nvPr userDrawn="1"/>
          </p:nvSpPr>
          <p:spPr bwMode="gray">
            <a:xfrm flipH="1">
              <a:off x="12634899" y="2379029"/>
              <a:ext cx="1344423" cy="304228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36000" rtlCol="0" anchor="t">
              <a:noAutofit/>
            </a:bodyPr>
            <a:lstStyle/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b="1" cap="all" dirty="0">
                  <a:solidFill>
                    <a:schemeClr val="bg1"/>
                  </a:solidFill>
                </a:rPr>
                <a:t>image credit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b="1" dirty="0">
                  <a:solidFill>
                    <a:schemeClr val="bg1"/>
                  </a:solidFill>
                </a:rPr>
                <a:t>Always include</a:t>
              </a:r>
              <a:br>
                <a:rPr lang="en-US" sz="1050" b="1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redit!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How to get 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redit </a:t>
              </a:r>
              <a:r>
                <a:rPr lang="en-US" sz="1050" b="1" dirty="0">
                  <a:solidFill>
                    <a:schemeClr val="bg1"/>
                  </a:solidFill>
                </a:rPr>
                <a:t>placeholder</a:t>
              </a:r>
              <a:r>
                <a:rPr lang="en-US" sz="1050" dirty="0">
                  <a:solidFill>
                    <a:schemeClr val="bg1"/>
                  </a:solidFill>
                </a:rPr>
                <a:t>: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&gt; empower menu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&gt; text elements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&gt; depending on 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hoose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“</a:t>
              </a:r>
              <a:r>
                <a:rPr lang="en-US" sz="1050" b="1" dirty="0">
                  <a:solidFill>
                    <a:schemeClr val="bg1"/>
                  </a:solidFill>
                </a:rPr>
                <a:t>Copyright</a:t>
              </a:r>
              <a:br>
                <a:rPr lang="en-US" sz="1050" b="1" dirty="0">
                  <a:solidFill>
                    <a:schemeClr val="bg1"/>
                  </a:solidFill>
                </a:rPr>
              </a:br>
              <a:r>
                <a:rPr lang="en-US" sz="1050" b="1" dirty="0">
                  <a:solidFill>
                    <a:schemeClr val="bg1"/>
                  </a:solidFill>
                </a:rPr>
                <a:t>Reference</a:t>
              </a:r>
              <a:br>
                <a:rPr lang="en-US" sz="1050" b="1" dirty="0">
                  <a:solidFill>
                    <a:schemeClr val="bg1"/>
                  </a:solidFill>
                </a:rPr>
              </a:br>
              <a:r>
                <a:rPr lang="en-US" sz="1050" b="1" dirty="0">
                  <a:solidFill>
                    <a:schemeClr val="bg1"/>
                  </a:solidFill>
                </a:rPr>
                <a:t>2-Picture grey</a:t>
              </a:r>
              <a:r>
                <a:rPr lang="en-US" sz="1050" dirty="0">
                  <a:solidFill>
                    <a:schemeClr val="bg1"/>
                  </a:solidFill>
                </a:rPr>
                <a:t>” 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or</a:t>
              </a:r>
            </a:p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50" dirty="0">
                  <a:solidFill>
                    <a:schemeClr val="bg1"/>
                  </a:solidFill>
                </a:rPr>
                <a:t>“</a:t>
              </a:r>
              <a:r>
                <a:rPr lang="en-US" sz="1050" b="1" dirty="0">
                  <a:solidFill>
                    <a:schemeClr val="bg1"/>
                  </a:solidFill>
                </a:rPr>
                <a:t>Copyright Reference </a:t>
              </a:r>
              <a:br>
                <a:rPr lang="en-US" sz="1050" b="1" dirty="0">
                  <a:solidFill>
                    <a:schemeClr val="bg1"/>
                  </a:solidFill>
                </a:rPr>
              </a:br>
              <a:r>
                <a:rPr lang="en-US" sz="1050" b="1" dirty="0">
                  <a:solidFill>
                    <a:schemeClr val="bg1"/>
                  </a:solidFill>
                </a:rPr>
                <a:t>2-Picture white</a:t>
              </a:r>
              <a:r>
                <a:rPr lang="en-US" sz="1050" dirty="0">
                  <a:solidFill>
                    <a:schemeClr val="bg1"/>
                  </a:solidFill>
                </a:rPr>
                <a:t>” 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 dirty="0">
                <a:solidFill>
                  <a:schemeClr val="bg1"/>
                </a:solidFill>
              </a:endParaRPr>
            </a:p>
          </p:txBody>
        </p:sp>
      </p:grp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02BEE217-9797-1C8D-EAE2-E11CA43DA62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F7D7910F-E441-6D0C-DE9F-7A17630ED1C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829449A-3FF3-45CE-9F4F-09BADC0910C6}" type="slidenum">
              <a:rPr lang="de-DE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33472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644">
          <p15:clr>
            <a:srgbClr val="FBAE40"/>
          </p15:clr>
        </p15:guide>
        <p15:guide id="2" orient="horz" pos="1493">
          <p15:clr>
            <a:srgbClr val="FBAE40"/>
          </p15:clr>
        </p15:guide>
        <p15:guide id="3" orient="horz" pos="3271">
          <p15:clr>
            <a:srgbClr val="FBAE40"/>
          </p15:clr>
        </p15:guide>
        <p15:guide id="4" pos="2108">
          <p15:clr>
            <a:srgbClr val="FBAE40"/>
          </p15:clr>
        </p15:guide>
        <p15:guide id="5" pos="2969">
          <p15:clr>
            <a:srgbClr val="FBAE40"/>
          </p15:clr>
        </p15:guide>
        <p15:guide id="6" pos="3057">
          <p15:clr>
            <a:srgbClr val="FBAE40"/>
          </p15:clr>
        </p15:guide>
        <p15:guide id="7" pos="5192">
          <p15:clr>
            <a:srgbClr val="FBAE40"/>
          </p15:clr>
        </p15:guide>
        <p15:guide id="8" pos="5102">
          <p15:clr>
            <a:srgbClr val="FBAE40"/>
          </p15:clr>
        </p15:guide>
        <p15:guide id="10" orient="horz" pos="2177">
          <p15:clr>
            <a:srgbClr val="FBAE40"/>
          </p15:clr>
        </p15:guide>
        <p15:guide id="11" pos="5282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fobox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 grey">
            <a:extLst>
              <a:ext uri="{FF2B5EF4-FFF2-40B4-BE49-F238E27FC236}">
                <a16:creationId xmlns:a16="http://schemas.microsoft.com/office/drawing/2014/main" id="{67B920F9-FFDD-4A7E-B64D-74D2EEEAED0E}"/>
              </a:ext>
            </a:extLst>
          </p:cNvPr>
          <p:cNvSpPr/>
          <p:nvPr/>
        </p:nvSpPr>
        <p:spPr bwMode="gray">
          <a:xfrm>
            <a:off x="0" y="1786647"/>
            <a:ext cx="12192000" cy="3525572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de-DE" sz="1400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FFCB50B-5503-4467-8A0F-9FBB8B48B97D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25600" y="673200"/>
            <a:ext cx="6770550" cy="288000"/>
          </a:xfrm>
        </p:spPr>
        <p:txBody>
          <a:bodyPr lIns="0" tIns="0" rIns="0" bIns="0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MIO_CONVERT_SLIDES_SUBTITLE">
            <a:extLst>
              <a:ext uri="{FF2B5EF4-FFF2-40B4-BE49-F238E27FC236}">
                <a16:creationId xmlns:a16="http://schemas.microsoft.com/office/drawing/2014/main" id="{7086919D-8D03-4875-B9F0-05F0C85640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25600" y="1022400"/>
            <a:ext cx="6770550" cy="5040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2000"/>
            </a:lvl1pPr>
          </a:lstStyle>
          <a:p>
            <a:pPr lvl="0"/>
            <a:r>
              <a:rPr lang="de-DE" dirty="0" err="1"/>
              <a:t>Subtitle</a:t>
            </a:r>
            <a:endParaRPr lang="en-US" dirty="0"/>
          </a:p>
        </p:txBody>
      </p:sp>
      <p:sp>
        <p:nvSpPr>
          <p:cNvPr id="9" name="picture">
            <a:extLst>
              <a:ext uri="{FF2B5EF4-FFF2-40B4-BE49-F238E27FC236}">
                <a16:creationId xmlns:a16="http://schemas.microsoft.com/office/drawing/2014/main" id="{0C332C5E-6672-488C-98EF-4F5E858F7E9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7441201" y="673200"/>
            <a:ext cx="4750800" cy="1544400"/>
          </a:xfrm>
          <a:pattFill prst="lt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7" name="text white">
            <a:extLst>
              <a:ext uri="{FF2B5EF4-FFF2-40B4-BE49-F238E27FC236}">
                <a16:creationId xmlns:a16="http://schemas.microsoft.com/office/drawing/2014/main" id="{76947769-F1C5-46D2-A578-B46158BB445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7296191" y="2073600"/>
            <a:ext cx="4368759" cy="1873398"/>
          </a:xfrm>
          <a:solidFill>
            <a:schemeClr val="bg1"/>
          </a:solidFill>
        </p:spPr>
        <p:txBody>
          <a:bodyPr wrap="square" lIns="216000" tIns="288000" rIns="216000" bIns="21600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grpSp>
        <p:nvGrpSpPr>
          <p:cNvPr id="3" name="info">
            <a:extLst>
              <a:ext uri="{FF2B5EF4-FFF2-40B4-BE49-F238E27FC236}">
                <a16:creationId xmlns:a16="http://schemas.microsoft.com/office/drawing/2014/main" id="{70029AAE-07C5-A83B-F336-6B6708EA4473}"/>
              </a:ext>
            </a:extLst>
          </p:cNvPr>
          <p:cNvGrpSpPr/>
          <p:nvPr/>
        </p:nvGrpSpPr>
        <p:grpSpPr>
          <a:xfrm>
            <a:off x="12247320" y="1720850"/>
            <a:ext cx="1579616" cy="2823211"/>
            <a:chOff x="12399720" y="2598103"/>
            <a:chExt cx="1579616" cy="2823211"/>
          </a:xfrm>
          <a:solidFill>
            <a:srgbClr val="002965"/>
          </a:solidFill>
        </p:grpSpPr>
        <p:sp>
          <p:nvSpPr>
            <p:cNvPr id="8" name="info">
              <a:extLst>
                <a:ext uri="{FF2B5EF4-FFF2-40B4-BE49-F238E27FC236}">
                  <a16:creationId xmlns:a16="http://schemas.microsoft.com/office/drawing/2014/main" id="{939E42E9-2ABE-D9E0-C0BF-9F12F78A2807}"/>
                </a:ext>
              </a:extLst>
            </p:cNvPr>
            <p:cNvSpPr/>
            <p:nvPr userDrawn="1"/>
          </p:nvSpPr>
          <p:spPr bwMode="gray">
            <a:xfrm flipH="1">
              <a:off x="12399720" y="2598103"/>
              <a:ext cx="1579616" cy="473385"/>
            </a:xfrm>
            <a:prstGeom prst="homePlat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36000" rtlCol="0" anchor="ctr">
              <a:spAutoFit/>
            </a:bodyPr>
            <a:lstStyle/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 dirty="0">
                <a:solidFill>
                  <a:schemeClr val="tx2"/>
                </a:solidFill>
              </a:endParaRPr>
            </a:p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 dirty="0">
                <a:solidFill>
                  <a:schemeClr val="tx2"/>
                </a:solidFill>
              </a:endParaRPr>
            </a:p>
          </p:txBody>
        </p:sp>
        <p:sp>
          <p:nvSpPr>
            <p:cNvPr id="10" name="info">
              <a:extLst>
                <a:ext uri="{FF2B5EF4-FFF2-40B4-BE49-F238E27FC236}">
                  <a16:creationId xmlns:a16="http://schemas.microsoft.com/office/drawing/2014/main" id="{9B92E7E9-6320-33D3-316E-546DE67B143B}"/>
                </a:ext>
              </a:extLst>
            </p:cNvPr>
            <p:cNvSpPr/>
            <p:nvPr userDrawn="1"/>
          </p:nvSpPr>
          <p:spPr bwMode="gray">
            <a:xfrm flipH="1">
              <a:off x="12634899" y="2598103"/>
              <a:ext cx="1344423" cy="28232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36000" rtlCol="0" anchor="t">
              <a:noAutofit/>
            </a:bodyPr>
            <a:lstStyle/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b="1" cap="all" dirty="0">
                  <a:solidFill>
                    <a:schemeClr val="bg1"/>
                  </a:solidFill>
                </a:rPr>
                <a:t>image credit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b="1" dirty="0">
                  <a:solidFill>
                    <a:schemeClr val="bg1"/>
                  </a:solidFill>
                </a:rPr>
                <a:t>Always include</a:t>
              </a:r>
              <a:br>
                <a:rPr lang="en-US" sz="1050" b="1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redit!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How to get 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redit </a:t>
              </a:r>
              <a:r>
                <a:rPr lang="en-US" sz="1050" b="1" dirty="0">
                  <a:solidFill>
                    <a:schemeClr val="bg1"/>
                  </a:solidFill>
                </a:rPr>
                <a:t>placeholder</a:t>
              </a:r>
              <a:r>
                <a:rPr lang="en-US" sz="1050" dirty="0">
                  <a:solidFill>
                    <a:schemeClr val="bg1"/>
                  </a:solidFill>
                </a:rPr>
                <a:t>: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&gt; empower menu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&gt; text elements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&gt; depending on 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hoose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“</a:t>
              </a:r>
              <a:r>
                <a:rPr lang="en-US" sz="1050" b="1" dirty="0">
                  <a:solidFill>
                    <a:schemeClr val="bg1"/>
                  </a:solidFill>
                </a:rPr>
                <a:t>Copyright right high grey</a:t>
              </a:r>
              <a:r>
                <a:rPr lang="en-US" sz="1050" dirty="0">
                  <a:solidFill>
                    <a:schemeClr val="bg1"/>
                  </a:solidFill>
                </a:rPr>
                <a:t>” 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or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“</a:t>
              </a:r>
              <a:r>
                <a:rPr lang="en-US" sz="1050" b="1" dirty="0">
                  <a:solidFill>
                    <a:schemeClr val="bg1"/>
                  </a:solidFill>
                </a:rPr>
                <a:t>Copyright right high white</a:t>
              </a:r>
              <a:r>
                <a:rPr lang="en-US" sz="1050" dirty="0">
                  <a:solidFill>
                    <a:schemeClr val="bg1"/>
                  </a:solidFill>
                </a:rPr>
                <a:t>”</a:t>
              </a:r>
            </a:p>
          </p:txBody>
        </p:sp>
      </p:grp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C9037DFD-07BD-DD81-80E6-32F73FECE49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C514C708-6E4B-8A9C-91E5-2D7D9D467D2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829449A-3FF3-45CE-9F4F-09BADC0910C6}" type="slidenum">
              <a:rPr lang="de-DE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9801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644">
          <p15:clr>
            <a:srgbClr val="FBAE40"/>
          </p15:clr>
        </p15:guide>
        <p15:guide id="2" orient="horz" pos="1305">
          <p15:clr>
            <a:srgbClr val="FBAE40"/>
          </p15:clr>
        </p15:guide>
        <p15:guide id="3" pos="4596">
          <p15:clr>
            <a:srgbClr val="FBAE40"/>
          </p15:clr>
        </p15:guide>
        <p15:guide id="4" pos="4686">
          <p15:clr>
            <a:srgbClr val="FBAE40"/>
          </p15:clr>
        </p15:guide>
        <p15:guide id="5" orient="horz" pos="139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ank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">
            <a:extLst>
              <a:ext uri="{FF2B5EF4-FFF2-40B4-BE49-F238E27FC236}">
                <a16:creationId xmlns:a16="http://schemas.microsoft.com/office/drawing/2014/main" id="{7D1093AF-704C-383F-37F4-78DA48437242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 bwMode="gray">
          <a:xfrm>
            <a:off x="2180590" y="1"/>
            <a:ext cx="10011411" cy="6857998"/>
          </a:xfrm>
          <a:custGeom>
            <a:avLst/>
            <a:gdLst>
              <a:gd name="connsiteX0" fmla="*/ 4030453 w 10011411"/>
              <a:gd name="connsiteY0" fmla="*/ 4435035 h 6857998"/>
              <a:gd name="connsiteX1" fmla="*/ 5623936 w 10011411"/>
              <a:gd name="connsiteY1" fmla="*/ 6857998 h 6857998"/>
              <a:gd name="connsiteX2" fmla="*/ 4508500 w 10011411"/>
              <a:gd name="connsiteY2" fmla="*/ 6857998 h 6857998"/>
              <a:gd name="connsiteX3" fmla="*/ 3275747 w 10011411"/>
              <a:gd name="connsiteY3" fmla="*/ 4982824 h 6857998"/>
              <a:gd name="connsiteX4" fmla="*/ 3519700 w 10011411"/>
              <a:gd name="connsiteY4" fmla="*/ 3658412 h 6857998"/>
              <a:gd name="connsiteX5" fmla="*/ 4016529 w 10011411"/>
              <a:gd name="connsiteY5" fmla="*/ 4413863 h 6857998"/>
              <a:gd name="connsiteX6" fmla="*/ 3261827 w 10011411"/>
              <a:gd name="connsiteY6" fmla="*/ 4961650 h 6857998"/>
              <a:gd name="connsiteX7" fmla="*/ 2760749 w 10011411"/>
              <a:gd name="connsiteY7" fmla="*/ 4199448 h 6857998"/>
              <a:gd name="connsiteX8" fmla="*/ 2706283 w 10011411"/>
              <a:gd name="connsiteY8" fmla="*/ 1392683 h 6857998"/>
              <a:gd name="connsiteX9" fmla="*/ 3784828 w 10011411"/>
              <a:gd name="connsiteY9" fmla="*/ 3032412 h 6857998"/>
              <a:gd name="connsiteX10" fmla="*/ 3697175 w 10011411"/>
              <a:gd name="connsiteY10" fmla="*/ 3500828 h 6857998"/>
              <a:gd name="connsiteX11" fmla="*/ 3526323 w 10011411"/>
              <a:gd name="connsiteY11" fmla="*/ 3622621 h 6857998"/>
              <a:gd name="connsiteX12" fmla="*/ 2447854 w 10011411"/>
              <a:gd name="connsiteY12" fmla="*/ 1982842 h 6857998"/>
              <a:gd name="connsiteX13" fmla="*/ 2535508 w 10011411"/>
              <a:gd name="connsiteY13" fmla="*/ 1514425 h 6857998"/>
              <a:gd name="connsiteX14" fmla="*/ 2195548 w 10011411"/>
              <a:gd name="connsiteY14" fmla="*/ 616203 h 6857998"/>
              <a:gd name="connsiteX15" fmla="*/ 2692331 w 10011411"/>
              <a:gd name="connsiteY15" fmla="*/ 1371471 h 6857998"/>
              <a:gd name="connsiteX16" fmla="*/ 2520941 w 10011411"/>
              <a:gd name="connsiteY16" fmla="*/ 1493652 h 6857998"/>
              <a:gd name="connsiteX17" fmla="*/ 2426827 w 10011411"/>
              <a:gd name="connsiteY17" fmla="*/ 1996649 h 6857998"/>
              <a:gd name="connsiteX18" fmla="*/ 3505789 w 10011411"/>
              <a:gd name="connsiteY18" fmla="*/ 3637259 h 6857998"/>
              <a:gd name="connsiteX19" fmla="*/ 2746835 w 10011411"/>
              <a:gd name="connsiteY19" fmla="*/ 4178283 h 6857998"/>
              <a:gd name="connsiteX20" fmla="*/ 978287 w 10011411"/>
              <a:gd name="connsiteY20" fmla="*/ 1488098 h 6857998"/>
              <a:gd name="connsiteX21" fmla="*/ 983485 w 10011411"/>
              <a:gd name="connsiteY21" fmla="*/ 1496005 h 6857998"/>
              <a:gd name="connsiteX22" fmla="*/ 3827485 w 10011411"/>
              <a:gd name="connsiteY22" fmla="*/ 593396 h 6857998"/>
              <a:gd name="connsiteX23" fmla="*/ 5413266 w 10011411"/>
              <a:gd name="connsiteY23" fmla="*/ 2991625 h 6857998"/>
              <a:gd name="connsiteX24" fmla="*/ 5328019 w 10011411"/>
              <a:gd name="connsiteY24" fmla="*/ 3461941 h 6857998"/>
              <a:gd name="connsiteX25" fmla="*/ 4036962 w 10011411"/>
              <a:gd name="connsiteY25" fmla="*/ 4399032 h 6857998"/>
              <a:gd name="connsiteX26" fmla="*/ 3540235 w 10011411"/>
              <a:gd name="connsiteY26" fmla="*/ 3643774 h 6857998"/>
              <a:gd name="connsiteX27" fmla="*/ 3711614 w 10011411"/>
              <a:gd name="connsiteY27" fmla="*/ 3521602 h 6857998"/>
              <a:gd name="connsiteX28" fmla="*/ 3805728 w 10011411"/>
              <a:gd name="connsiteY28" fmla="*/ 3018605 h 6857998"/>
              <a:gd name="connsiteX29" fmla="*/ 2726740 w 10011411"/>
              <a:gd name="connsiteY29" fmla="*/ 1378099 h 6857998"/>
              <a:gd name="connsiteX30" fmla="*/ 4659872 w 10011411"/>
              <a:gd name="connsiteY30" fmla="*/ 0 h 6857998"/>
              <a:gd name="connsiteX31" fmla="*/ 10011411 w 10011411"/>
              <a:gd name="connsiteY31" fmla="*/ 0 h 6857998"/>
              <a:gd name="connsiteX32" fmla="*/ 10011411 w 10011411"/>
              <a:gd name="connsiteY32" fmla="*/ 6857998 h 6857998"/>
              <a:gd name="connsiteX33" fmla="*/ 5654204 w 10011411"/>
              <a:gd name="connsiteY33" fmla="*/ 6857998 h 6857998"/>
              <a:gd name="connsiteX34" fmla="*/ 4050886 w 10011411"/>
              <a:gd name="connsiteY34" fmla="*/ 4420203 h 6857998"/>
              <a:gd name="connsiteX35" fmla="*/ 5342839 w 10011411"/>
              <a:gd name="connsiteY35" fmla="*/ 3482462 h 6857998"/>
              <a:gd name="connsiteX36" fmla="*/ 5434420 w 10011411"/>
              <a:gd name="connsiteY36" fmla="*/ 2977692 h 6857998"/>
              <a:gd name="connsiteX37" fmla="*/ 3848124 w 10011411"/>
              <a:gd name="connsiteY37" fmla="*/ 578682 h 6857998"/>
              <a:gd name="connsiteX38" fmla="*/ 3465482 w 10011411"/>
              <a:gd name="connsiteY38" fmla="*/ 0 h 6857998"/>
              <a:gd name="connsiteX39" fmla="*/ 4616166 w 10011411"/>
              <a:gd name="connsiteY39" fmla="*/ 0 h 6857998"/>
              <a:gd name="connsiteX40" fmla="*/ 3834122 w 10011411"/>
              <a:gd name="connsiteY40" fmla="*/ 557507 h 6857998"/>
              <a:gd name="connsiteX41" fmla="*/ 3044462 w 10011411"/>
              <a:gd name="connsiteY41" fmla="*/ 0 h 6857998"/>
              <a:gd name="connsiteX42" fmla="*/ 3435114 w 10011411"/>
              <a:gd name="connsiteY42" fmla="*/ 0 h 6857998"/>
              <a:gd name="connsiteX43" fmla="*/ 3813483 w 10011411"/>
              <a:gd name="connsiteY43" fmla="*/ 572220 h 6857998"/>
              <a:gd name="connsiteX44" fmla="*/ 2712789 w 10011411"/>
              <a:gd name="connsiteY44" fmla="*/ 1356887 h 6857998"/>
              <a:gd name="connsiteX45" fmla="*/ 2215908 w 10011411"/>
              <a:gd name="connsiteY45" fmla="*/ 601424 h 6857998"/>
              <a:gd name="connsiteX46" fmla="*/ 1820342 w 10011411"/>
              <a:gd name="connsiteY46" fmla="*/ 0 h 6857998"/>
              <a:gd name="connsiteX47" fmla="*/ 3001490 w 10011411"/>
              <a:gd name="connsiteY47" fmla="*/ 0 h 6857998"/>
              <a:gd name="connsiteX48" fmla="*/ 2202008 w 10011411"/>
              <a:gd name="connsiteY48" fmla="*/ 580290 h 6857998"/>
              <a:gd name="connsiteX49" fmla="*/ 0 w 10011411"/>
              <a:gd name="connsiteY49" fmla="*/ 0 h 6857998"/>
              <a:gd name="connsiteX50" fmla="*/ 1790235 w 10011411"/>
              <a:gd name="connsiteY50" fmla="*/ 0 h 6857998"/>
              <a:gd name="connsiteX51" fmla="*/ 2181646 w 10011411"/>
              <a:gd name="connsiteY51" fmla="*/ 595069 h 6857998"/>
              <a:gd name="connsiteX52" fmla="*/ 969567 w 10011411"/>
              <a:gd name="connsiteY52" fmla="*/ 1474834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10011411" h="6857998">
                <a:moveTo>
                  <a:pt x="4030453" y="4435035"/>
                </a:moveTo>
                <a:lnTo>
                  <a:pt x="5623936" y="6857998"/>
                </a:lnTo>
                <a:lnTo>
                  <a:pt x="4508500" y="6857998"/>
                </a:lnTo>
                <a:lnTo>
                  <a:pt x="3275747" y="4982824"/>
                </a:lnTo>
                <a:close/>
                <a:moveTo>
                  <a:pt x="3519700" y="3658412"/>
                </a:moveTo>
                <a:lnTo>
                  <a:pt x="4016529" y="4413863"/>
                </a:lnTo>
                <a:lnTo>
                  <a:pt x="3261827" y="4961650"/>
                </a:lnTo>
                <a:lnTo>
                  <a:pt x="2760749" y="4199448"/>
                </a:lnTo>
                <a:close/>
                <a:moveTo>
                  <a:pt x="2706283" y="1392683"/>
                </a:moveTo>
                <a:lnTo>
                  <a:pt x="3784828" y="3032412"/>
                </a:lnTo>
                <a:cubicBezTo>
                  <a:pt x="3885022" y="3184793"/>
                  <a:pt x="3845755" y="3394934"/>
                  <a:pt x="3697175" y="3500828"/>
                </a:cubicBezTo>
                <a:lnTo>
                  <a:pt x="3526323" y="3622621"/>
                </a:lnTo>
                <a:lnTo>
                  <a:pt x="2447854" y="1982842"/>
                </a:lnTo>
                <a:cubicBezTo>
                  <a:pt x="2347660" y="1830461"/>
                  <a:pt x="2386926" y="1620320"/>
                  <a:pt x="2535508" y="1514425"/>
                </a:cubicBezTo>
                <a:close/>
                <a:moveTo>
                  <a:pt x="2195548" y="616203"/>
                </a:moveTo>
                <a:lnTo>
                  <a:pt x="2692331" y="1371471"/>
                </a:lnTo>
                <a:lnTo>
                  <a:pt x="2520941" y="1493652"/>
                </a:lnTo>
                <a:cubicBezTo>
                  <a:pt x="2361340" y="1607400"/>
                  <a:pt x="2319159" y="1832994"/>
                  <a:pt x="2426827" y="1996649"/>
                </a:cubicBezTo>
                <a:lnTo>
                  <a:pt x="3505789" y="3637259"/>
                </a:lnTo>
                <a:lnTo>
                  <a:pt x="2746835" y="4178283"/>
                </a:lnTo>
                <a:lnTo>
                  <a:pt x="978287" y="1488098"/>
                </a:lnTo>
                <a:lnTo>
                  <a:pt x="983485" y="1496005"/>
                </a:lnTo>
                <a:close/>
                <a:moveTo>
                  <a:pt x="3827485" y="593396"/>
                </a:moveTo>
                <a:lnTo>
                  <a:pt x="5413266" y="2991625"/>
                </a:lnTo>
                <a:cubicBezTo>
                  <a:pt x="5513840" y="3143753"/>
                  <a:pt x="5475587" y="3354781"/>
                  <a:pt x="5328019" y="3461941"/>
                </a:cubicBezTo>
                <a:lnTo>
                  <a:pt x="4036962" y="4399032"/>
                </a:lnTo>
                <a:lnTo>
                  <a:pt x="3540235" y="3643774"/>
                </a:lnTo>
                <a:lnTo>
                  <a:pt x="3711614" y="3521602"/>
                </a:lnTo>
                <a:cubicBezTo>
                  <a:pt x="3871216" y="3407854"/>
                  <a:pt x="3913396" y="3182260"/>
                  <a:pt x="3805728" y="3018605"/>
                </a:cubicBezTo>
                <a:lnTo>
                  <a:pt x="2726740" y="1378099"/>
                </a:lnTo>
                <a:close/>
                <a:moveTo>
                  <a:pt x="4659872" y="0"/>
                </a:moveTo>
                <a:lnTo>
                  <a:pt x="10011411" y="0"/>
                </a:lnTo>
                <a:lnTo>
                  <a:pt x="10011411" y="6857998"/>
                </a:lnTo>
                <a:lnTo>
                  <a:pt x="5654204" y="6857998"/>
                </a:lnTo>
                <a:lnTo>
                  <a:pt x="4050886" y="4420203"/>
                </a:lnTo>
                <a:lnTo>
                  <a:pt x="5342839" y="3482462"/>
                </a:lnTo>
                <a:cubicBezTo>
                  <a:pt x="5501300" y="3367447"/>
                  <a:pt x="5542340" y="3140966"/>
                  <a:pt x="5434420" y="2977692"/>
                </a:cubicBezTo>
                <a:lnTo>
                  <a:pt x="3848124" y="578682"/>
                </a:lnTo>
                <a:close/>
                <a:moveTo>
                  <a:pt x="3465482" y="0"/>
                </a:moveTo>
                <a:lnTo>
                  <a:pt x="4616166" y="0"/>
                </a:lnTo>
                <a:lnTo>
                  <a:pt x="3834122" y="557507"/>
                </a:lnTo>
                <a:close/>
                <a:moveTo>
                  <a:pt x="3044462" y="0"/>
                </a:moveTo>
                <a:lnTo>
                  <a:pt x="3435114" y="0"/>
                </a:lnTo>
                <a:lnTo>
                  <a:pt x="3813483" y="572220"/>
                </a:lnTo>
                <a:lnTo>
                  <a:pt x="2712789" y="1356887"/>
                </a:lnTo>
                <a:lnTo>
                  <a:pt x="2215908" y="601424"/>
                </a:lnTo>
                <a:close/>
                <a:moveTo>
                  <a:pt x="1820342" y="0"/>
                </a:moveTo>
                <a:lnTo>
                  <a:pt x="3001490" y="0"/>
                </a:lnTo>
                <a:lnTo>
                  <a:pt x="2202008" y="580290"/>
                </a:lnTo>
                <a:close/>
                <a:moveTo>
                  <a:pt x="0" y="0"/>
                </a:moveTo>
                <a:lnTo>
                  <a:pt x="1790235" y="0"/>
                </a:lnTo>
                <a:lnTo>
                  <a:pt x="2181646" y="595069"/>
                </a:lnTo>
                <a:lnTo>
                  <a:pt x="969567" y="1474834"/>
                </a:lnTo>
                <a:close/>
              </a:path>
            </a:pathLst>
          </a:custGeom>
          <a:pattFill prst="lt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7" name="design element grey">
            <a:extLst>
              <a:ext uri="{FF2B5EF4-FFF2-40B4-BE49-F238E27FC236}">
                <a16:creationId xmlns:a16="http://schemas.microsoft.com/office/drawing/2014/main" id="{0A0B5A01-CEA4-C7D9-CBFF-296EEE06A8B3}"/>
              </a:ext>
            </a:extLst>
          </p:cNvPr>
          <p:cNvSpPr>
            <a:spLocks noChangeAspect="1"/>
          </p:cNvSpPr>
          <p:nvPr/>
        </p:nvSpPr>
        <p:spPr>
          <a:xfrm>
            <a:off x="2635867" y="1474837"/>
            <a:ext cx="3560683" cy="5383165"/>
          </a:xfrm>
          <a:custGeom>
            <a:avLst/>
            <a:gdLst>
              <a:gd name="connsiteX0" fmla="*/ 1943233 w 3560683"/>
              <a:gd name="connsiteY0" fmla="*/ 2982842 h 5383165"/>
              <a:gd name="connsiteX1" fmla="*/ 119290 w 3560683"/>
              <a:gd name="connsiteY1" fmla="*/ 4283080 h 5383165"/>
              <a:gd name="connsiteX2" fmla="*/ 26950 w 3560683"/>
              <a:gd name="connsiteY2" fmla="*/ 4410128 h 5383165"/>
              <a:gd name="connsiteX3" fmla="*/ 175658 w 3560683"/>
              <a:gd name="connsiteY3" fmla="*/ 4460542 h 5383165"/>
              <a:gd name="connsiteX4" fmla="*/ 1118951 w 3560683"/>
              <a:gd name="connsiteY4" fmla="*/ 4464341 h 5383165"/>
              <a:gd name="connsiteX5" fmla="*/ 1732021 w 3560683"/>
              <a:gd name="connsiteY5" fmla="*/ 4266740 h 5383165"/>
              <a:gd name="connsiteX6" fmla="*/ 2448403 w 3560683"/>
              <a:gd name="connsiteY6" fmla="*/ 3746768 h 5383165"/>
              <a:gd name="connsiteX7" fmla="*/ 514290 w 3560683"/>
              <a:gd name="connsiteY7" fmla="*/ 0 h 5383165"/>
              <a:gd name="connsiteX8" fmla="*/ 528208 w 3560683"/>
              <a:gd name="connsiteY8" fmla="*/ 21171 h 5383165"/>
              <a:gd name="connsiteX9" fmla="*/ 449259 w 3560683"/>
              <a:gd name="connsiteY9" fmla="*/ 78478 h 5383165"/>
              <a:gd name="connsiteX10" fmla="*/ 364012 w 3560683"/>
              <a:gd name="connsiteY10" fmla="*/ 548795 h 5383165"/>
              <a:gd name="connsiteX11" fmla="*/ 1949830 w 3560683"/>
              <a:gd name="connsiteY11" fmla="*/ 2947049 h 5383165"/>
              <a:gd name="connsiteX12" fmla="*/ 2291557 w 3560683"/>
              <a:gd name="connsiteY12" fmla="*/ 2703447 h 5383165"/>
              <a:gd name="connsiteX13" fmla="*/ 2305471 w 3560683"/>
              <a:gd name="connsiteY13" fmla="*/ 2724612 h 5383165"/>
              <a:gd name="connsiteX14" fmla="*/ 1963802 w 3560683"/>
              <a:gd name="connsiteY14" fmla="*/ 2968179 h 5383165"/>
              <a:gd name="connsiteX15" fmla="*/ 2468830 w 3560683"/>
              <a:gd name="connsiteY15" fmla="*/ 3731941 h 5383165"/>
              <a:gd name="connsiteX16" fmla="*/ 2806549 w 3560683"/>
              <a:gd name="connsiteY16" fmla="*/ 3486814 h 5383165"/>
              <a:gd name="connsiteX17" fmla="*/ 2820469 w 3560683"/>
              <a:gd name="connsiteY17" fmla="*/ 3507988 h 5383165"/>
              <a:gd name="connsiteX18" fmla="*/ 2482805 w 3560683"/>
              <a:gd name="connsiteY18" fmla="*/ 3753075 h 5383165"/>
              <a:gd name="connsiteX19" fmla="*/ 3560683 w 3560683"/>
              <a:gd name="connsiteY19" fmla="*/ 5383165 h 5383165"/>
              <a:gd name="connsiteX20" fmla="*/ 3530520 w 3560683"/>
              <a:gd name="connsiteY20" fmla="*/ 5383165 h 5383165"/>
              <a:gd name="connsiteX21" fmla="*/ 2462378 w 3560683"/>
              <a:gd name="connsiteY21" fmla="*/ 3767902 h 5383165"/>
              <a:gd name="connsiteX22" fmla="*/ 1746842 w 3560683"/>
              <a:gd name="connsiteY22" fmla="*/ 4287260 h 5383165"/>
              <a:gd name="connsiteX23" fmla="*/ 1121104 w 3560683"/>
              <a:gd name="connsiteY23" fmla="*/ 4489802 h 5383165"/>
              <a:gd name="connsiteX24" fmla="*/ 1118951 w 3560683"/>
              <a:gd name="connsiteY24" fmla="*/ 4489802 h 5383165"/>
              <a:gd name="connsiteX25" fmla="*/ 175658 w 3560683"/>
              <a:gd name="connsiteY25" fmla="*/ 4486002 h 5383165"/>
              <a:gd name="connsiteX26" fmla="*/ 2883 w 3560683"/>
              <a:gd name="connsiteY26" fmla="*/ 4417855 h 5383165"/>
              <a:gd name="connsiteX27" fmla="*/ 104597 w 3560683"/>
              <a:gd name="connsiteY27" fmla="*/ 4262433 h 5383165"/>
              <a:gd name="connsiteX28" fmla="*/ 1929261 w 3560683"/>
              <a:gd name="connsiteY28" fmla="*/ 2961712 h 5383165"/>
              <a:gd name="connsiteX29" fmla="*/ 342859 w 3560683"/>
              <a:gd name="connsiteY29" fmla="*/ 562728 h 5383165"/>
              <a:gd name="connsiteX30" fmla="*/ 434439 w 3560683"/>
              <a:gd name="connsiteY30" fmla="*/ 57958 h 53831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3560683" h="5383165">
                <a:moveTo>
                  <a:pt x="1943233" y="2982842"/>
                </a:moveTo>
                <a:lnTo>
                  <a:pt x="119290" y="4283080"/>
                </a:lnTo>
                <a:cubicBezTo>
                  <a:pt x="50510" y="4332101"/>
                  <a:pt x="16943" y="4378461"/>
                  <a:pt x="26950" y="4410128"/>
                </a:cubicBezTo>
                <a:cubicBezTo>
                  <a:pt x="36957" y="4441795"/>
                  <a:pt x="91170" y="4460288"/>
                  <a:pt x="175658" y="4460542"/>
                </a:cubicBezTo>
                <a:lnTo>
                  <a:pt x="1118951" y="4464341"/>
                </a:lnTo>
                <a:cubicBezTo>
                  <a:pt x="1305659" y="4464848"/>
                  <a:pt x="1580907" y="4376434"/>
                  <a:pt x="1732021" y="4266740"/>
                </a:cubicBezTo>
                <a:lnTo>
                  <a:pt x="2448403" y="3746768"/>
                </a:lnTo>
                <a:close/>
                <a:moveTo>
                  <a:pt x="514290" y="0"/>
                </a:moveTo>
                <a:lnTo>
                  <a:pt x="528208" y="21171"/>
                </a:lnTo>
                <a:lnTo>
                  <a:pt x="449259" y="78478"/>
                </a:lnTo>
                <a:cubicBezTo>
                  <a:pt x="301565" y="185639"/>
                  <a:pt x="263311" y="396667"/>
                  <a:pt x="364012" y="548795"/>
                </a:cubicBezTo>
                <a:lnTo>
                  <a:pt x="1949830" y="2947049"/>
                </a:lnTo>
                <a:lnTo>
                  <a:pt x="2291557" y="2703447"/>
                </a:lnTo>
                <a:lnTo>
                  <a:pt x="2305471" y="2724612"/>
                </a:lnTo>
                <a:lnTo>
                  <a:pt x="1963802" y="2968179"/>
                </a:lnTo>
                <a:lnTo>
                  <a:pt x="2468830" y="3731941"/>
                </a:lnTo>
                <a:lnTo>
                  <a:pt x="2806549" y="3486814"/>
                </a:lnTo>
                <a:lnTo>
                  <a:pt x="2820469" y="3507988"/>
                </a:lnTo>
                <a:lnTo>
                  <a:pt x="2482805" y="3753075"/>
                </a:lnTo>
                <a:lnTo>
                  <a:pt x="3560683" y="5383165"/>
                </a:lnTo>
                <a:lnTo>
                  <a:pt x="3530520" y="5383165"/>
                </a:lnTo>
                <a:lnTo>
                  <a:pt x="2462378" y="3767902"/>
                </a:lnTo>
                <a:lnTo>
                  <a:pt x="1746842" y="4287260"/>
                </a:lnTo>
                <a:cubicBezTo>
                  <a:pt x="1592687" y="4399234"/>
                  <a:pt x="1312499" y="4489802"/>
                  <a:pt x="1121104" y="4489802"/>
                </a:cubicBezTo>
                <a:lnTo>
                  <a:pt x="1118951" y="4489802"/>
                </a:lnTo>
                <a:lnTo>
                  <a:pt x="175658" y="4486002"/>
                </a:lnTo>
                <a:cubicBezTo>
                  <a:pt x="78124" y="4485622"/>
                  <a:pt x="16816" y="4461428"/>
                  <a:pt x="2883" y="4417855"/>
                </a:cubicBezTo>
                <a:cubicBezTo>
                  <a:pt x="-10924" y="4374281"/>
                  <a:pt x="25177" y="4319180"/>
                  <a:pt x="104597" y="4262433"/>
                </a:cubicBezTo>
                <a:lnTo>
                  <a:pt x="1929261" y="2961712"/>
                </a:lnTo>
                <a:lnTo>
                  <a:pt x="342859" y="562728"/>
                </a:lnTo>
                <a:cubicBezTo>
                  <a:pt x="234811" y="399454"/>
                  <a:pt x="275852" y="173099"/>
                  <a:pt x="434439" y="57958"/>
                </a:cubicBezTo>
                <a:close/>
              </a:path>
            </a:pathLst>
          </a:custGeom>
          <a:solidFill>
            <a:srgbClr val="F2F2F2"/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grpSp>
        <p:nvGrpSpPr>
          <p:cNvPr id="20" name="logo drees&amp;sommer blue">
            <a:extLst>
              <a:ext uri="{FF2B5EF4-FFF2-40B4-BE49-F238E27FC236}">
                <a16:creationId xmlns:a16="http://schemas.microsoft.com/office/drawing/2014/main" id="{1959C79B-0EC4-F061-AA52-335F8BA7A1E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60000" y="360000"/>
            <a:ext cx="1346399" cy="406312"/>
            <a:chOff x="95247" y="1619247"/>
            <a:chExt cx="12004075" cy="3622552"/>
          </a:xfrm>
          <a:solidFill>
            <a:srgbClr val="002965"/>
          </a:solidFill>
        </p:grpSpPr>
        <p:sp>
          <p:nvSpPr>
            <p:cNvPr id="21" name="d">
              <a:extLst>
                <a:ext uri="{FF2B5EF4-FFF2-40B4-BE49-F238E27FC236}">
                  <a16:creationId xmlns:a16="http://schemas.microsoft.com/office/drawing/2014/main" id="{94760A3E-56D1-0A43-6357-4972BEEE3B88}"/>
                </a:ext>
              </a:extLst>
            </p:cNvPr>
            <p:cNvSpPr/>
            <p:nvPr/>
          </p:nvSpPr>
          <p:spPr bwMode="gray">
            <a:xfrm>
              <a:off x="146585" y="1619247"/>
              <a:ext cx="1890145" cy="1555528"/>
            </a:xfrm>
            <a:custGeom>
              <a:avLst/>
              <a:gdLst>
                <a:gd name="connsiteX0" fmla="*/ 361760 w 1890141"/>
                <a:gd name="connsiteY0" fmla="*/ 1263206 h 1555527"/>
                <a:gd name="connsiteX1" fmla="*/ 361760 w 1890141"/>
                <a:gd name="connsiteY1" fmla="*/ 277368 h 1555527"/>
                <a:gd name="connsiteX2" fmla="*/ 1003840 w 1890141"/>
                <a:gd name="connsiteY2" fmla="*/ 277368 h 1555527"/>
                <a:gd name="connsiteX3" fmla="*/ 1516380 w 1890141"/>
                <a:gd name="connsiteY3" fmla="*/ 762762 h 1555527"/>
                <a:gd name="connsiteX4" fmla="*/ 828961 w 1890141"/>
                <a:gd name="connsiteY4" fmla="*/ 1263206 h 1555527"/>
                <a:gd name="connsiteX5" fmla="*/ 361760 w 1890141"/>
                <a:gd name="connsiteY5" fmla="*/ 1263206 h 1555527"/>
                <a:gd name="connsiteX6" fmla="*/ 0 w 1890141"/>
                <a:gd name="connsiteY6" fmla="*/ 1555528 h 1555527"/>
                <a:gd name="connsiteX7" fmla="*/ 907447 w 1890141"/>
                <a:gd name="connsiteY7" fmla="*/ 1555528 h 1555527"/>
                <a:gd name="connsiteX8" fmla="*/ 1546574 w 1890141"/>
                <a:gd name="connsiteY8" fmla="*/ 1435037 h 1555527"/>
                <a:gd name="connsiteX9" fmla="*/ 1890141 w 1890141"/>
                <a:gd name="connsiteY9" fmla="*/ 768763 h 1555527"/>
                <a:gd name="connsiteX10" fmla="*/ 1000792 w 1890141"/>
                <a:gd name="connsiteY10" fmla="*/ 0 h 1555527"/>
                <a:gd name="connsiteX11" fmla="*/ 0 w 1890141"/>
                <a:gd name="connsiteY11" fmla="*/ 0 h 1555527"/>
                <a:gd name="connsiteX12" fmla="*/ 0 w 1890141"/>
                <a:gd name="connsiteY12" fmla="*/ 1555528 h 1555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90141" h="1555527">
                  <a:moveTo>
                    <a:pt x="361760" y="1263206"/>
                  </a:moveTo>
                  <a:lnTo>
                    <a:pt x="361760" y="277368"/>
                  </a:lnTo>
                  <a:lnTo>
                    <a:pt x="1003840" y="277368"/>
                  </a:lnTo>
                  <a:cubicBezTo>
                    <a:pt x="1344549" y="277368"/>
                    <a:pt x="1516380" y="446246"/>
                    <a:pt x="1516380" y="762762"/>
                  </a:cubicBezTo>
                  <a:cubicBezTo>
                    <a:pt x="1516380" y="1148620"/>
                    <a:pt x="1287209" y="1263206"/>
                    <a:pt x="828961" y="1263206"/>
                  </a:cubicBezTo>
                  <a:lnTo>
                    <a:pt x="361760" y="1263206"/>
                  </a:lnTo>
                  <a:close/>
                  <a:moveTo>
                    <a:pt x="0" y="1555528"/>
                  </a:moveTo>
                  <a:lnTo>
                    <a:pt x="907447" y="1555528"/>
                  </a:lnTo>
                  <a:cubicBezTo>
                    <a:pt x="1184624" y="1555528"/>
                    <a:pt x="1395698" y="1528382"/>
                    <a:pt x="1546574" y="1435037"/>
                  </a:cubicBezTo>
                  <a:cubicBezTo>
                    <a:pt x="1763649" y="1302353"/>
                    <a:pt x="1890141" y="1061180"/>
                    <a:pt x="1890141" y="768763"/>
                  </a:cubicBezTo>
                  <a:cubicBezTo>
                    <a:pt x="1890141" y="286417"/>
                    <a:pt x="1582769" y="0"/>
                    <a:pt x="1000792" y="0"/>
                  </a:cubicBezTo>
                  <a:lnTo>
                    <a:pt x="0" y="0"/>
                  </a:lnTo>
                  <a:lnTo>
                    <a:pt x="0" y="15555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  <p:sp>
          <p:nvSpPr>
            <p:cNvPr id="23" name="r">
              <a:extLst>
                <a:ext uri="{FF2B5EF4-FFF2-40B4-BE49-F238E27FC236}">
                  <a16:creationId xmlns:a16="http://schemas.microsoft.com/office/drawing/2014/main" id="{53DD54E1-E232-02AA-71B0-8AB9E05D7722}"/>
                </a:ext>
              </a:extLst>
            </p:cNvPr>
            <p:cNvSpPr/>
            <p:nvPr/>
          </p:nvSpPr>
          <p:spPr bwMode="gray">
            <a:xfrm>
              <a:off x="2405150" y="1899664"/>
              <a:ext cx="1579811" cy="1275112"/>
            </a:xfrm>
            <a:custGeom>
              <a:avLst/>
              <a:gdLst>
                <a:gd name="connsiteX0" fmla="*/ 1015937 w 1579816"/>
                <a:gd name="connsiteY0" fmla="*/ 220028 h 1275111"/>
                <a:gd name="connsiteX1" fmla="*/ 1157668 w 1579816"/>
                <a:gd name="connsiteY1" fmla="*/ 322517 h 1275111"/>
                <a:gd name="connsiteX2" fmla="*/ 1157668 w 1579816"/>
                <a:gd name="connsiteY2" fmla="*/ 470249 h 1275111"/>
                <a:gd name="connsiteX3" fmla="*/ 1015937 w 1579816"/>
                <a:gd name="connsiteY3" fmla="*/ 572738 h 1275111"/>
                <a:gd name="connsiteX4" fmla="*/ 307467 w 1579816"/>
                <a:gd name="connsiteY4" fmla="*/ 572738 h 1275111"/>
                <a:gd name="connsiteX5" fmla="*/ 307467 w 1579816"/>
                <a:gd name="connsiteY5" fmla="*/ 220028 h 1275111"/>
                <a:gd name="connsiteX6" fmla="*/ 1015937 w 1579816"/>
                <a:gd name="connsiteY6" fmla="*/ 220028 h 1275111"/>
                <a:gd name="connsiteX7" fmla="*/ 0 w 1579816"/>
                <a:gd name="connsiteY7" fmla="*/ 1275112 h 1275111"/>
                <a:gd name="connsiteX8" fmla="*/ 307562 w 1579816"/>
                <a:gd name="connsiteY8" fmla="*/ 1275112 h 1275111"/>
                <a:gd name="connsiteX9" fmla="*/ 307562 w 1579816"/>
                <a:gd name="connsiteY9" fmla="*/ 792671 h 1275111"/>
                <a:gd name="connsiteX10" fmla="*/ 599980 w 1579816"/>
                <a:gd name="connsiteY10" fmla="*/ 792671 h 1275111"/>
                <a:gd name="connsiteX11" fmla="*/ 1133570 w 1579816"/>
                <a:gd name="connsiteY11" fmla="*/ 1275112 h 1275111"/>
                <a:gd name="connsiteX12" fmla="*/ 1579817 w 1579816"/>
                <a:gd name="connsiteY12" fmla="*/ 1275112 h 1275111"/>
                <a:gd name="connsiteX13" fmla="*/ 973741 w 1579816"/>
                <a:gd name="connsiteY13" fmla="*/ 792671 h 1275111"/>
                <a:gd name="connsiteX14" fmla="*/ 1148620 w 1579816"/>
                <a:gd name="connsiteY14" fmla="*/ 792671 h 1275111"/>
                <a:gd name="connsiteX15" fmla="*/ 1447133 w 1579816"/>
                <a:gd name="connsiteY15" fmla="*/ 548640 h 1275111"/>
                <a:gd name="connsiteX16" fmla="*/ 1447133 w 1579816"/>
                <a:gd name="connsiteY16" fmla="*/ 247174 h 1275111"/>
                <a:gd name="connsiteX17" fmla="*/ 1148620 w 1579816"/>
                <a:gd name="connsiteY17" fmla="*/ 0 h 1275111"/>
                <a:gd name="connsiteX18" fmla="*/ 0 w 1579816"/>
                <a:gd name="connsiteY18" fmla="*/ 0 h 1275111"/>
                <a:gd name="connsiteX19" fmla="*/ 0 w 1579816"/>
                <a:gd name="connsiteY19" fmla="*/ 1275112 h 1275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79816" h="1275111">
                  <a:moveTo>
                    <a:pt x="1015937" y="220028"/>
                  </a:moveTo>
                  <a:cubicBezTo>
                    <a:pt x="1109282" y="220028"/>
                    <a:pt x="1157668" y="238220"/>
                    <a:pt x="1157668" y="322517"/>
                  </a:cubicBezTo>
                  <a:lnTo>
                    <a:pt x="1157668" y="470249"/>
                  </a:lnTo>
                  <a:cubicBezTo>
                    <a:pt x="1157668" y="554736"/>
                    <a:pt x="1109282" y="572738"/>
                    <a:pt x="1015937" y="572738"/>
                  </a:cubicBezTo>
                  <a:lnTo>
                    <a:pt x="307467" y="572738"/>
                  </a:lnTo>
                  <a:lnTo>
                    <a:pt x="307467" y="220028"/>
                  </a:lnTo>
                  <a:lnTo>
                    <a:pt x="1015937" y="220028"/>
                  </a:lnTo>
                  <a:close/>
                  <a:moveTo>
                    <a:pt x="0" y="1275112"/>
                  </a:moveTo>
                  <a:lnTo>
                    <a:pt x="307562" y="1275112"/>
                  </a:lnTo>
                  <a:lnTo>
                    <a:pt x="307562" y="792671"/>
                  </a:lnTo>
                  <a:lnTo>
                    <a:pt x="599980" y="792671"/>
                  </a:lnTo>
                  <a:lnTo>
                    <a:pt x="1133570" y="1275112"/>
                  </a:lnTo>
                  <a:lnTo>
                    <a:pt x="1579817" y="1275112"/>
                  </a:lnTo>
                  <a:lnTo>
                    <a:pt x="973741" y="792671"/>
                  </a:lnTo>
                  <a:lnTo>
                    <a:pt x="1148620" y="792671"/>
                  </a:lnTo>
                  <a:cubicBezTo>
                    <a:pt x="1353693" y="792671"/>
                    <a:pt x="1447133" y="723329"/>
                    <a:pt x="1447133" y="548640"/>
                  </a:cubicBezTo>
                  <a:lnTo>
                    <a:pt x="1447133" y="247174"/>
                  </a:lnTo>
                  <a:cubicBezTo>
                    <a:pt x="1447133" y="69342"/>
                    <a:pt x="1353598" y="0"/>
                    <a:pt x="1148620" y="0"/>
                  </a:cubicBezTo>
                  <a:lnTo>
                    <a:pt x="0" y="0"/>
                  </a:lnTo>
                  <a:lnTo>
                    <a:pt x="0" y="12751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  <p:sp>
          <p:nvSpPr>
            <p:cNvPr id="24" name="e">
              <a:extLst>
                <a:ext uri="{FF2B5EF4-FFF2-40B4-BE49-F238E27FC236}">
                  <a16:creationId xmlns:a16="http://schemas.microsoft.com/office/drawing/2014/main" id="{DD0014E8-D9F0-E255-FE83-DBBF069948BE}"/>
                </a:ext>
              </a:extLst>
            </p:cNvPr>
            <p:cNvSpPr/>
            <p:nvPr/>
          </p:nvSpPr>
          <p:spPr bwMode="gray">
            <a:xfrm>
              <a:off x="4279102" y="1899664"/>
              <a:ext cx="1383701" cy="1275112"/>
            </a:xfrm>
            <a:custGeom>
              <a:avLst/>
              <a:gdLst>
                <a:gd name="connsiteX0" fmla="*/ 0 w 1383696"/>
                <a:gd name="connsiteY0" fmla="*/ 1275112 h 1275111"/>
                <a:gd name="connsiteX1" fmla="*/ 1383697 w 1383696"/>
                <a:gd name="connsiteY1" fmla="*/ 1275112 h 1275111"/>
                <a:gd name="connsiteX2" fmla="*/ 1383697 w 1383696"/>
                <a:gd name="connsiteY2" fmla="*/ 1036987 h 1275111"/>
                <a:gd name="connsiteX3" fmla="*/ 313563 w 1383696"/>
                <a:gd name="connsiteY3" fmla="*/ 1036987 h 1275111"/>
                <a:gd name="connsiteX4" fmla="*/ 313563 w 1383696"/>
                <a:gd name="connsiteY4" fmla="*/ 723424 h 1275111"/>
                <a:gd name="connsiteX5" fmla="*/ 928497 w 1383696"/>
                <a:gd name="connsiteY5" fmla="*/ 723424 h 1275111"/>
                <a:gd name="connsiteX6" fmla="*/ 928497 w 1383696"/>
                <a:gd name="connsiteY6" fmla="*/ 503396 h 1275111"/>
                <a:gd name="connsiteX7" fmla="*/ 313563 w 1383696"/>
                <a:gd name="connsiteY7" fmla="*/ 503396 h 1275111"/>
                <a:gd name="connsiteX8" fmla="*/ 313563 w 1383696"/>
                <a:gd name="connsiteY8" fmla="*/ 226028 h 1275111"/>
                <a:gd name="connsiteX9" fmla="*/ 1368743 w 1383696"/>
                <a:gd name="connsiteY9" fmla="*/ 226028 h 1275111"/>
                <a:gd name="connsiteX10" fmla="*/ 1368743 w 1383696"/>
                <a:gd name="connsiteY10" fmla="*/ 0 h 1275111"/>
                <a:gd name="connsiteX11" fmla="*/ 0 w 1383696"/>
                <a:gd name="connsiteY11" fmla="*/ 0 h 1275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83696" h="1275111">
                  <a:moveTo>
                    <a:pt x="0" y="1275112"/>
                  </a:moveTo>
                  <a:lnTo>
                    <a:pt x="1383697" y="1275112"/>
                  </a:lnTo>
                  <a:lnTo>
                    <a:pt x="1383697" y="1036987"/>
                  </a:lnTo>
                  <a:lnTo>
                    <a:pt x="313563" y="1036987"/>
                  </a:lnTo>
                  <a:lnTo>
                    <a:pt x="313563" y="723424"/>
                  </a:lnTo>
                  <a:lnTo>
                    <a:pt x="928497" y="723424"/>
                  </a:lnTo>
                  <a:lnTo>
                    <a:pt x="928497" y="503396"/>
                  </a:lnTo>
                  <a:lnTo>
                    <a:pt x="313563" y="503396"/>
                  </a:lnTo>
                  <a:lnTo>
                    <a:pt x="313563" y="226028"/>
                  </a:lnTo>
                  <a:lnTo>
                    <a:pt x="1368743" y="226028"/>
                  </a:lnTo>
                  <a:lnTo>
                    <a:pt x="136874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  <p:sp>
          <p:nvSpPr>
            <p:cNvPr id="25" name="e">
              <a:extLst>
                <a:ext uri="{FF2B5EF4-FFF2-40B4-BE49-F238E27FC236}">
                  <a16:creationId xmlns:a16="http://schemas.microsoft.com/office/drawing/2014/main" id="{2BD5D2CD-A5AF-826C-BB40-E5C11CBFCA0C}"/>
                </a:ext>
              </a:extLst>
            </p:cNvPr>
            <p:cNvSpPr/>
            <p:nvPr/>
          </p:nvSpPr>
          <p:spPr bwMode="gray">
            <a:xfrm>
              <a:off x="6022562" y="1899664"/>
              <a:ext cx="1383701" cy="1275112"/>
            </a:xfrm>
            <a:custGeom>
              <a:avLst/>
              <a:gdLst>
                <a:gd name="connsiteX0" fmla="*/ 0 w 1383696"/>
                <a:gd name="connsiteY0" fmla="*/ 1275112 h 1275111"/>
                <a:gd name="connsiteX1" fmla="*/ 1383697 w 1383696"/>
                <a:gd name="connsiteY1" fmla="*/ 1275112 h 1275111"/>
                <a:gd name="connsiteX2" fmla="*/ 1383697 w 1383696"/>
                <a:gd name="connsiteY2" fmla="*/ 1036987 h 1275111"/>
                <a:gd name="connsiteX3" fmla="*/ 313563 w 1383696"/>
                <a:gd name="connsiteY3" fmla="*/ 1036987 h 1275111"/>
                <a:gd name="connsiteX4" fmla="*/ 313563 w 1383696"/>
                <a:gd name="connsiteY4" fmla="*/ 723424 h 1275111"/>
                <a:gd name="connsiteX5" fmla="*/ 928497 w 1383696"/>
                <a:gd name="connsiteY5" fmla="*/ 723424 h 1275111"/>
                <a:gd name="connsiteX6" fmla="*/ 928497 w 1383696"/>
                <a:gd name="connsiteY6" fmla="*/ 503396 h 1275111"/>
                <a:gd name="connsiteX7" fmla="*/ 313563 w 1383696"/>
                <a:gd name="connsiteY7" fmla="*/ 503396 h 1275111"/>
                <a:gd name="connsiteX8" fmla="*/ 313563 w 1383696"/>
                <a:gd name="connsiteY8" fmla="*/ 226028 h 1275111"/>
                <a:gd name="connsiteX9" fmla="*/ 1368743 w 1383696"/>
                <a:gd name="connsiteY9" fmla="*/ 226028 h 1275111"/>
                <a:gd name="connsiteX10" fmla="*/ 1368743 w 1383696"/>
                <a:gd name="connsiteY10" fmla="*/ 0 h 1275111"/>
                <a:gd name="connsiteX11" fmla="*/ 0 w 1383696"/>
                <a:gd name="connsiteY11" fmla="*/ 0 h 1275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83696" h="1275111">
                  <a:moveTo>
                    <a:pt x="0" y="1275112"/>
                  </a:moveTo>
                  <a:lnTo>
                    <a:pt x="1383697" y="1275112"/>
                  </a:lnTo>
                  <a:lnTo>
                    <a:pt x="1383697" y="1036987"/>
                  </a:lnTo>
                  <a:lnTo>
                    <a:pt x="313563" y="1036987"/>
                  </a:lnTo>
                  <a:lnTo>
                    <a:pt x="313563" y="723424"/>
                  </a:lnTo>
                  <a:lnTo>
                    <a:pt x="928497" y="723424"/>
                  </a:lnTo>
                  <a:lnTo>
                    <a:pt x="928497" y="503396"/>
                  </a:lnTo>
                  <a:lnTo>
                    <a:pt x="313563" y="503396"/>
                  </a:lnTo>
                  <a:lnTo>
                    <a:pt x="313563" y="226028"/>
                  </a:lnTo>
                  <a:lnTo>
                    <a:pt x="1368743" y="226028"/>
                  </a:lnTo>
                  <a:lnTo>
                    <a:pt x="136874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  <p:sp>
          <p:nvSpPr>
            <p:cNvPr id="26" name="s">
              <a:extLst>
                <a:ext uri="{FF2B5EF4-FFF2-40B4-BE49-F238E27FC236}">
                  <a16:creationId xmlns:a16="http://schemas.microsoft.com/office/drawing/2014/main" id="{35A9CC71-C344-A46C-B581-04A60AA676AE}"/>
                </a:ext>
              </a:extLst>
            </p:cNvPr>
            <p:cNvSpPr/>
            <p:nvPr/>
          </p:nvSpPr>
          <p:spPr bwMode="gray">
            <a:xfrm>
              <a:off x="7714204" y="1899664"/>
              <a:ext cx="1495239" cy="1275213"/>
            </a:xfrm>
            <a:custGeom>
              <a:avLst/>
              <a:gdLst>
                <a:gd name="connsiteX0" fmla="*/ 1211770 w 1495234"/>
                <a:gd name="connsiteY0" fmla="*/ 229076 h 1275207"/>
                <a:gd name="connsiteX1" fmla="*/ 1211770 w 1495234"/>
                <a:gd name="connsiteY1" fmla="*/ 348234 h 1275207"/>
                <a:gd name="connsiteX2" fmla="*/ 1479995 w 1495234"/>
                <a:gd name="connsiteY2" fmla="*/ 291084 h 1275207"/>
                <a:gd name="connsiteX3" fmla="*/ 1479995 w 1495234"/>
                <a:gd name="connsiteY3" fmla="*/ 277368 h 1275207"/>
                <a:gd name="connsiteX4" fmla="*/ 1145477 w 1495234"/>
                <a:gd name="connsiteY4" fmla="*/ 0 h 1275207"/>
                <a:gd name="connsiteX5" fmla="*/ 388905 w 1495234"/>
                <a:gd name="connsiteY5" fmla="*/ 0 h 1275207"/>
                <a:gd name="connsiteX6" fmla="*/ 54197 w 1495234"/>
                <a:gd name="connsiteY6" fmla="*/ 301561 h 1275207"/>
                <a:gd name="connsiteX7" fmla="*/ 54197 w 1495234"/>
                <a:gd name="connsiteY7" fmla="*/ 443294 h 1275207"/>
                <a:gd name="connsiteX8" fmla="*/ 388905 w 1495234"/>
                <a:gd name="connsiteY8" fmla="*/ 744665 h 1275207"/>
                <a:gd name="connsiteX9" fmla="*/ 1214818 w 1495234"/>
                <a:gd name="connsiteY9" fmla="*/ 744665 h 1275207"/>
                <a:gd name="connsiteX10" fmla="*/ 1214818 w 1495234"/>
                <a:gd name="connsiteY10" fmla="*/ 1037177 h 1275207"/>
                <a:gd name="connsiteX11" fmla="*/ 277177 w 1495234"/>
                <a:gd name="connsiteY11" fmla="*/ 1037177 h 1275207"/>
                <a:gd name="connsiteX12" fmla="*/ 277177 w 1495234"/>
                <a:gd name="connsiteY12" fmla="*/ 902875 h 1275207"/>
                <a:gd name="connsiteX13" fmla="*/ 0 w 1495234"/>
                <a:gd name="connsiteY13" fmla="*/ 954214 h 1275207"/>
                <a:gd name="connsiteX14" fmla="*/ 0 w 1495234"/>
                <a:gd name="connsiteY14" fmla="*/ 973836 h 1275207"/>
                <a:gd name="connsiteX15" fmla="*/ 334518 w 1495234"/>
                <a:gd name="connsiteY15" fmla="*/ 1275207 h 1275207"/>
                <a:gd name="connsiteX16" fmla="*/ 1163669 w 1495234"/>
                <a:gd name="connsiteY16" fmla="*/ 1275207 h 1275207"/>
                <a:gd name="connsiteX17" fmla="*/ 1495234 w 1495234"/>
                <a:gd name="connsiteY17" fmla="*/ 973836 h 1275207"/>
                <a:gd name="connsiteX18" fmla="*/ 1495234 w 1495234"/>
                <a:gd name="connsiteY18" fmla="*/ 798957 h 1275207"/>
                <a:gd name="connsiteX19" fmla="*/ 1163669 w 1495234"/>
                <a:gd name="connsiteY19" fmla="*/ 497586 h 1275207"/>
                <a:gd name="connsiteX20" fmla="*/ 334518 w 1495234"/>
                <a:gd name="connsiteY20" fmla="*/ 497586 h 1275207"/>
                <a:gd name="connsiteX21" fmla="*/ 334518 w 1495234"/>
                <a:gd name="connsiteY21" fmla="*/ 229076 h 1275207"/>
                <a:gd name="connsiteX22" fmla="*/ 1211770 w 1495234"/>
                <a:gd name="connsiteY22" fmla="*/ 229076 h 127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95234" h="1275207">
                  <a:moveTo>
                    <a:pt x="1211770" y="229076"/>
                  </a:moveTo>
                  <a:lnTo>
                    <a:pt x="1211770" y="348234"/>
                  </a:lnTo>
                  <a:lnTo>
                    <a:pt x="1479995" y="291084"/>
                  </a:lnTo>
                  <a:lnTo>
                    <a:pt x="1479995" y="277368"/>
                  </a:lnTo>
                  <a:cubicBezTo>
                    <a:pt x="1479995" y="54388"/>
                    <a:pt x="1380649" y="0"/>
                    <a:pt x="1145477" y="0"/>
                  </a:cubicBezTo>
                  <a:lnTo>
                    <a:pt x="388905" y="0"/>
                  </a:lnTo>
                  <a:cubicBezTo>
                    <a:pt x="138684" y="0"/>
                    <a:pt x="54197" y="60388"/>
                    <a:pt x="54197" y="301561"/>
                  </a:cubicBezTo>
                  <a:lnTo>
                    <a:pt x="54197" y="443294"/>
                  </a:lnTo>
                  <a:cubicBezTo>
                    <a:pt x="54197" y="684467"/>
                    <a:pt x="138684" y="744665"/>
                    <a:pt x="388905" y="744665"/>
                  </a:cubicBezTo>
                  <a:lnTo>
                    <a:pt x="1214818" y="744665"/>
                  </a:lnTo>
                  <a:lnTo>
                    <a:pt x="1214818" y="1037177"/>
                  </a:lnTo>
                  <a:lnTo>
                    <a:pt x="277177" y="1037177"/>
                  </a:lnTo>
                  <a:lnTo>
                    <a:pt x="277177" y="902875"/>
                  </a:lnTo>
                  <a:lnTo>
                    <a:pt x="0" y="954214"/>
                  </a:lnTo>
                  <a:lnTo>
                    <a:pt x="0" y="973836"/>
                  </a:lnTo>
                  <a:cubicBezTo>
                    <a:pt x="0" y="1212056"/>
                    <a:pt x="81343" y="1275207"/>
                    <a:pt x="334518" y="1275207"/>
                  </a:cubicBezTo>
                  <a:lnTo>
                    <a:pt x="1163669" y="1275207"/>
                  </a:lnTo>
                  <a:cubicBezTo>
                    <a:pt x="1416844" y="1275207"/>
                    <a:pt x="1495234" y="1212056"/>
                    <a:pt x="1495234" y="973836"/>
                  </a:cubicBezTo>
                  <a:lnTo>
                    <a:pt x="1495234" y="798957"/>
                  </a:lnTo>
                  <a:cubicBezTo>
                    <a:pt x="1495234" y="557784"/>
                    <a:pt x="1416939" y="497586"/>
                    <a:pt x="1163669" y="497586"/>
                  </a:cubicBezTo>
                  <a:lnTo>
                    <a:pt x="334518" y="497586"/>
                  </a:lnTo>
                  <a:lnTo>
                    <a:pt x="334518" y="229076"/>
                  </a:lnTo>
                  <a:lnTo>
                    <a:pt x="1211770" y="22907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  <p:sp>
          <p:nvSpPr>
            <p:cNvPr id="27" name="&amp;">
              <a:extLst>
                <a:ext uri="{FF2B5EF4-FFF2-40B4-BE49-F238E27FC236}">
                  <a16:creationId xmlns:a16="http://schemas.microsoft.com/office/drawing/2014/main" id="{831C9289-BCF7-FCAC-5826-B08A01B9438C}"/>
                </a:ext>
              </a:extLst>
            </p:cNvPr>
            <p:cNvSpPr/>
            <p:nvPr/>
          </p:nvSpPr>
          <p:spPr bwMode="gray">
            <a:xfrm>
              <a:off x="9995063" y="1619247"/>
              <a:ext cx="2104259" cy="1555528"/>
            </a:xfrm>
            <a:custGeom>
              <a:avLst/>
              <a:gdLst>
                <a:gd name="connsiteX0" fmla="*/ 304514 w 2104263"/>
                <a:gd name="connsiteY0" fmla="*/ 1284161 h 1555527"/>
                <a:gd name="connsiteX1" fmla="*/ 304514 w 2104263"/>
                <a:gd name="connsiteY1" fmla="*/ 1018985 h 1555527"/>
                <a:gd name="connsiteX2" fmla="*/ 702373 w 2104263"/>
                <a:gd name="connsiteY2" fmla="*/ 771811 h 1555527"/>
                <a:gd name="connsiteX3" fmla="*/ 1169575 w 2104263"/>
                <a:gd name="connsiteY3" fmla="*/ 1160717 h 1555527"/>
                <a:gd name="connsiteX4" fmla="*/ 1024890 w 2104263"/>
                <a:gd name="connsiteY4" fmla="*/ 1284256 h 1555527"/>
                <a:gd name="connsiteX5" fmla="*/ 304514 w 2104263"/>
                <a:gd name="connsiteY5" fmla="*/ 1284256 h 1555527"/>
                <a:gd name="connsiteX6" fmla="*/ 388811 w 2104263"/>
                <a:gd name="connsiteY6" fmla="*/ 1555528 h 1555527"/>
                <a:gd name="connsiteX7" fmla="*/ 943547 w 2104263"/>
                <a:gd name="connsiteY7" fmla="*/ 1555528 h 1555527"/>
                <a:gd name="connsiteX8" fmla="*/ 1235964 w 2104263"/>
                <a:gd name="connsiteY8" fmla="*/ 1461992 h 1555527"/>
                <a:gd name="connsiteX9" fmla="*/ 1374649 w 2104263"/>
                <a:gd name="connsiteY9" fmla="*/ 1338453 h 1555527"/>
                <a:gd name="connsiteX10" fmla="*/ 1630870 w 2104263"/>
                <a:gd name="connsiteY10" fmla="*/ 1555528 h 1555527"/>
                <a:gd name="connsiteX11" fmla="*/ 2104264 w 2104263"/>
                <a:gd name="connsiteY11" fmla="*/ 1555528 h 1555527"/>
                <a:gd name="connsiteX12" fmla="*/ 1612869 w 2104263"/>
                <a:gd name="connsiteY12" fmla="*/ 1142429 h 1555527"/>
                <a:gd name="connsiteX13" fmla="*/ 1971580 w 2104263"/>
                <a:gd name="connsiteY13" fmla="*/ 844106 h 1555527"/>
                <a:gd name="connsiteX14" fmla="*/ 1766507 w 2104263"/>
                <a:gd name="connsiteY14" fmla="*/ 666274 h 1555527"/>
                <a:gd name="connsiteX15" fmla="*/ 1404747 w 2104263"/>
                <a:gd name="connsiteY15" fmla="*/ 967645 h 1555527"/>
                <a:gd name="connsiteX16" fmla="*/ 672180 w 2104263"/>
                <a:gd name="connsiteY16" fmla="*/ 358712 h 1555527"/>
                <a:gd name="connsiteX17" fmla="*/ 672180 w 2104263"/>
                <a:gd name="connsiteY17" fmla="*/ 247174 h 1555527"/>
                <a:gd name="connsiteX18" fmla="*/ 1181767 w 2104263"/>
                <a:gd name="connsiteY18" fmla="*/ 247174 h 1555527"/>
                <a:gd name="connsiteX19" fmla="*/ 1181767 w 2104263"/>
                <a:gd name="connsiteY19" fmla="*/ 455295 h 1555527"/>
                <a:gd name="connsiteX20" fmla="*/ 1461992 w 2104263"/>
                <a:gd name="connsiteY20" fmla="*/ 407099 h 1555527"/>
                <a:gd name="connsiteX21" fmla="*/ 1461992 w 2104263"/>
                <a:gd name="connsiteY21" fmla="*/ 313563 h 1555527"/>
                <a:gd name="connsiteX22" fmla="*/ 1076134 w 2104263"/>
                <a:gd name="connsiteY22" fmla="*/ 0 h 1555527"/>
                <a:gd name="connsiteX23" fmla="*/ 762763 w 2104263"/>
                <a:gd name="connsiteY23" fmla="*/ 0 h 1555527"/>
                <a:gd name="connsiteX24" fmla="*/ 376905 w 2104263"/>
                <a:gd name="connsiteY24" fmla="*/ 283369 h 1555527"/>
                <a:gd name="connsiteX25" fmla="*/ 376905 w 2104263"/>
                <a:gd name="connsiteY25" fmla="*/ 370713 h 1555527"/>
                <a:gd name="connsiteX26" fmla="*/ 509588 w 2104263"/>
                <a:gd name="connsiteY26" fmla="*/ 605885 h 1555527"/>
                <a:gd name="connsiteX27" fmla="*/ 192881 w 2104263"/>
                <a:gd name="connsiteY27" fmla="*/ 795909 h 1555527"/>
                <a:gd name="connsiteX28" fmla="*/ 0 w 2104263"/>
                <a:gd name="connsiteY28" fmla="*/ 1085279 h 1555527"/>
                <a:gd name="connsiteX29" fmla="*/ 0 w 2104263"/>
                <a:gd name="connsiteY29" fmla="*/ 1187768 h 1555527"/>
                <a:gd name="connsiteX30" fmla="*/ 388811 w 2104263"/>
                <a:gd name="connsiteY30" fmla="*/ 1555528 h 1555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104263" h="1555527">
                  <a:moveTo>
                    <a:pt x="304514" y="1284161"/>
                  </a:moveTo>
                  <a:lnTo>
                    <a:pt x="304514" y="1018985"/>
                  </a:lnTo>
                  <a:lnTo>
                    <a:pt x="702373" y="771811"/>
                  </a:lnTo>
                  <a:lnTo>
                    <a:pt x="1169575" y="1160717"/>
                  </a:lnTo>
                  <a:lnTo>
                    <a:pt x="1024890" y="1284256"/>
                  </a:lnTo>
                  <a:lnTo>
                    <a:pt x="304514" y="1284256"/>
                  </a:lnTo>
                  <a:close/>
                  <a:moveTo>
                    <a:pt x="388811" y="1555528"/>
                  </a:moveTo>
                  <a:lnTo>
                    <a:pt x="943547" y="1555528"/>
                  </a:lnTo>
                  <a:cubicBezTo>
                    <a:pt x="1073087" y="1555528"/>
                    <a:pt x="1136428" y="1549527"/>
                    <a:pt x="1235964" y="1461992"/>
                  </a:cubicBezTo>
                  <a:lnTo>
                    <a:pt x="1374649" y="1338453"/>
                  </a:lnTo>
                  <a:lnTo>
                    <a:pt x="1630870" y="1555528"/>
                  </a:lnTo>
                  <a:lnTo>
                    <a:pt x="2104264" y="1555528"/>
                  </a:lnTo>
                  <a:lnTo>
                    <a:pt x="1612869" y="1142429"/>
                  </a:lnTo>
                  <a:lnTo>
                    <a:pt x="1971580" y="844106"/>
                  </a:lnTo>
                  <a:lnTo>
                    <a:pt x="1766507" y="666274"/>
                  </a:lnTo>
                  <a:lnTo>
                    <a:pt x="1404747" y="967645"/>
                  </a:lnTo>
                  <a:lnTo>
                    <a:pt x="672180" y="358712"/>
                  </a:lnTo>
                  <a:lnTo>
                    <a:pt x="672180" y="247174"/>
                  </a:lnTo>
                  <a:lnTo>
                    <a:pt x="1181767" y="247174"/>
                  </a:lnTo>
                  <a:lnTo>
                    <a:pt x="1181767" y="455295"/>
                  </a:lnTo>
                  <a:lnTo>
                    <a:pt x="1461992" y="407099"/>
                  </a:lnTo>
                  <a:lnTo>
                    <a:pt x="1461992" y="313563"/>
                  </a:lnTo>
                  <a:cubicBezTo>
                    <a:pt x="1461992" y="60389"/>
                    <a:pt x="1356456" y="0"/>
                    <a:pt x="1076134" y="0"/>
                  </a:cubicBezTo>
                  <a:lnTo>
                    <a:pt x="762763" y="0"/>
                  </a:lnTo>
                  <a:cubicBezTo>
                    <a:pt x="497395" y="0"/>
                    <a:pt x="376905" y="60389"/>
                    <a:pt x="376905" y="283369"/>
                  </a:cubicBezTo>
                  <a:lnTo>
                    <a:pt x="376905" y="370713"/>
                  </a:lnTo>
                  <a:cubicBezTo>
                    <a:pt x="376905" y="461200"/>
                    <a:pt x="419100" y="530543"/>
                    <a:pt x="509588" y="605885"/>
                  </a:cubicBezTo>
                  <a:lnTo>
                    <a:pt x="192881" y="795909"/>
                  </a:lnTo>
                  <a:cubicBezTo>
                    <a:pt x="57341" y="877253"/>
                    <a:pt x="0" y="925449"/>
                    <a:pt x="0" y="1085279"/>
                  </a:cubicBezTo>
                  <a:lnTo>
                    <a:pt x="0" y="1187768"/>
                  </a:lnTo>
                  <a:cubicBezTo>
                    <a:pt x="0" y="1480185"/>
                    <a:pt x="96488" y="1555528"/>
                    <a:pt x="388811" y="1555528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  <p:sp>
          <p:nvSpPr>
            <p:cNvPr id="28" name="s">
              <a:extLst>
                <a:ext uri="{FF2B5EF4-FFF2-40B4-BE49-F238E27FC236}">
                  <a16:creationId xmlns:a16="http://schemas.microsoft.com/office/drawing/2014/main" id="{786AFD27-5E6B-8BF5-461E-3DAE61223002}"/>
                </a:ext>
              </a:extLst>
            </p:cNvPr>
            <p:cNvSpPr/>
            <p:nvPr/>
          </p:nvSpPr>
          <p:spPr bwMode="gray">
            <a:xfrm>
              <a:off x="95247" y="3686081"/>
              <a:ext cx="1739650" cy="1555528"/>
            </a:xfrm>
            <a:custGeom>
              <a:avLst/>
              <a:gdLst>
                <a:gd name="connsiteX0" fmla="*/ 1398842 w 1739645"/>
                <a:gd name="connsiteY0" fmla="*/ 271367 h 1555527"/>
                <a:gd name="connsiteX1" fmla="*/ 1398842 w 1739645"/>
                <a:gd name="connsiteY1" fmla="*/ 439865 h 1555527"/>
                <a:gd name="connsiteX2" fmla="*/ 1718405 w 1739645"/>
                <a:gd name="connsiteY2" fmla="*/ 364522 h 1555527"/>
                <a:gd name="connsiteX3" fmla="*/ 1718405 w 1739645"/>
                <a:gd name="connsiteY3" fmla="*/ 340709 h 1555527"/>
                <a:gd name="connsiteX4" fmla="*/ 1332548 w 1739645"/>
                <a:gd name="connsiteY4" fmla="*/ 0 h 1555527"/>
                <a:gd name="connsiteX5" fmla="*/ 449199 w 1739645"/>
                <a:gd name="connsiteY5" fmla="*/ 0 h 1555527"/>
                <a:gd name="connsiteX6" fmla="*/ 63341 w 1739645"/>
                <a:gd name="connsiteY6" fmla="*/ 367855 h 1555527"/>
                <a:gd name="connsiteX7" fmla="*/ 63341 w 1739645"/>
                <a:gd name="connsiteY7" fmla="*/ 539496 h 1555527"/>
                <a:gd name="connsiteX8" fmla="*/ 449199 w 1739645"/>
                <a:gd name="connsiteY8" fmla="*/ 907351 h 1555527"/>
                <a:gd name="connsiteX9" fmla="*/ 1419987 w 1739645"/>
                <a:gd name="connsiteY9" fmla="*/ 907351 h 1555527"/>
                <a:gd name="connsiteX10" fmla="*/ 1419987 w 1739645"/>
                <a:gd name="connsiteY10" fmla="*/ 1263110 h 1555527"/>
                <a:gd name="connsiteX11" fmla="*/ 319754 w 1739645"/>
                <a:gd name="connsiteY11" fmla="*/ 1263110 h 1555527"/>
                <a:gd name="connsiteX12" fmla="*/ 319754 w 1739645"/>
                <a:gd name="connsiteY12" fmla="*/ 1095661 h 1555527"/>
                <a:gd name="connsiteX13" fmla="*/ 0 w 1739645"/>
                <a:gd name="connsiteY13" fmla="*/ 1162050 h 1555527"/>
                <a:gd name="connsiteX14" fmla="*/ 0 w 1739645"/>
                <a:gd name="connsiteY14" fmla="*/ 1187768 h 1555527"/>
                <a:gd name="connsiteX15" fmla="*/ 388906 w 1739645"/>
                <a:gd name="connsiteY15" fmla="*/ 1555528 h 1555527"/>
                <a:gd name="connsiteX16" fmla="*/ 1350740 w 1739645"/>
                <a:gd name="connsiteY16" fmla="*/ 1555528 h 1555527"/>
                <a:gd name="connsiteX17" fmla="*/ 1739646 w 1739645"/>
                <a:gd name="connsiteY17" fmla="*/ 1187768 h 1555527"/>
                <a:gd name="connsiteX18" fmla="*/ 1739646 w 1739645"/>
                <a:gd name="connsiteY18" fmla="*/ 973741 h 1555527"/>
                <a:gd name="connsiteX19" fmla="*/ 1350740 w 1739645"/>
                <a:gd name="connsiteY19" fmla="*/ 605885 h 1555527"/>
                <a:gd name="connsiteX20" fmla="*/ 379857 w 1739645"/>
                <a:gd name="connsiteY20" fmla="*/ 605885 h 1555527"/>
                <a:gd name="connsiteX21" fmla="*/ 379857 w 1739645"/>
                <a:gd name="connsiteY21" fmla="*/ 271367 h 1555527"/>
                <a:gd name="connsiteX22" fmla="*/ 1398842 w 1739645"/>
                <a:gd name="connsiteY22" fmla="*/ 271367 h 1555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39645" h="1555527">
                  <a:moveTo>
                    <a:pt x="1398842" y="271367"/>
                  </a:moveTo>
                  <a:lnTo>
                    <a:pt x="1398842" y="439865"/>
                  </a:lnTo>
                  <a:lnTo>
                    <a:pt x="1718405" y="364522"/>
                  </a:lnTo>
                  <a:lnTo>
                    <a:pt x="1718405" y="340709"/>
                  </a:lnTo>
                  <a:cubicBezTo>
                    <a:pt x="1718405" y="72295"/>
                    <a:pt x="1609916" y="0"/>
                    <a:pt x="1332548" y="0"/>
                  </a:cubicBezTo>
                  <a:lnTo>
                    <a:pt x="449199" y="0"/>
                  </a:lnTo>
                  <a:cubicBezTo>
                    <a:pt x="156781" y="0"/>
                    <a:pt x="63341" y="75343"/>
                    <a:pt x="63341" y="367855"/>
                  </a:cubicBezTo>
                  <a:lnTo>
                    <a:pt x="63341" y="539496"/>
                  </a:lnTo>
                  <a:cubicBezTo>
                    <a:pt x="63341" y="832009"/>
                    <a:pt x="156877" y="907351"/>
                    <a:pt x="449199" y="907351"/>
                  </a:cubicBezTo>
                  <a:lnTo>
                    <a:pt x="1419987" y="907351"/>
                  </a:lnTo>
                  <a:lnTo>
                    <a:pt x="1419987" y="1263110"/>
                  </a:lnTo>
                  <a:lnTo>
                    <a:pt x="319754" y="1263110"/>
                  </a:lnTo>
                  <a:lnTo>
                    <a:pt x="319754" y="1095661"/>
                  </a:lnTo>
                  <a:lnTo>
                    <a:pt x="0" y="1162050"/>
                  </a:lnTo>
                  <a:lnTo>
                    <a:pt x="0" y="1187768"/>
                  </a:lnTo>
                  <a:cubicBezTo>
                    <a:pt x="0" y="1480185"/>
                    <a:pt x="96488" y="1555528"/>
                    <a:pt x="388906" y="1555528"/>
                  </a:cubicBezTo>
                  <a:lnTo>
                    <a:pt x="1350740" y="1555528"/>
                  </a:lnTo>
                  <a:cubicBezTo>
                    <a:pt x="1643158" y="1555528"/>
                    <a:pt x="1739646" y="1480185"/>
                    <a:pt x="1739646" y="1187768"/>
                  </a:cubicBezTo>
                  <a:lnTo>
                    <a:pt x="1739646" y="973741"/>
                  </a:lnTo>
                  <a:cubicBezTo>
                    <a:pt x="1739646" y="681228"/>
                    <a:pt x="1643158" y="605885"/>
                    <a:pt x="1350740" y="605885"/>
                  </a:cubicBezTo>
                  <a:lnTo>
                    <a:pt x="379857" y="605885"/>
                  </a:lnTo>
                  <a:lnTo>
                    <a:pt x="379857" y="271367"/>
                  </a:lnTo>
                  <a:lnTo>
                    <a:pt x="1398842" y="2713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  <p:sp>
          <p:nvSpPr>
            <p:cNvPr id="29" name="o">
              <a:extLst>
                <a:ext uri="{FF2B5EF4-FFF2-40B4-BE49-F238E27FC236}">
                  <a16:creationId xmlns:a16="http://schemas.microsoft.com/office/drawing/2014/main" id="{104D88CA-BF41-E4C5-05AB-65BE744752C4}"/>
                </a:ext>
              </a:extLst>
            </p:cNvPr>
            <p:cNvSpPr/>
            <p:nvPr/>
          </p:nvSpPr>
          <p:spPr bwMode="gray">
            <a:xfrm>
              <a:off x="2206937" y="3966587"/>
              <a:ext cx="1682019" cy="1275212"/>
            </a:xfrm>
            <a:custGeom>
              <a:avLst/>
              <a:gdLst>
                <a:gd name="connsiteX0" fmla="*/ 326041 w 1682019"/>
                <a:gd name="connsiteY0" fmla="*/ 234982 h 1275207"/>
                <a:gd name="connsiteX1" fmla="*/ 1374648 w 1682019"/>
                <a:gd name="connsiteY1" fmla="*/ 234982 h 1275207"/>
                <a:gd name="connsiteX2" fmla="*/ 1374648 w 1682019"/>
                <a:gd name="connsiteY2" fmla="*/ 1030891 h 1275207"/>
                <a:gd name="connsiteX3" fmla="*/ 326041 w 1682019"/>
                <a:gd name="connsiteY3" fmla="*/ 1030891 h 1275207"/>
                <a:gd name="connsiteX4" fmla="*/ 326041 w 1682019"/>
                <a:gd name="connsiteY4" fmla="*/ 234982 h 1275207"/>
                <a:gd name="connsiteX5" fmla="*/ 0 w 1682019"/>
                <a:gd name="connsiteY5" fmla="*/ 301371 h 1275207"/>
                <a:gd name="connsiteX6" fmla="*/ 0 w 1682019"/>
                <a:gd name="connsiteY6" fmla="*/ 973646 h 1275207"/>
                <a:gd name="connsiteX7" fmla="*/ 338233 w 1682019"/>
                <a:gd name="connsiteY7" fmla="*/ 1275207 h 1275207"/>
                <a:gd name="connsiteX8" fmla="*/ 1343787 w 1682019"/>
                <a:gd name="connsiteY8" fmla="*/ 1275207 h 1275207"/>
                <a:gd name="connsiteX9" fmla="*/ 1682020 w 1682019"/>
                <a:gd name="connsiteY9" fmla="*/ 973646 h 1275207"/>
                <a:gd name="connsiteX10" fmla="*/ 1682020 w 1682019"/>
                <a:gd name="connsiteY10" fmla="*/ 301371 h 1275207"/>
                <a:gd name="connsiteX11" fmla="*/ 1343787 w 1682019"/>
                <a:gd name="connsiteY11" fmla="*/ 0 h 1275207"/>
                <a:gd name="connsiteX12" fmla="*/ 338233 w 1682019"/>
                <a:gd name="connsiteY12" fmla="*/ 0 h 1275207"/>
                <a:gd name="connsiteX13" fmla="*/ 0 w 1682019"/>
                <a:gd name="connsiteY13" fmla="*/ 301371 h 127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82019" h="1275207">
                  <a:moveTo>
                    <a:pt x="326041" y="234982"/>
                  </a:moveTo>
                  <a:lnTo>
                    <a:pt x="1374648" y="234982"/>
                  </a:lnTo>
                  <a:lnTo>
                    <a:pt x="1374648" y="1030891"/>
                  </a:lnTo>
                  <a:lnTo>
                    <a:pt x="326041" y="1030891"/>
                  </a:lnTo>
                  <a:lnTo>
                    <a:pt x="326041" y="234982"/>
                  </a:lnTo>
                  <a:close/>
                  <a:moveTo>
                    <a:pt x="0" y="301371"/>
                  </a:moveTo>
                  <a:lnTo>
                    <a:pt x="0" y="973646"/>
                  </a:lnTo>
                  <a:cubicBezTo>
                    <a:pt x="0" y="1214819"/>
                    <a:pt x="79915" y="1275207"/>
                    <a:pt x="338233" y="1275207"/>
                  </a:cubicBezTo>
                  <a:lnTo>
                    <a:pt x="1343787" y="1275207"/>
                  </a:lnTo>
                  <a:cubicBezTo>
                    <a:pt x="1598962" y="1275207"/>
                    <a:pt x="1682020" y="1214819"/>
                    <a:pt x="1682020" y="973646"/>
                  </a:cubicBezTo>
                  <a:lnTo>
                    <a:pt x="1682020" y="301371"/>
                  </a:lnTo>
                  <a:cubicBezTo>
                    <a:pt x="1682020" y="57150"/>
                    <a:pt x="1598867" y="0"/>
                    <a:pt x="1343787" y="0"/>
                  </a:cubicBezTo>
                  <a:lnTo>
                    <a:pt x="338233" y="0"/>
                  </a:lnTo>
                  <a:cubicBezTo>
                    <a:pt x="83153" y="0"/>
                    <a:pt x="0" y="57150"/>
                    <a:pt x="0" y="30137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  <p:sp>
          <p:nvSpPr>
            <p:cNvPr id="30" name="m">
              <a:extLst>
                <a:ext uri="{FF2B5EF4-FFF2-40B4-BE49-F238E27FC236}">
                  <a16:creationId xmlns:a16="http://schemas.microsoft.com/office/drawing/2014/main" id="{1242DE9F-5B8F-1149-2A64-61CC67D1E1D8}"/>
                </a:ext>
              </a:extLst>
            </p:cNvPr>
            <p:cNvSpPr/>
            <p:nvPr/>
          </p:nvSpPr>
          <p:spPr bwMode="gray">
            <a:xfrm>
              <a:off x="4290154" y="3966498"/>
              <a:ext cx="1815752" cy="1275212"/>
            </a:xfrm>
            <a:custGeom>
              <a:avLst/>
              <a:gdLst>
                <a:gd name="connsiteX0" fmla="*/ 1560576 w 1815750"/>
                <a:gd name="connsiteY0" fmla="*/ 0 h 1275207"/>
                <a:gd name="connsiteX1" fmla="*/ 927163 w 1815750"/>
                <a:gd name="connsiteY1" fmla="*/ 756571 h 1275207"/>
                <a:gd name="connsiteX2" fmla="*/ 290703 w 1815750"/>
                <a:gd name="connsiteY2" fmla="*/ 0 h 1275207"/>
                <a:gd name="connsiteX3" fmla="*/ 0 w 1815750"/>
                <a:gd name="connsiteY3" fmla="*/ 0 h 1275207"/>
                <a:gd name="connsiteX4" fmla="*/ 0 w 1815750"/>
                <a:gd name="connsiteY4" fmla="*/ 1275207 h 1275207"/>
                <a:gd name="connsiteX5" fmla="*/ 290703 w 1815750"/>
                <a:gd name="connsiteY5" fmla="*/ 1275207 h 1275207"/>
                <a:gd name="connsiteX6" fmla="*/ 290703 w 1815750"/>
                <a:gd name="connsiteY6" fmla="*/ 419100 h 1275207"/>
                <a:gd name="connsiteX7" fmla="*/ 877919 w 1815750"/>
                <a:gd name="connsiteY7" fmla="*/ 1121474 h 1275207"/>
                <a:gd name="connsiteX8" fmla="*/ 939356 w 1815750"/>
                <a:gd name="connsiteY8" fmla="*/ 1121474 h 1275207"/>
                <a:gd name="connsiteX9" fmla="*/ 1520571 w 1815750"/>
                <a:gd name="connsiteY9" fmla="*/ 397859 h 1275207"/>
                <a:gd name="connsiteX10" fmla="*/ 1520571 w 1815750"/>
                <a:gd name="connsiteY10" fmla="*/ 1275207 h 1275207"/>
                <a:gd name="connsiteX11" fmla="*/ 1815751 w 1815750"/>
                <a:gd name="connsiteY11" fmla="*/ 1275207 h 1275207"/>
                <a:gd name="connsiteX12" fmla="*/ 1815751 w 1815750"/>
                <a:gd name="connsiteY12" fmla="*/ 0 h 127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15750" h="1275207">
                  <a:moveTo>
                    <a:pt x="1560576" y="0"/>
                  </a:moveTo>
                  <a:lnTo>
                    <a:pt x="927163" y="756571"/>
                  </a:lnTo>
                  <a:lnTo>
                    <a:pt x="290703" y="0"/>
                  </a:lnTo>
                  <a:lnTo>
                    <a:pt x="0" y="0"/>
                  </a:lnTo>
                  <a:lnTo>
                    <a:pt x="0" y="1275207"/>
                  </a:lnTo>
                  <a:lnTo>
                    <a:pt x="290703" y="1275207"/>
                  </a:lnTo>
                  <a:lnTo>
                    <a:pt x="290703" y="419100"/>
                  </a:lnTo>
                  <a:lnTo>
                    <a:pt x="877919" y="1121474"/>
                  </a:lnTo>
                  <a:lnTo>
                    <a:pt x="939356" y="1121474"/>
                  </a:lnTo>
                  <a:lnTo>
                    <a:pt x="1520571" y="397859"/>
                  </a:lnTo>
                  <a:lnTo>
                    <a:pt x="1520571" y="1275207"/>
                  </a:lnTo>
                  <a:lnTo>
                    <a:pt x="1815751" y="1275207"/>
                  </a:lnTo>
                  <a:lnTo>
                    <a:pt x="181575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  <p:sp>
          <p:nvSpPr>
            <p:cNvPr id="31" name="m">
              <a:extLst>
                <a:ext uri="{FF2B5EF4-FFF2-40B4-BE49-F238E27FC236}">
                  <a16:creationId xmlns:a16="http://schemas.microsoft.com/office/drawing/2014/main" id="{4E6F8428-28EF-BACA-56F2-D92CF0402F6B}"/>
                </a:ext>
              </a:extLst>
            </p:cNvPr>
            <p:cNvSpPr/>
            <p:nvPr/>
          </p:nvSpPr>
          <p:spPr bwMode="gray">
            <a:xfrm>
              <a:off x="6535096" y="3966498"/>
              <a:ext cx="1815752" cy="1275212"/>
            </a:xfrm>
            <a:custGeom>
              <a:avLst/>
              <a:gdLst>
                <a:gd name="connsiteX0" fmla="*/ 1560672 w 1815750"/>
                <a:gd name="connsiteY0" fmla="*/ 0 h 1275207"/>
                <a:gd name="connsiteX1" fmla="*/ 927164 w 1815750"/>
                <a:gd name="connsiteY1" fmla="*/ 756571 h 1275207"/>
                <a:gd name="connsiteX2" fmla="*/ 290799 w 1815750"/>
                <a:gd name="connsiteY2" fmla="*/ 0 h 1275207"/>
                <a:gd name="connsiteX3" fmla="*/ 0 w 1815750"/>
                <a:gd name="connsiteY3" fmla="*/ 0 h 1275207"/>
                <a:gd name="connsiteX4" fmla="*/ 0 w 1815750"/>
                <a:gd name="connsiteY4" fmla="*/ 1275207 h 1275207"/>
                <a:gd name="connsiteX5" fmla="*/ 290799 w 1815750"/>
                <a:gd name="connsiteY5" fmla="*/ 1275207 h 1275207"/>
                <a:gd name="connsiteX6" fmla="*/ 290799 w 1815750"/>
                <a:gd name="connsiteY6" fmla="*/ 419100 h 1275207"/>
                <a:gd name="connsiteX7" fmla="*/ 878015 w 1815750"/>
                <a:gd name="connsiteY7" fmla="*/ 1121474 h 1275207"/>
                <a:gd name="connsiteX8" fmla="*/ 939546 w 1815750"/>
                <a:gd name="connsiteY8" fmla="*/ 1121474 h 1275207"/>
                <a:gd name="connsiteX9" fmla="*/ 1520571 w 1815750"/>
                <a:gd name="connsiteY9" fmla="*/ 397859 h 1275207"/>
                <a:gd name="connsiteX10" fmla="*/ 1520571 w 1815750"/>
                <a:gd name="connsiteY10" fmla="*/ 1275207 h 1275207"/>
                <a:gd name="connsiteX11" fmla="*/ 1815751 w 1815750"/>
                <a:gd name="connsiteY11" fmla="*/ 1275207 h 1275207"/>
                <a:gd name="connsiteX12" fmla="*/ 1815751 w 1815750"/>
                <a:gd name="connsiteY12" fmla="*/ 0 h 127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15750" h="1275207">
                  <a:moveTo>
                    <a:pt x="1560672" y="0"/>
                  </a:moveTo>
                  <a:lnTo>
                    <a:pt x="927164" y="756571"/>
                  </a:lnTo>
                  <a:lnTo>
                    <a:pt x="290799" y="0"/>
                  </a:lnTo>
                  <a:lnTo>
                    <a:pt x="0" y="0"/>
                  </a:lnTo>
                  <a:lnTo>
                    <a:pt x="0" y="1275207"/>
                  </a:lnTo>
                  <a:lnTo>
                    <a:pt x="290799" y="1275207"/>
                  </a:lnTo>
                  <a:lnTo>
                    <a:pt x="290799" y="419100"/>
                  </a:lnTo>
                  <a:lnTo>
                    <a:pt x="878015" y="1121474"/>
                  </a:lnTo>
                  <a:lnTo>
                    <a:pt x="939546" y="1121474"/>
                  </a:lnTo>
                  <a:lnTo>
                    <a:pt x="1520571" y="397859"/>
                  </a:lnTo>
                  <a:lnTo>
                    <a:pt x="1520571" y="1275207"/>
                  </a:lnTo>
                  <a:lnTo>
                    <a:pt x="1815751" y="1275207"/>
                  </a:lnTo>
                  <a:lnTo>
                    <a:pt x="181575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  <p:sp>
          <p:nvSpPr>
            <p:cNvPr id="32" name="e">
              <a:extLst>
                <a:ext uri="{FF2B5EF4-FFF2-40B4-BE49-F238E27FC236}">
                  <a16:creationId xmlns:a16="http://schemas.microsoft.com/office/drawing/2014/main" id="{A32A4802-2A9C-0E97-E1B2-EF5B8AC77B0E}"/>
                </a:ext>
              </a:extLst>
            </p:cNvPr>
            <p:cNvSpPr/>
            <p:nvPr/>
          </p:nvSpPr>
          <p:spPr bwMode="gray">
            <a:xfrm>
              <a:off x="8765757" y="3966498"/>
              <a:ext cx="1411313" cy="1275212"/>
            </a:xfrm>
            <a:custGeom>
              <a:avLst/>
              <a:gdLst>
                <a:gd name="connsiteX0" fmla="*/ 0 w 1411319"/>
                <a:gd name="connsiteY0" fmla="*/ 0 h 1275207"/>
                <a:gd name="connsiteX1" fmla="*/ 0 w 1411319"/>
                <a:gd name="connsiteY1" fmla="*/ 1275207 h 1275207"/>
                <a:gd name="connsiteX2" fmla="*/ 1411319 w 1411319"/>
                <a:gd name="connsiteY2" fmla="*/ 1275207 h 1275207"/>
                <a:gd name="connsiteX3" fmla="*/ 1411319 w 1411319"/>
                <a:gd name="connsiteY3" fmla="*/ 1036987 h 1275207"/>
                <a:gd name="connsiteX4" fmla="*/ 319850 w 1411319"/>
                <a:gd name="connsiteY4" fmla="*/ 1036987 h 1275207"/>
                <a:gd name="connsiteX5" fmla="*/ 319850 w 1411319"/>
                <a:gd name="connsiteY5" fmla="*/ 723424 h 1275207"/>
                <a:gd name="connsiteX6" fmla="*/ 947166 w 1411319"/>
                <a:gd name="connsiteY6" fmla="*/ 723424 h 1275207"/>
                <a:gd name="connsiteX7" fmla="*/ 947166 w 1411319"/>
                <a:gd name="connsiteY7" fmla="*/ 503396 h 1275207"/>
                <a:gd name="connsiteX8" fmla="*/ 319850 w 1411319"/>
                <a:gd name="connsiteY8" fmla="*/ 503396 h 1275207"/>
                <a:gd name="connsiteX9" fmla="*/ 319850 w 1411319"/>
                <a:gd name="connsiteY9" fmla="*/ 226219 h 1275207"/>
                <a:gd name="connsiteX10" fmla="*/ 1395984 w 1411319"/>
                <a:gd name="connsiteY10" fmla="*/ 226219 h 1275207"/>
                <a:gd name="connsiteX11" fmla="*/ 1395984 w 1411319"/>
                <a:gd name="connsiteY11" fmla="*/ 0 h 127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1319" h="1275207">
                  <a:moveTo>
                    <a:pt x="0" y="0"/>
                  </a:moveTo>
                  <a:lnTo>
                    <a:pt x="0" y="1275207"/>
                  </a:lnTo>
                  <a:lnTo>
                    <a:pt x="1411319" y="1275207"/>
                  </a:lnTo>
                  <a:lnTo>
                    <a:pt x="1411319" y="1036987"/>
                  </a:lnTo>
                  <a:lnTo>
                    <a:pt x="319850" y="1036987"/>
                  </a:lnTo>
                  <a:lnTo>
                    <a:pt x="319850" y="723424"/>
                  </a:lnTo>
                  <a:lnTo>
                    <a:pt x="947166" y="723424"/>
                  </a:lnTo>
                  <a:lnTo>
                    <a:pt x="947166" y="503396"/>
                  </a:lnTo>
                  <a:lnTo>
                    <a:pt x="319850" y="503396"/>
                  </a:lnTo>
                  <a:lnTo>
                    <a:pt x="319850" y="226219"/>
                  </a:lnTo>
                  <a:lnTo>
                    <a:pt x="1395984" y="226219"/>
                  </a:lnTo>
                  <a:lnTo>
                    <a:pt x="1395984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  <p:sp>
          <p:nvSpPr>
            <p:cNvPr id="33" name="r">
              <a:extLst>
                <a:ext uri="{FF2B5EF4-FFF2-40B4-BE49-F238E27FC236}">
                  <a16:creationId xmlns:a16="http://schemas.microsoft.com/office/drawing/2014/main" id="{50675A61-77EE-1DFC-09AF-649465E5B3A1}"/>
                </a:ext>
              </a:extLst>
            </p:cNvPr>
            <p:cNvSpPr/>
            <p:nvPr/>
          </p:nvSpPr>
          <p:spPr bwMode="gray">
            <a:xfrm>
              <a:off x="10504356" y="3966498"/>
              <a:ext cx="1579811" cy="1275212"/>
            </a:xfrm>
            <a:custGeom>
              <a:avLst/>
              <a:gdLst>
                <a:gd name="connsiteX0" fmla="*/ 1015937 w 1579817"/>
                <a:gd name="connsiteY0" fmla="*/ 220028 h 1275207"/>
                <a:gd name="connsiteX1" fmla="*/ 1157669 w 1579817"/>
                <a:gd name="connsiteY1" fmla="*/ 322517 h 1275207"/>
                <a:gd name="connsiteX2" fmla="*/ 1157669 w 1579817"/>
                <a:gd name="connsiteY2" fmla="*/ 470249 h 1275207"/>
                <a:gd name="connsiteX3" fmla="*/ 1015937 w 1579817"/>
                <a:gd name="connsiteY3" fmla="*/ 572738 h 1275207"/>
                <a:gd name="connsiteX4" fmla="*/ 307467 w 1579817"/>
                <a:gd name="connsiteY4" fmla="*/ 572738 h 1275207"/>
                <a:gd name="connsiteX5" fmla="*/ 307467 w 1579817"/>
                <a:gd name="connsiteY5" fmla="*/ 220028 h 1275207"/>
                <a:gd name="connsiteX6" fmla="*/ 1015937 w 1579817"/>
                <a:gd name="connsiteY6" fmla="*/ 220028 h 1275207"/>
                <a:gd name="connsiteX7" fmla="*/ 0 w 1579817"/>
                <a:gd name="connsiteY7" fmla="*/ 1275207 h 1275207"/>
                <a:gd name="connsiteX8" fmla="*/ 307563 w 1579817"/>
                <a:gd name="connsiteY8" fmla="*/ 1275207 h 1275207"/>
                <a:gd name="connsiteX9" fmla="*/ 307563 w 1579817"/>
                <a:gd name="connsiteY9" fmla="*/ 792766 h 1275207"/>
                <a:gd name="connsiteX10" fmla="*/ 599981 w 1579817"/>
                <a:gd name="connsiteY10" fmla="*/ 792766 h 1275207"/>
                <a:gd name="connsiteX11" fmla="*/ 1133570 w 1579817"/>
                <a:gd name="connsiteY11" fmla="*/ 1275207 h 1275207"/>
                <a:gd name="connsiteX12" fmla="*/ 1579818 w 1579817"/>
                <a:gd name="connsiteY12" fmla="*/ 1275207 h 1275207"/>
                <a:gd name="connsiteX13" fmla="*/ 973931 w 1579817"/>
                <a:gd name="connsiteY13" fmla="*/ 792766 h 1275207"/>
                <a:gd name="connsiteX14" fmla="*/ 1148811 w 1579817"/>
                <a:gd name="connsiteY14" fmla="*/ 792766 h 1275207"/>
                <a:gd name="connsiteX15" fmla="*/ 1447229 w 1579817"/>
                <a:gd name="connsiteY15" fmla="*/ 548545 h 1275207"/>
                <a:gd name="connsiteX16" fmla="*/ 1447229 w 1579817"/>
                <a:gd name="connsiteY16" fmla="*/ 247174 h 1275207"/>
                <a:gd name="connsiteX17" fmla="*/ 1148811 w 1579817"/>
                <a:gd name="connsiteY17" fmla="*/ 0 h 1275207"/>
                <a:gd name="connsiteX18" fmla="*/ 191 w 1579817"/>
                <a:gd name="connsiteY18" fmla="*/ 0 h 1275207"/>
                <a:gd name="connsiteX19" fmla="*/ 191 w 1579817"/>
                <a:gd name="connsiteY19" fmla="*/ 1275207 h 127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79817" h="1275207">
                  <a:moveTo>
                    <a:pt x="1015937" y="220028"/>
                  </a:moveTo>
                  <a:cubicBezTo>
                    <a:pt x="1109282" y="220028"/>
                    <a:pt x="1157669" y="238220"/>
                    <a:pt x="1157669" y="322517"/>
                  </a:cubicBezTo>
                  <a:lnTo>
                    <a:pt x="1157669" y="470249"/>
                  </a:lnTo>
                  <a:cubicBezTo>
                    <a:pt x="1157669" y="554736"/>
                    <a:pt x="1109282" y="572738"/>
                    <a:pt x="1015937" y="572738"/>
                  </a:cubicBezTo>
                  <a:lnTo>
                    <a:pt x="307467" y="572738"/>
                  </a:lnTo>
                  <a:lnTo>
                    <a:pt x="307467" y="220028"/>
                  </a:lnTo>
                  <a:lnTo>
                    <a:pt x="1015937" y="220028"/>
                  </a:lnTo>
                  <a:close/>
                  <a:moveTo>
                    <a:pt x="0" y="1275207"/>
                  </a:moveTo>
                  <a:lnTo>
                    <a:pt x="307563" y="1275207"/>
                  </a:lnTo>
                  <a:lnTo>
                    <a:pt x="307563" y="792766"/>
                  </a:lnTo>
                  <a:lnTo>
                    <a:pt x="599981" y="792766"/>
                  </a:lnTo>
                  <a:lnTo>
                    <a:pt x="1133570" y="1275207"/>
                  </a:lnTo>
                  <a:lnTo>
                    <a:pt x="1579818" y="1275207"/>
                  </a:lnTo>
                  <a:lnTo>
                    <a:pt x="973931" y="792766"/>
                  </a:lnTo>
                  <a:lnTo>
                    <a:pt x="1148811" y="792766"/>
                  </a:lnTo>
                  <a:cubicBezTo>
                    <a:pt x="1353693" y="792766"/>
                    <a:pt x="1447229" y="723424"/>
                    <a:pt x="1447229" y="548545"/>
                  </a:cubicBezTo>
                  <a:lnTo>
                    <a:pt x="1447229" y="247174"/>
                  </a:lnTo>
                  <a:cubicBezTo>
                    <a:pt x="1447229" y="69342"/>
                    <a:pt x="1353693" y="0"/>
                    <a:pt x="1148811" y="0"/>
                  </a:cubicBezTo>
                  <a:lnTo>
                    <a:pt x="191" y="0"/>
                  </a:lnTo>
                  <a:lnTo>
                    <a:pt x="191" y="127520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</p:grpSp>
      <p:sp>
        <p:nvSpPr>
          <p:cNvPr id="59" name="title">
            <a:extLst>
              <a:ext uri="{FF2B5EF4-FFF2-40B4-BE49-F238E27FC236}">
                <a16:creationId xmlns:a16="http://schemas.microsoft.com/office/drawing/2014/main" id="{22B0E369-2508-F005-CB3C-E92E5C671B1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0" y="1310400"/>
            <a:ext cx="5040000" cy="413640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wrap="square" lIns="316800" tIns="0" rIns="0" bIns="0" anchor="b">
            <a:noAutofit/>
          </a:bodyPr>
          <a:lstStyle>
            <a:lvl1pPr algn="l">
              <a:lnSpc>
                <a:spcPct val="75000"/>
              </a:lnSpc>
              <a:defRPr sz="9000" baseline="0">
                <a:solidFill>
                  <a:schemeClr val="accent1"/>
                </a:solidFill>
              </a:defRPr>
            </a:lvl1pPr>
          </a:lstStyle>
          <a:p>
            <a:r>
              <a:rPr lang="de-DE" dirty="0" err="1"/>
              <a:t>titelformat</a:t>
            </a:r>
            <a:r>
              <a:rPr lang="de-DE" dirty="0"/>
              <a:t> bearbeiten</a:t>
            </a:r>
            <a:endParaRPr lang="en-US" dirty="0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D3F50A68-F558-4D31-BE77-E20AB0A299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0" y="5677200"/>
            <a:ext cx="5580000" cy="1180800"/>
          </a:xfrm>
        </p:spPr>
        <p:txBody>
          <a:bodyPr lIns="342000" rIns="0" bIns="0">
            <a:noAutofit/>
          </a:bodyPr>
          <a:lstStyle>
            <a:lvl1pPr marL="0" indent="0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None/>
              <a:defRPr sz="2600" cap="all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Title / Speaker / Date / Location</a:t>
            </a:r>
            <a:endParaRPr lang="en-US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F1423FEB-CFD7-4376-A0C4-D91B3BE028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525600" y="7200000"/>
            <a:ext cx="234000" cy="180000"/>
          </a:xfrm>
        </p:spPr>
        <p:txBody>
          <a:bodyPr lIns="0" tIns="0" rIns="0" bIns="0"/>
          <a:lstStyle/>
          <a:p>
            <a:fld id="{9829449A-3FF3-45CE-9F4F-09BADC0910C6}" type="slidenum">
              <a:rPr lang="de-DE" noProof="0"/>
              <a:t>‹Nr.›</a:t>
            </a:fld>
            <a:endParaRPr lang="de-DE" noProof="0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190677E9-326C-4EF5-ADE8-5E9E2D32D3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763200" y="7200000"/>
            <a:ext cx="7880400" cy="180000"/>
          </a:xfrm>
        </p:spPr>
        <p:txBody>
          <a:bodyPr lIns="0" tIns="0" rIns="0" bIns="0"/>
          <a:lstStyle/>
          <a:p>
            <a:endParaRPr lang="de-DE" noProof="0" dirty="0"/>
          </a:p>
        </p:txBody>
      </p:sp>
      <p:sp>
        <p:nvSpPr>
          <p:cNvPr id="2" name="info">
            <a:extLst>
              <a:ext uri="{FF2B5EF4-FFF2-40B4-BE49-F238E27FC236}">
                <a16:creationId xmlns:a16="http://schemas.microsoft.com/office/drawing/2014/main" id="{C31C98BC-7627-A8BC-CE8C-3444BA4924A5}"/>
              </a:ext>
            </a:extLst>
          </p:cNvPr>
          <p:cNvSpPr/>
          <p:nvPr/>
        </p:nvSpPr>
        <p:spPr bwMode="gray">
          <a:xfrm flipH="1">
            <a:off x="12247320" y="6288645"/>
            <a:ext cx="1579616" cy="370793"/>
          </a:xfrm>
          <a:prstGeom prst="homePlate">
            <a:avLst/>
          </a:prstGeom>
          <a:solidFill>
            <a:srgbClr val="0029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36000" rtlCol="0" anchor="ctr">
            <a:spAutoFit/>
          </a:bodyPr>
          <a:lstStyle/>
          <a:p>
            <a:pPr algn="l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sz="1050">
                <a:solidFill>
                  <a:schemeClr val="bg1"/>
                </a:solidFill>
              </a:rPr>
              <a:t>place image to</a:t>
            </a:r>
            <a:br>
              <a:rPr lang="en-US" sz="1050">
                <a:solidFill>
                  <a:schemeClr val="bg1"/>
                </a:solidFill>
              </a:rPr>
            </a:br>
            <a:r>
              <a:rPr lang="en-US" sz="1050">
                <a:solidFill>
                  <a:schemeClr val="bg1"/>
                </a:solidFill>
              </a:rPr>
              <a:t>the background</a:t>
            </a:r>
            <a:endParaRPr lang="de-DE" sz="1050">
              <a:solidFill>
                <a:schemeClr val="bg1"/>
              </a:solidFill>
            </a:endParaRPr>
          </a:p>
        </p:txBody>
      </p:sp>
      <p:grpSp>
        <p:nvGrpSpPr>
          <p:cNvPr id="4" name="info">
            <a:extLst>
              <a:ext uri="{FF2B5EF4-FFF2-40B4-BE49-F238E27FC236}">
                <a16:creationId xmlns:a16="http://schemas.microsoft.com/office/drawing/2014/main" id="{289624AA-598E-C594-5E4E-59691245E77C}"/>
              </a:ext>
            </a:extLst>
          </p:cNvPr>
          <p:cNvGrpSpPr/>
          <p:nvPr/>
        </p:nvGrpSpPr>
        <p:grpSpPr>
          <a:xfrm>
            <a:off x="12247320" y="3143250"/>
            <a:ext cx="1579616" cy="2823211"/>
            <a:chOff x="12399720" y="2598103"/>
            <a:chExt cx="1579616" cy="2823211"/>
          </a:xfrm>
          <a:solidFill>
            <a:srgbClr val="002965"/>
          </a:solidFill>
        </p:grpSpPr>
        <p:sp>
          <p:nvSpPr>
            <p:cNvPr id="7" name="info">
              <a:extLst>
                <a:ext uri="{FF2B5EF4-FFF2-40B4-BE49-F238E27FC236}">
                  <a16:creationId xmlns:a16="http://schemas.microsoft.com/office/drawing/2014/main" id="{E2CC4DCD-0C11-5E55-88FA-F619DFE17F7C}"/>
                </a:ext>
              </a:extLst>
            </p:cNvPr>
            <p:cNvSpPr/>
            <p:nvPr userDrawn="1"/>
          </p:nvSpPr>
          <p:spPr bwMode="gray">
            <a:xfrm flipH="1">
              <a:off x="12399720" y="4947928"/>
              <a:ext cx="1579616" cy="473385"/>
            </a:xfrm>
            <a:prstGeom prst="homePlat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36000" rtlCol="0" anchor="ctr">
              <a:spAutoFit/>
            </a:bodyPr>
            <a:lstStyle/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>
                <a:solidFill>
                  <a:schemeClr val="tx2"/>
                </a:solidFill>
              </a:endParaRPr>
            </a:p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>
                <a:solidFill>
                  <a:schemeClr val="tx2"/>
                </a:solidFill>
              </a:endParaRPr>
            </a:p>
          </p:txBody>
        </p:sp>
        <p:sp>
          <p:nvSpPr>
            <p:cNvPr id="9" name="info">
              <a:extLst>
                <a:ext uri="{FF2B5EF4-FFF2-40B4-BE49-F238E27FC236}">
                  <a16:creationId xmlns:a16="http://schemas.microsoft.com/office/drawing/2014/main" id="{FFDCB2EB-1D47-5974-0D84-5A58E5576C6B}"/>
                </a:ext>
              </a:extLst>
            </p:cNvPr>
            <p:cNvSpPr/>
            <p:nvPr userDrawn="1"/>
          </p:nvSpPr>
          <p:spPr bwMode="gray">
            <a:xfrm flipH="1">
              <a:off x="12634899" y="2598103"/>
              <a:ext cx="1344423" cy="28232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36000" rtlCol="0" anchor="t">
              <a:noAutofit/>
            </a:bodyPr>
            <a:lstStyle/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b="1" cap="all">
                  <a:solidFill>
                    <a:schemeClr val="bg1"/>
                  </a:solidFill>
                </a:rPr>
                <a:t>image credit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b="1">
                  <a:solidFill>
                    <a:schemeClr val="bg1"/>
                  </a:solidFill>
                </a:rPr>
                <a:t>Always include</a:t>
              </a:r>
              <a:br>
                <a:rPr lang="en-US" sz="1050" b="1">
                  <a:solidFill>
                    <a:schemeClr val="bg1"/>
                  </a:solidFill>
                </a:rPr>
              </a:br>
              <a:r>
                <a:rPr lang="en-US" sz="1050">
                  <a:solidFill>
                    <a:schemeClr val="bg1"/>
                  </a:solidFill>
                </a:rPr>
                <a:t>the image credit!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>
                  <a:solidFill>
                    <a:schemeClr val="bg1"/>
                  </a:solidFill>
                </a:rPr>
                <a:t>How to get </a:t>
              </a:r>
              <a:br>
                <a:rPr lang="en-US" sz="1050">
                  <a:solidFill>
                    <a:schemeClr val="bg1"/>
                  </a:solidFill>
                </a:rPr>
              </a:br>
              <a:r>
                <a:rPr lang="en-US" sz="1050">
                  <a:solidFill>
                    <a:schemeClr val="bg1"/>
                  </a:solidFill>
                </a:rPr>
                <a:t>the image credit </a:t>
              </a:r>
              <a:r>
                <a:rPr lang="en-US" sz="1050" b="1">
                  <a:solidFill>
                    <a:schemeClr val="bg1"/>
                  </a:solidFill>
                </a:rPr>
                <a:t>placeholder</a:t>
              </a:r>
              <a:r>
                <a:rPr lang="en-US" sz="1050">
                  <a:solidFill>
                    <a:schemeClr val="bg1"/>
                  </a:solidFill>
                </a:rPr>
                <a:t>: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>
                  <a:solidFill>
                    <a:schemeClr val="bg1"/>
                  </a:solidFill>
                </a:rPr>
                <a:t>&gt; empower menu</a:t>
              </a:r>
              <a:br>
                <a:rPr lang="en-US" sz="1050">
                  <a:solidFill>
                    <a:schemeClr val="bg1"/>
                  </a:solidFill>
                </a:rPr>
              </a:br>
              <a:r>
                <a:rPr lang="en-US" sz="1050">
                  <a:solidFill>
                    <a:schemeClr val="bg1"/>
                  </a:solidFill>
                </a:rPr>
                <a:t>&gt; text elements</a:t>
              </a:r>
              <a:br>
                <a:rPr lang="en-US" sz="1050">
                  <a:solidFill>
                    <a:schemeClr val="bg1"/>
                  </a:solidFill>
                </a:rPr>
              </a:br>
              <a:r>
                <a:rPr lang="en-US" sz="1050">
                  <a:solidFill>
                    <a:schemeClr val="bg1"/>
                  </a:solidFill>
                </a:rPr>
                <a:t>&gt; depending on </a:t>
              </a:r>
              <a:br>
                <a:rPr lang="en-US" sz="1050">
                  <a:solidFill>
                    <a:schemeClr val="bg1"/>
                  </a:solidFill>
                </a:rPr>
              </a:br>
              <a:r>
                <a:rPr lang="en-US" sz="1050">
                  <a:solidFill>
                    <a:schemeClr val="bg1"/>
                  </a:solidFill>
                </a:rPr>
                <a:t>the image choose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>
                  <a:solidFill>
                    <a:schemeClr val="bg1"/>
                  </a:solidFill>
                </a:rPr>
                <a:t>“</a:t>
              </a:r>
              <a:r>
                <a:rPr lang="en-US" sz="1050" b="1">
                  <a:solidFill>
                    <a:schemeClr val="bg1"/>
                  </a:solidFill>
                </a:rPr>
                <a:t>Copyright </a:t>
              </a:r>
              <a:r>
                <a:rPr lang="en-US" sz="1050" b="1" err="1">
                  <a:solidFill>
                    <a:schemeClr val="bg1"/>
                  </a:solidFill>
                </a:rPr>
                <a:t>Titleslide</a:t>
              </a:r>
              <a:r>
                <a:rPr lang="en-US" sz="1050" b="1">
                  <a:solidFill>
                    <a:schemeClr val="bg1"/>
                  </a:solidFill>
                </a:rPr>
                <a:t> grey</a:t>
              </a:r>
              <a:r>
                <a:rPr lang="en-US" sz="1050">
                  <a:solidFill>
                    <a:schemeClr val="bg1"/>
                  </a:solidFill>
                </a:rPr>
                <a:t>” 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>
                  <a:solidFill>
                    <a:schemeClr val="bg1"/>
                  </a:solidFill>
                </a:rPr>
                <a:t>or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>
                  <a:solidFill>
                    <a:schemeClr val="bg1"/>
                  </a:solidFill>
                </a:rPr>
                <a:t>“</a:t>
              </a:r>
              <a:r>
                <a:rPr lang="en-US" sz="1050" b="1">
                  <a:solidFill>
                    <a:schemeClr val="bg1"/>
                  </a:solidFill>
                </a:rPr>
                <a:t>Copyright </a:t>
              </a:r>
              <a:r>
                <a:rPr lang="en-US" sz="1050" b="1" err="1">
                  <a:solidFill>
                    <a:schemeClr val="bg1"/>
                  </a:solidFill>
                </a:rPr>
                <a:t>Titleslide</a:t>
              </a:r>
              <a:r>
                <a:rPr lang="en-US" sz="1050" b="1">
                  <a:solidFill>
                    <a:schemeClr val="bg1"/>
                  </a:solidFill>
                </a:rPr>
                <a:t> white</a:t>
              </a:r>
              <a:r>
                <a:rPr lang="en-US" sz="1050">
                  <a:solidFill>
                    <a:schemeClr val="bg1"/>
                  </a:solidFill>
                </a:rPr>
                <a:t>”</a:t>
              </a:r>
            </a:p>
          </p:txBody>
        </p:sp>
      </p:grpSp>
      <p:grpSp>
        <p:nvGrpSpPr>
          <p:cNvPr id="13" name="info">
            <a:extLst>
              <a:ext uri="{FF2B5EF4-FFF2-40B4-BE49-F238E27FC236}">
                <a16:creationId xmlns:a16="http://schemas.microsoft.com/office/drawing/2014/main" id="{19D43D7D-1448-85BE-12CF-822219362F3F}"/>
              </a:ext>
            </a:extLst>
          </p:cNvPr>
          <p:cNvGrpSpPr/>
          <p:nvPr userDrawn="1"/>
        </p:nvGrpSpPr>
        <p:grpSpPr>
          <a:xfrm flipH="1">
            <a:off x="-1721905" y="3683000"/>
            <a:ext cx="1579616" cy="1645286"/>
            <a:chOff x="12399720" y="3776028"/>
            <a:chExt cx="1579616" cy="1645286"/>
          </a:xfrm>
          <a:solidFill>
            <a:srgbClr val="002965"/>
          </a:solidFill>
        </p:grpSpPr>
        <p:sp>
          <p:nvSpPr>
            <p:cNvPr id="14" name="info">
              <a:extLst>
                <a:ext uri="{FF2B5EF4-FFF2-40B4-BE49-F238E27FC236}">
                  <a16:creationId xmlns:a16="http://schemas.microsoft.com/office/drawing/2014/main" id="{394B878D-4D20-3DB7-4ECA-F6A304B7840A}"/>
                </a:ext>
              </a:extLst>
            </p:cNvPr>
            <p:cNvSpPr/>
            <p:nvPr userDrawn="1"/>
          </p:nvSpPr>
          <p:spPr bwMode="gray">
            <a:xfrm flipH="1">
              <a:off x="12399720" y="4947928"/>
              <a:ext cx="1579616" cy="473385"/>
            </a:xfrm>
            <a:prstGeom prst="homePlat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36000" rtlCol="0" anchor="ctr">
              <a:spAutoFit/>
            </a:bodyPr>
            <a:lstStyle/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>
                <a:solidFill>
                  <a:schemeClr val="tx2"/>
                </a:solidFill>
              </a:endParaRPr>
            </a:p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>
                <a:solidFill>
                  <a:schemeClr val="tx2"/>
                </a:solidFill>
              </a:endParaRPr>
            </a:p>
          </p:txBody>
        </p:sp>
        <p:sp>
          <p:nvSpPr>
            <p:cNvPr id="15" name="info">
              <a:extLst>
                <a:ext uri="{FF2B5EF4-FFF2-40B4-BE49-F238E27FC236}">
                  <a16:creationId xmlns:a16="http://schemas.microsoft.com/office/drawing/2014/main" id="{B4E42D4D-E784-75EC-AFB0-BD556816C1DE}"/>
                </a:ext>
              </a:extLst>
            </p:cNvPr>
            <p:cNvSpPr/>
            <p:nvPr userDrawn="1"/>
          </p:nvSpPr>
          <p:spPr bwMode="gray">
            <a:xfrm flipH="1">
              <a:off x="12634899" y="3776028"/>
              <a:ext cx="1344423" cy="164528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36000" rtlCol="0" anchor="t">
              <a:noAutofit/>
            </a:bodyPr>
            <a:lstStyle/>
            <a:p>
              <a:r>
                <a:rPr lang="en-US" sz="1050" b="1" dirty="0"/>
                <a:t>ADJUSTING FONT SIZE ON THE COVER PAGE:</a:t>
              </a:r>
            </a:p>
            <a:p>
              <a:r>
                <a:rPr lang="en-US" sz="1050" dirty="0"/>
                <a:t>You can adjust the font size of the title to ensure that the text in the white area is easy to read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21092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logo drees&amp;sommer blue mask">
            <a:extLst>
              <a:ext uri="{FF2B5EF4-FFF2-40B4-BE49-F238E27FC236}">
                <a16:creationId xmlns:a16="http://schemas.microsoft.com/office/drawing/2014/main" id="{E20494AC-6547-4123-B4F0-80FEF2AFE0E2}"/>
              </a:ext>
            </a:extLst>
          </p:cNvPr>
          <p:cNvSpPr/>
          <p:nvPr/>
        </p:nvSpPr>
        <p:spPr bwMode="gray">
          <a:xfrm>
            <a:off x="10579100" y="6197600"/>
            <a:ext cx="1270000" cy="584200"/>
          </a:xfrm>
          <a:prstGeom prst="rect">
            <a:avLst/>
          </a:prstGeom>
          <a:solidFill>
            <a:srgbClr val="0029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de-DE" sz="1400" dirty="0"/>
          </a:p>
        </p:txBody>
      </p:sp>
      <p:sp>
        <p:nvSpPr>
          <p:cNvPr id="9" name="picture">
            <a:extLst>
              <a:ext uri="{FF2B5EF4-FFF2-40B4-BE49-F238E27FC236}">
                <a16:creationId xmlns:a16="http://schemas.microsoft.com/office/drawing/2014/main" id="{F631FF25-0395-4B6E-60C2-BFAAFE852FC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0" y="1"/>
            <a:ext cx="12192000" cy="6858000"/>
          </a:xfrm>
          <a:custGeom>
            <a:avLst/>
            <a:gdLst>
              <a:gd name="connsiteX0" fmla="*/ 10909343 w 12192000"/>
              <a:gd name="connsiteY0" fmla="*/ 6535878 h 6858000"/>
              <a:gd name="connsiteX1" fmla="*/ 10992168 w 12192000"/>
              <a:gd name="connsiteY1" fmla="*/ 6535878 h 6858000"/>
              <a:gd name="connsiteX2" fmla="*/ 10992168 w 12192000"/>
              <a:gd name="connsiteY2" fmla="*/ 6598744 h 6858000"/>
              <a:gd name="connsiteX3" fmla="*/ 10909343 w 12192000"/>
              <a:gd name="connsiteY3" fmla="*/ 6598744 h 6858000"/>
              <a:gd name="connsiteX4" fmla="*/ 11563256 w 12192000"/>
              <a:gd name="connsiteY4" fmla="*/ 6534689 h 6858000"/>
              <a:gd name="connsiteX5" fmla="*/ 11619215 w 12192000"/>
              <a:gd name="connsiteY5" fmla="*/ 6534689 h 6858000"/>
              <a:gd name="connsiteX6" fmla="*/ 11630409 w 12192000"/>
              <a:gd name="connsiteY6" fmla="*/ 6542785 h 6858000"/>
              <a:gd name="connsiteX7" fmla="*/ 11630409 w 12192000"/>
              <a:gd name="connsiteY7" fmla="*/ 6554454 h 6858000"/>
              <a:gd name="connsiteX8" fmla="*/ 11619215 w 12192000"/>
              <a:gd name="connsiteY8" fmla="*/ 6562549 h 6858000"/>
              <a:gd name="connsiteX9" fmla="*/ 11563256 w 12192000"/>
              <a:gd name="connsiteY9" fmla="*/ 6562549 h 6858000"/>
              <a:gd name="connsiteX10" fmla="*/ 10910306 w 12192000"/>
              <a:gd name="connsiteY10" fmla="*/ 6517317 h 6858000"/>
              <a:gd name="connsiteX11" fmla="*/ 10883590 w 12192000"/>
              <a:gd name="connsiteY11" fmla="*/ 6541121 h 6858000"/>
              <a:gd name="connsiteX12" fmla="*/ 10883590 w 12192000"/>
              <a:gd name="connsiteY12" fmla="*/ 6594222 h 6858000"/>
              <a:gd name="connsiteX13" fmla="*/ 10910306 w 12192000"/>
              <a:gd name="connsiteY13" fmla="*/ 6618041 h 6858000"/>
              <a:gd name="connsiteX14" fmla="*/ 10989730 w 12192000"/>
              <a:gd name="connsiteY14" fmla="*/ 6618041 h 6858000"/>
              <a:gd name="connsiteX15" fmla="*/ 11016446 w 12192000"/>
              <a:gd name="connsiteY15" fmla="*/ 6594222 h 6858000"/>
              <a:gd name="connsiteX16" fmla="*/ 11016446 w 12192000"/>
              <a:gd name="connsiteY16" fmla="*/ 6541121 h 6858000"/>
              <a:gd name="connsiteX17" fmla="*/ 10989730 w 12192000"/>
              <a:gd name="connsiteY17" fmla="*/ 6517317 h 6858000"/>
              <a:gd name="connsiteX18" fmla="*/ 11538985 w 12192000"/>
              <a:gd name="connsiteY18" fmla="*/ 6517310 h 6858000"/>
              <a:gd name="connsiteX19" fmla="*/ 11538985 w 12192000"/>
              <a:gd name="connsiteY19" fmla="*/ 6618034 h 6858000"/>
              <a:gd name="connsiteX20" fmla="*/ 11563263 w 12192000"/>
              <a:gd name="connsiteY20" fmla="*/ 6618034 h 6858000"/>
              <a:gd name="connsiteX21" fmla="*/ 11563263 w 12192000"/>
              <a:gd name="connsiteY21" fmla="*/ 6579928 h 6858000"/>
              <a:gd name="connsiteX22" fmla="*/ 11586360 w 12192000"/>
              <a:gd name="connsiteY22" fmla="*/ 6579928 h 6858000"/>
              <a:gd name="connsiteX23" fmla="*/ 11628506 w 12192000"/>
              <a:gd name="connsiteY23" fmla="*/ 6618034 h 6858000"/>
              <a:gd name="connsiteX24" fmla="*/ 11663753 w 12192000"/>
              <a:gd name="connsiteY24" fmla="*/ 6618034 h 6858000"/>
              <a:gd name="connsiteX25" fmla="*/ 11615897 w 12192000"/>
              <a:gd name="connsiteY25" fmla="*/ 6579928 h 6858000"/>
              <a:gd name="connsiteX26" fmla="*/ 11629710 w 12192000"/>
              <a:gd name="connsiteY26" fmla="*/ 6579928 h 6858000"/>
              <a:gd name="connsiteX27" fmla="*/ 11653280 w 12192000"/>
              <a:gd name="connsiteY27" fmla="*/ 6560638 h 6858000"/>
              <a:gd name="connsiteX28" fmla="*/ 11653280 w 12192000"/>
              <a:gd name="connsiteY28" fmla="*/ 6536834 h 6858000"/>
              <a:gd name="connsiteX29" fmla="*/ 11629710 w 12192000"/>
              <a:gd name="connsiteY29" fmla="*/ 6517310 h 6858000"/>
              <a:gd name="connsiteX30" fmla="*/ 11401645 w 12192000"/>
              <a:gd name="connsiteY30" fmla="*/ 6517310 h 6858000"/>
              <a:gd name="connsiteX31" fmla="*/ 11401645 w 12192000"/>
              <a:gd name="connsiteY31" fmla="*/ 6618034 h 6858000"/>
              <a:gd name="connsiteX32" fmla="*/ 11513119 w 12192000"/>
              <a:gd name="connsiteY32" fmla="*/ 6618034 h 6858000"/>
              <a:gd name="connsiteX33" fmla="*/ 11513119 w 12192000"/>
              <a:gd name="connsiteY33" fmla="*/ 6599218 h 6858000"/>
              <a:gd name="connsiteX34" fmla="*/ 11426909 w 12192000"/>
              <a:gd name="connsiteY34" fmla="*/ 6599218 h 6858000"/>
              <a:gd name="connsiteX35" fmla="*/ 11426909 w 12192000"/>
              <a:gd name="connsiteY35" fmla="*/ 6574451 h 6858000"/>
              <a:gd name="connsiteX36" fmla="*/ 11476458 w 12192000"/>
              <a:gd name="connsiteY36" fmla="*/ 6574451 h 6858000"/>
              <a:gd name="connsiteX37" fmla="*/ 11476458 w 12192000"/>
              <a:gd name="connsiteY37" fmla="*/ 6557072 h 6858000"/>
              <a:gd name="connsiteX38" fmla="*/ 11426909 w 12192000"/>
              <a:gd name="connsiteY38" fmla="*/ 6557072 h 6858000"/>
              <a:gd name="connsiteX39" fmla="*/ 11426909 w 12192000"/>
              <a:gd name="connsiteY39" fmla="*/ 6535178 h 6858000"/>
              <a:gd name="connsiteX40" fmla="*/ 11511908 w 12192000"/>
              <a:gd name="connsiteY40" fmla="*/ 6535178 h 6858000"/>
              <a:gd name="connsiteX41" fmla="*/ 11511908 w 12192000"/>
              <a:gd name="connsiteY41" fmla="*/ 6517310 h 6858000"/>
              <a:gd name="connsiteX42" fmla="*/ 11225454 w 12192000"/>
              <a:gd name="connsiteY42" fmla="*/ 6517310 h 6858000"/>
              <a:gd name="connsiteX43" fmla="*/ 11225454 w 12192000"/>
              <a:gd name="connsiteY43" fmla="*/ 6618034 h 6858000"/>
              <a:gd name="connsiteX44" fmla="*/ 11248423 w 12192000"/>
              <a:gd name="connsiteY44" fmla="*/ 6618034 h 6858000"/>
              <a:gd name="connsiteX45" fmla="*/ 11248423 w 12192000"/>
              <a:gd name="connsiteY45" fmla="*/ 6550413 h 6858000"/>
              <a:gd name="connsiteX46" fmla="*/ 11294805 w 12192000"/>
              <a:gd name="connsiteY46" fmla="*/ 6605891 h 6858000"/>
              <a:gd name="connsiteX47" fmla="*/ 11299665 w 12192000"/>
              <a:gd name="connsiteY47" fmla="*/ 6605891 h 6858000"/>
              <a:gd name="connsiteX48" fmla="*/ 11345558 w 12192000"/>
              <a:gd name="connsiteY48" fmla="*/ 6548736 h 6858000"/>
              <a:gd name="connsiteX49" fmla="*/ 11345558 w 12192000"/>
              <a:gd name="connsiteY49" fmla="*/ 6618034 h 6858000"/>
              <a:gd name="connsiteX50" fmla="*/ 11368873 w 12192000"/>
              <a:gd name="connsiteY50" fmla="*/ 6618034 h 6858000"/>
              <a:gd name="connsiteX51" fmla="*/ 11368873 w 12192000"/>
              <a:gd name="connsiteY51" fmla="*/ 6517310 h 6858000"/>
              <a:gd name="connsiteX52" fmla="*/ 11348725 w 12192000"/>
              <a:gd name="connsiteY52" fmla="*/ 6517310 h 6858000"/>
              <a:gd name="connsiteX53" fmla="*/ 11298687 w 12192000"/>
              <a:gd name="connsiteY53" fmla="*/ 6577069 h 6858000"/>
              <a:gd name="connsiteX54" fmla="*/ 11248423 w 12192000"/>
              <a:gd name="connsiteY54" fmla="*/ 6517310 h 6858000"/>
              <a:gd name="connsiteX55" fmla="*/ 11048135 w 12192000"/>
              <a:gd name="connsiteY55" fmla="*/ 6517310 h 6858000"/>
              <a:gd name="connsiteX56" fmla="*/ 11048135 w 12192000"/>
              <a:gd name="connsiteY56" fmla="*/ 6618034 h 6858000"/>
              <a:gd name="connsiteX57" fmla="*/ 11071096 w 12192000"/>
              <a:gd name="connsiteY57" fmla="*/ 6618034 h 6858000"/>
              <a:gd name="connsiteX58" fmla="*/ 11071096 w 12192000"/>
              <a:gd name="connsiteY58" fmla="*/ 6550413 h 6858000"/>
              <a:gd name="connsiteX59" fmla="*/ 11117478 w 12192000"/>
              <a:gd name="connsiteY59" fmla="*/ 6605891 h 6858000"/>
              <a:gd name="connsiteX60" fmla="*/ 11122331 w 12192000"/>
              <a:gd name="connsiteY60" fmla="*/ 6605891 h 6858000"/>
              <a:gd name="connsiteX61" fmla="*/ 11168239 w 12192000"/>
              <a:gd name="connsiteY61" fmla="*/ 6548736 h 6858000"/>
              <a:gd name="connsiteX62" fmla="*/ 11168239 w 12192000"/>
              <a:gd name="connsiteY62" fmla="*/ 6618034 h 6858000"/>
              <a:gd name="connsiteX63" fmla="*/ 11191554 w 12192000"/>
              <a:gd name="connsiteY63" fmla="*/ 6618034 h 6858000"/>
              <a:gd name="connsiteX64" fmla="*/ 11191554 w 12192000"/>
              <a:gd name="connsiteY64" fmla="*/ 6517310 h 6858000"/>
              <a:gd name="connsiteX65" fmla="*/ 11171399 w 12192000"/>
              <a:gd name="connsiteY65" fmla="*/ 6517310 h 6858000"/>
              <a:gd name="connsiteX66" fmla="*/ 11121368 w 12192000"/>
              <a:gd name="connsiteY66" fmla="*/ 6577069 h 6858000"/>
              <a:gd name="connsiteX67" fmla="*/ 11071096 w 12192000"/>
              <a:gd name="connsiteY67" fmla="*/ 6517310 h 6858000"/>
              <a:gd name="connsiteX68" fmla="*/ 10752277 w 12192000"/>
              <a:gd name="connsiteY68" fmla="*/ 6495161 h 6858000"/>
              <a:gd name="connsiteX69" fmla="*/ 10721799 w 12192000"/>
              <a:gd name="connsiteY69" fmla="*/ 6524217 h 6858000"/>
              <a:gd name="connsiteX70" fmla="*/ 10721799 w 12192000"/>
              <a:gd name="connsiteY70" fmla="*/ 6537774 h 6858000"/>
              <a:gd name="connsiteX71" fmla="*/ 10752277 w 12192000"/>
              <a:gd name="connsiteY71" fmla="*/ 6566829 h 6858000"/>
              <a:gd name="connsiteX72" fmla="*/ 10828955 w 12192000"/>
              <a:gd name="connsiteY72" fmla="*/ 6566829 h 6858000"/>
              <a:gd name="connsiteX73" fmla="*/ 10828955 w 12192000"/>
              <a:gd name="connsiteY73" fmla="*/ 6594929 h 6858000"/>
              <a:gd name="connsiteX74" fmla="*/ 10742052 w 12192000"/>
              <a:gd name="connsiteY74" fmla="*/ 6594929 h 6858000"/>
              <a:gd name="connsiteX75" fmla="*/ 10742052 w 12192000"/>
              <a:gd name="connsiteY75" fmla="*/ 6581703 h 6858000"/>
              <a:gd name="connsiteX76" fmla="*/ 10716796 w 12192000"/>
              <a:gd name="connsiteY76" fmla="*/ 6586947 h 6858000"/>
              <a:gd name="connsiteX77" fmla="*/ 10716796 w 12192000"/>
              <a:gd name="connsiteY77" fmla="*/ 6588978 h 6858000"/>
              <a:gd name="connsiteX78" fmla="*/ 10747514 w 12192000"/>
              <a:gd name="connsiteY78" fmla="*/ 6618026 h 6858000"/>
              <a:gd name="connsiteX79" fmla="*/ 10823486 w 12192000"/>
              <a:gd name="connsiteY79" fmla="*/ 6618026 h 6858000"/>
              <a:gd name="connsiteX80" fmla="*/ 10854204 w 12192000"/>
              <a:gd name="connsiteY80" fmla="*/ 6588978 h 6858000"/>
              <a:gd name="connsiteX81" fmla="*/ 10854204 w 12192000"/>
              <a:gd name="connsiteY81" fmla="*/ 6572073 h 6858000"/>
              <a:gd name="connsiteX82" fmla="*/ 10823486 w 12192000"/>
              <a:gd name="connsiteY82" fmla="*/ 6543018 h 6858000"/>
              <a:gd name="connsiteX83" fmla="*/ 10746799 w 12192000"/>
              <a:gd name="connsiteY83" fmla="*/ 6543018 h 6858000"/>
              <a:gd name="connsiteX84" fmla="*/ 10746799 w 12192000"/>
              <a:gd name="connsiteY84" fmla="*/ 6516595 h 6858000"/>
              <a:gd name="connsiteX85" fmla="*/ 10827285 w 12192000"/>
              <a:gd name="connsiteY85" fmla="*/ 6516595 h 6858000"/>
              <a:gd name="connsiteX86" fmla="*/ 10827285 w 12192000"/>
              <a:gd name="connsiteY86" fmla="*/ 6529904 h 6858000"/>
              <a:gd name="connsiteX87" fmla="*/ 10852526 w 12192000"/>
              <a:gd name="connsiteY87" fmla="*/ 6523953 h 6858000"/>
              <a:gd name="connsiteX88" fmla="*/ 10852526 w 12192000"/>
              <a:gd name="connsiteY88" fmla="*/ 6522073 h 6858000"/>
              <a:gd name="connsiteX89" fmla="*/ 10822049 w 12192000"/>
              <a:gd name="connsiteY89" fmla="*/ 6495161 h 6858000"/>
              <a:gd name="connsiteX90" fmla="*/ 11554221 w 12192000"/>
              <a:gd name="connsiteY90" fmla="*/ 6392872 h 6858000"/>
              <a:gd name="connsiteX91" fmla="*/ 11591123 w 12192000"/>
              <a:gd name="connsiteY91" fmla="*/ 6423590 h 6858000"/>
              <a:gd name="connsiteX92" fmla="*/ 11579695 w 12192000"/>
              <a:gd name="connsiteY92" fmla="*/ 6433348 h 6858000"/>
              <a:gd name="connsiteX93" fmla="*/ 11522795 w 12192000"/>
              <a:gd name="connsiteY93" fmla="*/ 6433348 h 6858000"/>
              <a:gd name="connsiteX94" fmla="*/ 11522795 w 12192000"/>
              <a:gd name="connsiteY94" fmla="*/ 6433341 h 6858000"/>
              <a:gd name="connsiteX95" fmla="*/ 11522795 w 12192000"/>
              <a:gd name="connsiteY95" fmla="*/ 6412395 h 6858000"/>
              <a:gd name="connsiteX96" fmla="*/ 10923532 w 12192000"/>
              <a:gd name="connsiteY96" fmla="*/ 6371438 h 6858000"/>
              <a:gd name="connsiteX97" fmla="*/ 10979491 w 12192000"/>
              <a:gd name="connsiteY97" fmla="*/ 6371438 h 6858000"/>
              <a:gd name="connsiteX98" fmla="*/ 10990685 w 12192000"/>
              <a:gd name="connsiteY98" fmla="*/ 6379533 h 6858000"/>
              <a:gd name="connsiteX99" fmla="*/ 10990685 w 12192000"/>
              <a:gd name="connsiteY99" fmla="*/ 6391202 h 6858000"/>
              <a:gd name="connsiteX100" fmla="*/ 10979491 w 12192000"/>
              <a:gd name="connsiteY100" fmla="*/ 6399297 h 6858000"/>
              <a:gd name="connsiteX101" fmla="*/ 10923532 w 12192000"/>
              <a:gd name="connsiteY101" fmla="*/ 6399297 h 6858000"/>
              <a:gd name="connsiteX102" fmla="*/ 11349305 w 12192000"/>
              <a:gd name="connsiteY102" fmla="*/ 6354059 h 6858000"/>
              <a:gd name="connsiteX103" fmla="*/ 11322868 w 12192000"/>
              <a:gd name="connsiteY103" fmla="*/ 6377878 h 6858000"/>
              <a:gd name="connsiteX104" fmla="*/ 11322868 w 12192000"/>
              <a:gd name="connsiteY104" fmla="*/ 6389073 h 6858000"/>
              <a:gd name="connsiteX105" fmla="*/ 11349305 w 12192000"/>
              <a:gd name="connsiteY105" fmla="*/ 6412877 h 6858000"/>
              <a:gd name="connsiteX106" fmla="*/ 11414541 w 12192000"/>
              <a:gd name="connsiteY106" fmla="*/ 6412877 h 6858000"/>
              <a:gd name="connsiteX107" fmla="*/ 11414541 w 12192000"/>
              <a:gd name="connsiteY107" fmla="*/ 6435982 h 6858000"/>
              <a:gd name="connsiteX108" fmla="*/ 11340480 w 12192000"/>
              <a:gd name="connsiteY108" fmla="*/ 6435982 h 6858000"/>
              <a:gd name="connsiteX109" fmla="*/ 11340480 w 12192000"/>
              <a:gd name="connsiteY109" fmla="*/ 6425374 h 6858000"/>
              <a:gd name="connsiteX110" fmla="*/ 11318587 w 12192000"/>
              <a:gd name="connsiteY110" fmla="*/ 6429429 h 6858000"/>
              <a:gd name="connsiteX111" fmla="*/ 11318587 w 12192000"/>
              <a:gd name="connsiteY111" fmla="*/ 6430979 h 6858000"/>
              <a:gd name="connsiteX112" fmla="*/ 11345009 w 12192000"/>
              <a:gd name="connsiteY112" fmla="*/ 6454783 h 6858000"/>
              <a:gd name="connsiteX113" fmla="*/ 11410501 w 12192000"/>
              <a:gd name="connsiteY113" fmla="*/ 6454783 h 6858000"/>
              <a:gd name="connsiteX114" fmla="*/ 11436690 w 12192000"/>
              <a:gd name="connsiteY114" fmla="*/ 6430979 h 6858000"/>
              <a:gd name="connsiteX115" fmla="*/ 11436690 w 12192000"/>
              <a:gd name="connsiteY115" fmla="*/ 6417165 h 6858000"/>
              <a:gd name="connsiteX116" fmla="*/ 11410501 w 12192000"/>
              <a:gd name="connsiteY116" fmla="*/ 6393361 h 6858000"/>
              <a:gd name="connsiteX117" fmla="*/ 11345009 w 12192000"/>
              <a:gd name="connsiteY117" fmla="*/ 6393361 h 6858000"/>
              <a:gd name="connsiteX118" fmla="*/ 11345009 w 12192000"/>
              <a:gd name="connsiteY118" fmla="*/ 6372153 h 6858000"/>
              <a:gd name="connsiteX119" fmla="*/ 11414300 w 12192000"/>
              <a:gd name="connsiteY119" fmla="*/ 6372153 h 6858000"/>
              <a:gd name="connsiteX120" fmla="*/ 11414300 w 12192000"/>
              <a:gd name="connsiteY120" fmla="*/ 6381564 h 6858000"/>
              <a:gd name="connsiteX121" fmla="*/ 11435486 w 12192000"/>
              <a:gd name="connsiteY121" fmla="*/ 6377050 h 6858000"/>
              <a:gd name="connsiteX122" fmla="*/ 11435486 w 12192000"/>
              <a:gd name="connsiteY122" fmla="*/ 6375967 h 6858000"/>
              <a:gd name="connsiteX123" fmla="*/ 11409064 w 12192000"/>
              <a:gd name="connsiteY123" fmla="*/ 6354059 h 6858000"/>
              <a:gd name="connsiteX124" fmla="*/ 11184971 w 12192000"/>
              <a:gd name="connsiteY124" fmla="*/ 6354059 h 6858000"/>
              <a:gd name="connsiteX125" fmla="*/ 11184971 w 12192000"/>
              <a:gd name="connsiteY125" fmla="*/ 6454775 h 6858000"/>
              <a:gd name="connsiteX126" fmla="*/ 11294264 w 12192000"/>
              <a:gd name="connsiteY126" fmla="*/ 6454775 h 6858000"/>
              <a:gd name="connsiteX127" fmla="*/ 11294264 w 12192000"/>
              <a:gd name="connsiteY127" fmla="*/ 6435966 h 6858000"/>
              <a:gd name="connsiteX128" fmla="*/ 11209738 w 12192000"/>
              <a:gd name="connsiteY128" fmla="*/ 6435966 h 6858000"/>
              <a:gd name="connsiteX129" fmla="*/ 11209738 w 12192000"/>
              <a:gd name="connsiteY129" fmla="*/ 6411199 h 6858000"/>
              <a:gd name="connsiteX130" fmla="*/ 11258310 w 12192000"/>
              <a:gd name="connsiteY130" fmla="*/ 6411199 h 6858000"/>
              <a:gd name="connsiteX131" fmla="*/ 11258310 w 12192000"/>
              <a:gd name="connsiteY131" fmla="*/ 6393820 h 6858000"/>
              <a:gd name="connsiteX132" fmla="*/ 11209738 w 12192000"/>
              <a:gd name="connsiteY132" fmla="*/ 6393820 h 6858000"/>
              <a:gd name="connsiteX133" fmla="*/ 11209738 w 12192000"/>
              <a:gd name="connsiteY133" fmla="*/ 6371912 h 6858000"/>
              <a:gd name="connsiteX134" fmla="*/ 11293083 w 12192000"/>
              <a:gd name="connsiteY134" fmla="*/ 6371912 h 6858000"/>
              <a:gd name="connsiteX135" fmla="*/ 11293083 w 12192000"/>
              <a:gd name="connsiteY135" fmla="*/ 6354059 h 6858000"/>
              <a:gd name="connsiteX136" fmla="*/ 11047262 w 12192000"/>
              <a:gd name="connsiteY136" fmla="*/ 6354059 h 6858000"/>
              <a:gd name="connsiteX137" fmla="*/ 11047262 w 12192000"/>
              <a:gd name="connsiteY137" fmla="*/ 6454775 h 6858000"/>
              <a:gd name="connsiteX138" fmla="*/ 11156555 w 12192000"/>
              <a:gd name="connsiteY138" fmla="*/ 6454775 h 6858000"/>
              <a:gd name="connsiteX139" fmla="*/ 11156555 w 12192000"/>
              <a:gd name="connsiteY139" fmla="*/ 6435966 h 6858000"/>
              <a:gd name="connsiteX140" fmla="*/ 11072029 w 12192000"/>
              <a:gd name="connsiteY140" fmla="*/ 6435966 h 6858000"/>
              <a:gd name="connsiteX141" fmla="*/ 11072029 w 12192000"/>
              <a:gd name="connsiteY141" fmla="*/ 6411199 h 6858000"/>
              <a:gd name="connsiteX142" fmla="*/ 11120601 w 12192000"/>
              <a:gd name="connsiteY142" fmla="*/ 6411199 h 6858000"/>
              <a:gd name="connsiteX143" fmla="*/ 11120601 w 12192000"/>
              <a:gd name="connsiteY143" fmla="*/ 6393820 h 6858000"/>
              <a:gd name="connsiteX144" fmla="*/ 11072029 w 12192000"/>
              <a:gd name="connsiteY144" fmla="*/ 6393820 h 6858000"/>
              <a:gd name="connsiteX145" fmla="*/ 11072029 w 12192000"/>
              <a:gd name="connsiteY145" fmla="*/ 6371912 h 6858000"/>
              <a:gd name="connsiteX146" fmla="*/ 11155374 w 12192000"/>
              <a:gd name="connsiteY146" fmla="*/ 6371912 h 6858000"/>
              <a:gd name="connsiteX147" fmla="*/ 11155374 w 12192000"/>
              <a:gd name="connsiteY147" fmla="*/ 6354059 h 6858000"/>
              <a:gd name="connsiteX148" fmla="*/ 10899246 w 12192000"/>
              <a:gd name="connsiteY148" fmla="*/ 6354059 h 6858000"/>
              <a:gd name="connsiteX149" fmla="*/ 10899246 w 12192000"/>
              <a:gd name="connsiteY149" fmla="*/ 6454775 h 6858000"/>
              <a:gd name="connsiteX150" fmla="*/ 10923539 w 12192000"/>
              <a:gd name="connsiteY150" fmla="*/ 6454775 h 6858000"/>
              <a:gd name="connsiteX151" fmla="*/ 10923539 w 12192000"/>
              <a:gd name="connsiteY151" fmla="*/ 6416669 h 6858000"/>
              <a:gd name="connsiteX152" fmla="*/ 10946636 w 12192000"/>
              <a:gd name="connsiteY152" fmla="*/ 6416669 h 6858000"/>
              <a:gd name="connsiteX153" fmla="*/ 10988782 w 12192000"/>
              <a:gd name="connsiteY153" fmla="*/ 6454775 h 6858000"/>
              <a:gd name="connsiteX154" fmla="*/ 11024029 w 12192000"/>
              <a:gd name="connsiteY154" fmla="*/ 6454775 h 6858000"/>
              <a:gd name="connsiteX155" fmla="*/ 10976158 w 12192000"/>
              <a:gd name="connsiteY155" fmla="*/ 6416669 h 6858000"/>
              <a:gd name="connsiteX156" fmla="*/ 10989971 w 12192000"/>
              <a:gd name="connsiteY156" fmla="*/ 6416669 h 6858000"/>
              <a:gd name="connsiteX157" fmla="*/ 11013549 w 12192000"/>
              <a:gd name="connsiteY157" fmla="*/ 6397394 h 6858000"/>
              <a:gd name="connsiteX158" fmla="*/ 11013549 w 12192000"/>
              <a:gd name="connsiteY158" fmla="*/ 6373582 h 6858000"/>
              <a:gd name="connsiteX159" fmla="*/ 10989971 w 12192000"/>
              <a:gd name="connsiteY159" fmla="*/ 6354059 h 6858000"/>
              <a:gd name="connsiteX160" fmla="*/ 10749425 w 12192000"/>
              <a:gd name="connsiteY160" fmla="*/ 6353818 h 6858000"/>
              <a:gd name="connsiteX161" fmla="*/ 10800140 w 12192000"/>
              <a:gd name="connsiteY161" fmla="*/ 6353818 h 6858000"/>
              <a:gd name="connsiteX162" fmla="*/ 10840624 w 12192000"/>
              <a:gd name="connsiteY162" fmla="*/ 6392157 h 6858000"/>
              <a:gd name="connsiteX163" fmla="*/ 10786327 w 12192000"/>
              <a:gd name="connsiteY163" fmla="*/ 6431685 h 6858000"/>
              <a:gd name="connsiteX164" fmla="*/ 10749425 w 12192000"/>
              <a:gd name="connsiteY164" fmla="*/ 6431685 h 6858000"/>
              <a:gd name="connsiteX165" fmla="*/ 11558990 w 12192000"/>
              <a:gd name="connsiteY165" fmla="*/ 6331910 h 6858000"/>
              <a:gd name="connsiteX166" fmla="*/ 11528513 w 12192000"/>
              <a:gd name="connsiteY166" fmla="*/ 6354292 h 6858000"/>
              <a:gd name="connsiteX167" fmla="*/ 11528513 w 12192000"/>
              <a:gd name="connsiteY167" fmla="*/ 6361191 h 6858000"/>
              <a:gd name="connsiteX168" fmla="*/ 11538993 w 12192000"/>
              <a:gd name="connsiteY168" fmla="*/ 6379766 h 6858000"/>
              <a:gd name="connsiteX169" fmla="*/ 11513978 w 12192000"/>
              <a:gd name="connsiteY169" fmla="*/ 6394775 h 6858000"/>
              <a:gd name="connsiteX170" fmla="*/ 11498743 w 12192000"/>
              <a:gd name="connsiteY170" fmla="*/ 6417632 h 6858000"/>
              <a:gd name="connsiteX171" fmla="*/ 11498743 w 12192000"/>
              <a:gd name="connsiteY171" fmla="*/ 6425727 h 6858000"/>
              <a:gd name="connsiteX172" fmla="*/ 11529454 w 12192000"/>
              <a:gd name="connsiteY172" fmla="*/ 6454775 h 6858000"/>
              <a:gd name="connsiteX173" fmla="*/ 11573270 w 12192000"/>
              <a:gd name="connsiteY173" fmla="*/ 6454775 h 6858000"/>
              <a:gd name="connsiteX174" fmla="*/ 11596367 w 12192000"/>
              <a:gd name="connsiteY174" fmla="*/ 6447387 h 6858000"/>
              <a:gd name="connsiteX175" fmla="*/ 11607321 w 12192000"/>
              <a:gd name="connsiteY175" fmla="*/ 6437629 h 6858000"/>
              <a:gd name="connsiteX176" fmla="*/ 11627559 w 12192000"/>
              <a:gd name="connsiteY176" fmla="*/ 6454775 h 6858000"/>
              <a:gd name="connsiteX177" fmla="*/ 11664950 w 12192000"/>
              <a:gd name="connsiteY177" fmla="*/ 6454775 h 6858000"/>
              <a:gd name="connsiteX178" fmla="*/ 11626137 w 12192000"/>
              <a:gd name="connsiteY178" fmla="*/ 6422146 h 6858000"/>
              <a:gd name="connsiteX179" fmla="*/ 11654470 w 12192000"/>
              <a:gd name="connsiteY179" fmla="*/ 6398582 h 6858000"/>
              <a:gd name="connsiteX180" fmla="*/ 11638272 w 12192000"/>
              <a:gd name="connsiteY180" fmla="*/ 6384536 h 6858000"/>
              <a:gd name="connsiteX181" fmla="*/ 11609698 w 12192000"/>
              <a:gd name="connsiteY181" fmla="*/ 6408340 h 6858000"/>
              <a:gd name="connsiteX182" fmla="*/ 11551836 w 12192000"/>
              <a:gd name="connsiteY182" fmla="*/ 6360243 h 6858000"/>
              <a:gd name="connsiteX183" fmla="*/ 11551836 w 12192000"/>
              <a:gd name="connsiteY183" fmla="*/ 6351433 h 6858000"/>
              <a:gd name="connsiteX184" fmla="*/ 11592086 w 12192000"/>
              <a:gd name="connsiteY184" fmla="*/ 6351433 h 6858000"/>
              <a:gd name="connsiteX185" fmla="*/ 11592086 w 12192000"/>
              <a:gd name="connsiteY185" fmla="*/ 6367872 h 6858000"/>
              <a:gd name="connsiteX186" fmla="*/ 11614220 w 12192000"/>
              <a:gd name="connsiteY186" fmla="*/ 6364065 h 6858000"/>
              <a:gd name="connsiteX187" fmla="*/ 11614220 w 12192000"/>
              <a:gd name="connsiteY187" fmla="*/ 6356677 h 6858000"/>
              <a:gd name="connsiteX188" fmla="*/ 11583742 w 12192000"/>
              <a:gd name="connsiteY188" fmla="*/ 6331910 h 6858000"/>
              <a:gd name="connsiteX189" fmla="*/ 10720851 w 12192000"/>
              <a:gd name="connsiteY189" fmla="*/ 6331910 h 6858000"/>
              <a:gd name="connsiteX190" fmla="*/ 10720851 w 12192000"/>
              <a:gd name="connsiteY190" fmla="*/ 6454775 h 6858000"/>
              <a:gd name="connsiteX191" fmla="*/ 10792527 w 12192000"/>
              <a:gd name="connsiteY191" fmla="*/ 6454775 h 6858000"/>
              <a:gd name="connsiteX192" fmla="*/ 10843009 w 12192000"/>
              <a:gd name="connsiteY192" fmla="*/ 6445258 h 6858000"/>
              <a:gd name="connsiteX193" fmla="*/ 10870146 w 12192000"/>
              <a:gd name="connsiteY193" fmla="*/ 6392631 h 6858000"/>
              <a:gd name="connsiteX194" fmla="*/ 10799900 w 12192000"/>
              <a:gd name="connsiteY194" fmla="*/ 6331910 h 6858000"/>
              <a:gd name="connsiteX195" fmla="*/ 0 w 12192000"/>
              <a:gd name="connsiteY195" fmla="*/ 0 h 6858000"/>
              <a:gd name="connsiteX196" fmla="*/ 12192000 w 12192000"/>
              <a:gd name="connsiteY196" fmla="*/ 0 h 6858000"/>
              <a:gd name="connsiteX197" fmla="*/ 12192000 w 12192000"/>
              <a:gd name="connsiteY197" fmla="*/ 6858000 h 6858000"/>
              <a:gd name="connsiteX198" fmla="*/ 0 w 12192000"/>
              <a:gd name="connsiteY19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</a:cxnLst>
            <a:rect l="l" t="t" r="r" b="b"/>
            <a:pathLst>
              <a:path w="12192000" h="6858000">
                <a:moveTo>
                  <a:pt x="10909343" y="6535878"/>
                </a:moveTo>
                <a:lnTo>
                  <a:pt x="10992168" y="6535878"/>
                </a:lnTo>
                <a:lnTo>
                  <a:pt x="10992168" y="6598744"/>
                </a:lnTo>
                <a:lnTo>
                  <a:pt x="10909343" y="6598744"/>
                </a:lnTo>
                <a:close/>
                <a:moveTo>
                  <a:pt x="11563256" y="6534689"/>
                </a:moveTo>
                <a:lnTo>
                  <a:pt x="11619215" y="6534689"/>
                </a:lnTo>
                <a:cubicBezTo>
                  <a:pt x="11626587" y="6534689"/>
                  <a:pt x="11630409" y="6536126"/>
                  <a:pt x="11630409" y="6542785"/>
                </a:cubicBezTo>
                <a:lnTo>
                  <a:pt x="11630409" y="6554454"/>
                </a:lnTo>
                <a:cubicBezTo>
                  <a:pt x="11630409" y="6561127"/>
                  <a:pt x="11626587" y="6562549"/>
                  <a:pt x="11619215" y="6562549"/>
                </a:cubicBezTo>
                <a:lnTo>
                  <a:pt x="11563256" y="6562549"/>
                </a:lnTo>
                <a:close/>
                <a:moveTo>
                  <a:pt x="10910306" y="6517317"/>
                </a:moveTo>
                <a:cubicBezTo>
                  <a:pt x="10890158" y="6517317"/>
                  <a:pt x="10883590" y="6521831"/>
                  <a:pt x="10883590" y="6541121"/>
                </a:cubicBezTo>
                <a:lnTo>
                  <a:pt x="10883590" y="6594222"/>
                </a:lnTo>
                <a:cubicBezTo>
                  <a:pt x="10883590" y="6613271"/>
                  <a:pt x="10889902" y="6618041"/>
                  <a:pt x="10910306" y="6618041"/>
                </a:cubicBezTo>
                <a:lnTo>
                  <a:pt x="10989730" y="6618041"/>
                </a:lnTo>
                <a:cubicBezTo>
                  <a:pt x="11009886" y="6618041"/>
                  <a:pt x="11016446" y="6613271"/>
                  <a:pt x="11016446" y="6594222"/>
                </a:cubicBezTo>
                <a:lnTo>
                  <a:pt x="11016446" y="6541121"/>
                </a:lnTo>
                <a:cubicBezTo>
                  <a:pt x="11016446" y="6521831"/>
                  <a:pt x="11009878" y="6517317"/>
                  <a:pt x="10989730" y="6517317"/>
                </a:cubicBezTo>
                <a:close/>
                <a:moveTo>
                  <a:pt x="11538985" y="6517310"/>
                </a:moveTo>
                <a:lnTo>
                  <a:pt x="11538985" y="6618034"/>
                </a:lnTo>
                <a:lnTo>
                  <a:pt x="11563263" y="6618034"/>
                </a:lnTo>
                <a:lnTo>
                  <a:pt x="11563263" y="6579928"/>
                </a:lnTo>
                <a:lnTo>
                  <a:pt x="11586360" y="6579928"/>
                </a:lnTo>
                <a:lnTo>
                  <a:pt x="11628506" y="6618034"/>
                </a:lnTo>
                <a:lnTo>
                  <a:pt x="11663753" y="6618034"/>
                </a:lnTo>
                <a:lnTo>
                  <a:pt x="11615897" y="6579928"/>
                </a:lnTo>
                <a:lnTo>
                  <a:pt x="11629710" y="6579928"/>
                </a:lnTo>
                <a:cubicBezTo>
                  <a:pt x="11645892" y="6579928"/>
                  <a:pt x="11653280" y="6574451"/>
                  <a:pt x="11653280" y="6560638"/>
                </a:cubicBezTo>
                <a:lnTo>
                  <a:pt x="11653280" y="6536834"/>
                </a:lnTo>
                <a:cubicBezTo>
                  <a:pt x="11653280" y="6522787"/>
                  <a:pt x="11645892" y="6517310"/>
                  <a:pt x="11629710" y="6517310"/>
                </a:cubicBezTo>
                <a:close/>
                <a:moveTo>
                  <a:pt x="11401645" y="6517310"/>
                </a:moveTo>
                <a:lnTo>
                  <a:pt x="11401645" y="6618034"/>
                </a:lnTo>
                <a:lnTo>
                  <a:pt x="11513119" y="6618034"/>
                </a:lnTo>
                <a:lnTo>
                  <a:pt x="11513119" y="6599218"/>
                </a:lnTo>
                <a:lnTo>
                  <a:pt x="11426909" y="6599218"/>
                </a:lnTo>
                <a:lnTo>
                  <a:pt x="11426909" y="6574451"/>
                </a:lnTo>
                <a:lnTo>
                  <a:pt x="11476458" y="6574451"/>
                </a:lnTo>
                <a:lnTo>
                  <a:pt x="11476458" y="6557072"/>
                </a:lnTo>
                <a:lnTo>
                  <a:pt x="11426909" y="6557072"/>
                </a:lnTo>
                <a:lnTo>
                  <a:pt x="11426909" y="6535178"/>
                </a:lnTo>
                <a:lnTo>
                  <a:pt x="11511908" y="6535178"/>
                </a:lnTo>
                <a:lnTo>
                  <a:pt x="11511908" y="6517310"/>
                </a:lnTo>
                <a:close/>
                <a:moveTo>
                  <a:pt x="11225454" y="6517310"/>
                </a:moveTo>
                <a:lnTo>
                  <a:pt x="11225454" y="6618034"/>
                </a:lnTo>
                <a:lnTo>
                  <a:pt x="11248423" y="6618034"/>
                </a:lnTo>
                <a:lnTo>
                  <a:pt x="11248423" y="6550413"/>
                </a:lnTo>
                <a:lnTo>
                  <a:pt x="11294805" y="6605891"/>
                </a:lnTo>
                <a:lnTo>
                  <a:pt x="11299665" y="6605891"/>
                </a:lnTo>
                <a:lnTo>
                  <a:pt x="11345558" y="6548736"/>
                </a:lnTo>
                <a:lnTo>
                  <a:pt x="11345558" y="6618034"/>
                </a:lnTo>
                <a:lnTo>
                  <a:pt x="11368873" y="6618034"/>
                </a:lnTo>
                <a:lnTo>
                  <a:pt x="11368873" y="6517310"/>
                </a:lnTo>
                <a:lnTo>
                  <a:pt x="11348725" y="6517310"/>
                </a:lnTo>
                <a:lnTo>
                  <a:pt x="11298687" y="6577069"/>
                </a:lnTo>
                <a:lnTo>
                  <a:pt x="11248423" y="6517310"/>
                </a:lnTo>
                <a:close/>
                <a:moveTo>
                  <a:pt x="11048135" y="6517310"/>
                </a:moveTo>
                <a:lnTo>
                  <a:pt x="11048135" y="6618034"/>
                </a:lnTo>
                <a:lnTo>
                  <a:pt x="11071096" y="6618034"/>
                </a:lnTo>
                <a:lnTo>
                  <a:pt x="11071096" y="6550413"/>
                </a:lnTo>
                <a:lnTo>
                  <a:pt x="11117478" y="6605891"/>
                </a:lnTo>
                <a:lnTo>
                  <a:pt x="11122331" y="6605891"/>
                </a:lnTo>
                <a:lnTo>
                  <a:pt x="11168239" y="6548736"/>
                </a:lnTo>
                <a:lnTo>
                  <a:pt x="11168239" y="6618034"/>
                </a:lnTo>
                <a:lnTo>
                  <a:pt x="11191554" y="6618034"/>
                </a:lnTo>
                <a:lnTo>
                  <a:pt x="11191554" y="6517310"/>
                </a:lnTo>
                <a:lnTo>
                  <a:pt x="11171399" y="6517310"/>
                </a:lnTo>
                <a:lnTo>
                  <a:pt x="11121368" y="6577069"/>
                </a:lnTo>
                <a:lnTo>
                  <a:pt x="11071096" y="6517310"/>
                </a:lnTo>
                <a:close/>
                <a:moveTo>
                  <a:pt x="10752277" y="6495161"/>
                </a:moveTo>
                <a:cubicBezTo>
                  <a:pt x="10729180" y="6495161"/>
                  <a:pt x="10721799" y="6501112"/>
                  <a:pt x="10721799" y="6524217"/>
                </a:cubicBezTo>
                <a:lnTo>
                  <a:pt x="10721799" y="6537774"/>
                </a:lnTo>
                <a:cubicBezTo>
                  <a:pt x="10721799" y="6560878"/>
                  <a:pt x="10729187" y="6566829"/>
                  <a:pt x="10752277" y="6566829"/>
                </a:cubicBezTo>
                <a:lnTo>
                  <a:pt x="10828955" y="6566829"/>
                </a:lnTo>
                <a:lnTo>
                  <a:pt x="10828955" y="6594929"/>
                </a:lnTo>
                <a:lnTo>
                  <a:pt x="10742052" y="6594929"/>
                </a:lnTo>
                <a:lnTo>
                  <a:pt x="10742052" y="6581703"/>
                </a:lnTo>
                <a:lnTo>
                  <a:pt x="10716796" y="6586947"/>
                </a:lnTo>
                <a:lnTo>
                  <a:pt x="10716796" y="6588978"/>
                </a:lnTo>
                <a:cubicBezTo>
                  <a:pt x="10716796" y="6612075"/>
                  <a:pt x="10724417" y="6618026"/>
                  <a:pt x="10747514" y="6618026"/>
                </a:cubicBezTo>
                <a:lnTo>
                  <a:pt x="10823486" y="6618026"/>
                </a:lnTo>
                <a:cubicBezTo>
                  <a:pt x="10846583" y="6618026"/>
                  <a:pt x="10854204" y="6612075"/>
                  <a:pt x="10854204" y="6588978"/>
                </a:cubicBezTo>
                <a:lnTo>
                  <a:pt x="10854204" y="6572073"/>
                </a:lnTo>
                <a:cubicBezTo>
                  <a:pt x="10854204" y="6548969"/>
                  <a:pt x="10846583" y="6543018"/>
                  <a:pt x="10823486" y="6543018"/>
                </a:cubicBezTo>
                <a:lnTo>
                  <a:pt x="10746799" y="6543018"/>
                </a:lnTo>
                <a:lnTo>
                  <a:pt x="10746799" y="6516595"/>
                </a:lnTo>
                <a:lnTo>
                  <a:pt x="10827285" y="6516595"/>
                </a:lnTo>
                <a:lnTo>
                  <a:pt x="10827285" y="6529904"/>
                </a:lnTo>
                <a:lnTo>
                  <a:pt x="10852526" y="6523953"/>
                </a:lnTo>
                <a:lnTo>
                  <a:pt x="10852526" y="6522073"/>
                </a:lnTo>
                <a:cubicBezTo>
                  <a:pt x="10852526" y="6500871"/>
                  <a:pt x="10843957" y="6495161"/>
                  <a:pt x="10822049" y="6495161"/>
                </a:cubicBezTo>
                <a:close/>
                <a:moveTo>
                  <a:pt x="11554221" y="6392872"/>
                </a:moveTo>
                <a:lnTo>
                  <a:pt x="11591123" y="6423590"/>
                </a:lnTo>
                <a:lnTo>
                  <a:pt x="11579695" y="6433348"/>
                </a:lnTo>
                <a:lnTo>
                  <a:pt x="11522795" y="6433348"/>
                </a:lnTo>
                <a:lnTo>
                  <a:pt x="11522795" y="6433341"/>
                </a:lnTo>
                <a:lnTo>
                  <a:pt x="11522795" y="6412395"/>
                </a:lnTo>
                <a:close/>
                <a:moveTo>
                  <a:pt x="10923532" y="6371438"/>
                </a:moveTo>
                <a:lnTo>
                  <a:pt x="10979491" y="6371438"/>
                </a:lnTo>
                <a:cubicBezTo>
                  <a:pt x="10986864" y="6371438"/>
                  <a:pt x="10990685" y="6372875"/>
                  <a:pt x="10990685" y="6379533"/>
                </a:cubicBezTo>
                <a:lnTo>
                  <a:pt x="10990685" y="6391202"/>
                </a:lnTo>
                <a:cubicBezTo>
                  <a:pt x="10990685" y="6397875"/>
                  <a:pt x="10986864" y="6399297"/>
                  <a:pt x="10979491" y="6399297"/>
                </a:cubicBezTo>
                <a:lnTo>
                  <a:pt x="10923532" y="6399297"/>
                </a:lnTo>
                <a:close/>
                <a:moveTo>
                  <a:pt x="11349305" y="6354059"/>
                </a:moveTo>
                <a:cubicBezTo>
                  <a:pt x="11329541" y="6354059"/>
                  <a:pt x="11322868" y="6358829"/>
                  <a:pt x="11322868" y="6377878"/>
                </a:cubicBezTo>
                <a:lnTo>
                  <a:pt x="11322868" y="6389073"/>
                </a:lnTo>
                <a:cubicBezTo>
                  <a:pt x="11322868" y="6408122"/>
                  <a:pt x="11329541" y="6412877"/>
                  <a:pt x="11349305" y="6412877"/>
                </a:cubicBezTo>
                <a:lnTo>
                  <a:pt x="11414541" y="6412877"/>
                </a:lnTo>
                <a:lnTo>
                  <a:pt x="11414541" y="6435982"/>
                </a:lnTo>
                <a:lnTo>
                  <a:pt x="11340480" y="6435982"/>
                </a:lnTo>
                <a:lnTo>
                  <a:pt x="11340480" y="6425374"/>
                </a:lnTo>
                <a:lnTo>
                  <a:pt x="11318587" y="6429429"/>
                </a:lnTo>
                <a:lnTo>
                  <a:pt x="11318587" y="6430979"/>
                </a:lnTo>
                <a:cubicBezTo>
                  <a:pt x="11318587" y="6449795"/>
                  <a:pt x="11325012" y="6454783"/>
                  <a:pt x="11345009" y="6454783"/>
                </a:cubicBezTo>
                <a:lnTo>
                  <a:pt x="11410501" y="6454783"/>
                </a:lnTo>
                <a:cubicBezTo>
                  <a:pt x="11430498" y="6454783"/>
                  <a:pt x="11436690" y="6449795"/>
                  <a:pt x="11436690" y="6430979"/>
                </a:cubicBezTo>
                <a:lnTo>
                  <a:pt x="11436690" y="6417165"/>
                </a:lnTo>
                <a:cubicBezTo>
                  <a:pt x="11436690" y="6398116"/>
                  <a:pt x="11430506" y="6393361"/>
                  <a:pt x="11410501" y="6393361"/>
                </a:cubicBezTo>
                <a:lnTo>
                  <a:pt x="11345009" y="6393361"/>
                </a:lnTo>
                <a:lnTo>
                  <a:pt x="11345009" y="6372153"/>
                </a:lnTo>
                <a:lnTo>
                  <a:pt x="11414300" y="6372153"/>
                </a:lnTo>
                <a:lnTo>
                  <a:pt x="11414300" y="6381564"/>
                </a:lnTo>
                <a:lnTo>
                  <a:pt x="11435486" y="6377050"/>
                </a:lnTo>
                <a:lnTo>
                  <a:pt x="11435486" y="6375967"/>
                </a:lnTo>
                <a:cubicBezTo>
                  <a:pt x="11435486" y="6358355"/>
                  <a:pt x="11427639" y="6354059"/>
                  <a:pt x="11409064" y="6354059"/>
                </a:cubicBezTo>
                <a:close/>
                <a:moveTo>
                  <a:pt x="11184971" y="6354059"/>
                </a:moveTo>
                <a:lnTo>
                  <a:pt x="11184971" y="6454775"/>
                </a:lnTo>
                <a:lnTo>
                  <a:pt x="11294264" y="6454775"/>
                </a:lnTo>
                <a:lnTo>
                  <a:pt x="11294264" y="6435966"/>
                </a:lnTo>
                <a:lnTo>
                  <a:pt x="11209738" y="6435966"/>
                </a:lnTo>
                <a:lnTo>
                  <a:pt x="11209738" y="6411199"/>
                </a:lnTo>
                <a:lnTo>
                  <a:pt x="11258310" y="6411199"/>
                </a:lnTo>
                <a:lnTo>
                  <a:pt x="11258310" y="6393820"/>
                </a:lnTo>
                <a:lnTo>
                  <a:pt x="11209738" y="6393820"/>
                </a:lnTo>
                <a:lnTo>
                  <a:pt x="11209738" y="6371912"/>
                </a:lnTo>
                <a:lnTo>
                  <a:pt x="11293083" y="6371912"/>
                </a:lnTo>
                <a:lnTo>
                  <a:pt x="11293083" y="6354059"/>
                </a:lnTo>
                <a:close/>
                <a:moveTo>
                  <a:pt x="11047262" y="6354059"/>
                </a:moveTo>
                <a:lnTo>
                  <a:pt x="11047262" y="6454775"/>
                </a:lnTo>
                <a:lnTo>
                  <a:pt x="11156555" y="6454775"/>
                </a:lnTo>
                <a:lnTo>
                  <a:pt x="11156555" y="6435966"/>
                </a:lnTo>
                <a:lnTo>
                  <a:pt x="11072029" y="6435966"/>
                </a:lnTo>
                <a:lnTo>
                  <a:pt x="11072029" y="6411199"/>
                </a:lnTo>
                <a:lnTo>
                  <a:pt x="11120601" y="6411199"/>
                </a:lnTo>
                <a:lnTo>
                  <a:pt x="11120601" y="6393820"/>
                </a:lnTo>
                <a:lnTo>
                  <a:pt x="11072029" y="6393820"/>
                </a:lnTo>
                <a:lnTo>
                  <a:pt x="11072029" y="6371912"/>
                </a:lnTo>
                <a:lnTo>
                  <a:pt x="11155374" y="6371912"/>
                </a:lnTo>
                <a:lnTo>
                  <a:pt x="11155374" y="6354059"/>
                </a:lnTo>
                <a:close/>
                <a:moveTo>
                  <a:pt x="10899246" y="6354059"/>
                </a:moveTo>
                <a:lnTo>
                  <a:pt x="10899246" y="6454775"/>
                </a:lnTo>
                <a:lnTo>
                  <a:pt x="10923539" y="6454775"/>
                </a:lnTo>
                <a:lnTo>
                  <a:pt x="10923539" y="6416669"/>
                </a:lnTo>
                <a:lnTo>
                  <a:pt x="10946636" y="6416669"/>
                </a:lnTo>
                <a:lnTo>
                  <a:pt x="10988782" y="6454775"/>
                </a:lnTo>
                <a:lnTo>
                  <a:pt x="11024029" y="6454775"/>
                </a:lnTo>
                <a:lnTo>
                  <a:pt x="10976158" y="6416669"/>
                </a:lnTo>
                <a:lnTo>
                  <a:pt x="10989971" y="6416669"/>
                </a:lnTo>
                <a:cubicBezTo>
                  <a:pt x="11006169" y="6416669"/>
                  <a:pt x="11013549" y="6411192"/>
                  <a:pt x="11013549" y="6397394"/>
                </a:cubicBezTo>
                <a:lnTo>
                  <a:pt x="11013549" y="6373582"/>
                </a:lnTo>
                <a:cubicBezTo>
                  <a:pt x="11013549" y="6359536"/>
                  <a:pt x="11006161" y="6354059"/>
                  <a:pt x="10989971" y="6354059"/>
                </a:cubicBezTo>
                <a:close/>
                <a:moveTo>
                  <a:pt x="10749425" y="6353818"/>
                </a:moveTo>
                <a:lnTo>
                  <a:pt x="10800140" y="6353818"/>
                </a:lnTo>
                <a:cubicBezTo>
                  <a:pt x="10827052" y="6353818"/>
                  <a:pt x="10840624" y="6367157"/>
                  <a:pt x="10840624" y="6392157"/>
                </a:cubicBezTo>
                <a:cubicBezTo>
                  <a:pt x="10840624" y="6422635"/>
                  <a:pt x="10822523" y="6431685"/>
                  <a:pt x="10786327" y="6431685"/>
                </a:cubicBezTo>
                <a:lnTo>
                  <a:pt x="10749425" y="6431685"/>
                </a:lnTo>
                <a:close/>
                <a:moveTo>
                  <a:pt x="11558990" y="6331910"/>
                </a:moveTo>
                <a:cubicBezTo>
                  <a:pt x="11538030" y="6331910"/>
                  <a:pt x="11528513" y="6336680"/>
                  <a:pt x="11528513" y="6354292"/>
                </a:cubicBezTo>
                <a:lnTo>
                  <a:pt x="11528513" y="6361191"/>
                </a:lnTo>
                <a:cubicBezTo>
                  <a:pt x="11528513" y="6368338"/>
                  <a:pt x="11531846" y="6373815"/>
                  <a:pt x="11538993" y="6379766"/>
                </a:cubicBezTo>
                <a:lnTo>
                  <a:pt x="11513978" y="6394775"/>
                </a:lnTo>
                <a:cubicBezTo>
                  <a:pt x="11503272" y="6401201"/>
                  <a:pt x="11498743" y="6405007"/>
                  <a:pt x="11498743" y="6417632"/>
                </a:cubicBezTo>
                <a:lnTo>
                  <a:pt x="11498743" y="6425727"/>
                </a:lnTo>
                <a:cubicBezTo>
                  <a:pt x="11498743" y="6448824"/>
                  <a:pt x="11506364" y="6454775"/>
                  <a:pt x="11529454" y="6454775"/>
                </a:cubicBezTo>
                <a:lnTo>
                  <a:pt x="11573270" y="6454775"/>
                </a:lnTo>
                <a:cubicBezTo>
                  <a:pt x="11583502" y="6454775"/>
                  <a:pt x="11588505" y="6454301"/>
                  <a:pt x="11596367" y="6447387"/>
                </a:cubicBezTo>
                <a:lnTo>
                  <a:pt x="11607321" y="6437629"/>
                </a:lnTo>
                <a:lnTo>
                  <a:pt x="11627559" y="6454775"/>
                </a:lnTo>
                <a:lnTo>
                  <a:pt x="11664950" y="6454775"/>
                </a:lnTo>
                <a:lnTo>
                  <a:pt x="11626137" y="6422146"/>
                </a:lnTo>
                <a:lnTo>
                  <a:pt x="11654470" y="6398582"/>
                </a:lnTo>
                <a:lnTo>
                  <a:pt x="11638272" y="6384536"/>
                </a:lnTo>
                <a:lnTo>
                  <a:pt x="11609698" y="6408340"/>
                </a:lnTo>
                <a:lnTo>
                  <a:pt x="11551836" y="6360243"/>
                </a:lnTo>
                <a:lnTo>
                  <a:pt x="11551836" y="6351433"/>
                </a:lnTo>
                <a:lnTo>
                  <a:pt x="11592086" y="6351433"/>
                </a:lnTo>
                <a:lnTo>
                  <a:pt x="11592086" y="6367872"/>
                </a:lnTo>
                <a:lnTo>
                  <a:pt x="11614220" y="6364065"/>
                </a:lnTo>
                <a:lnTo>
                  <a:pt x="11614220" y="6356677"/>
                </a:lnTo>
                <a:cubicBezTo>
                  <a:pt x="11614220" y="6336680"/>
                  <a:pt x="11605884" y="6331910"/>
                  <a:pt x="11583742" y="6331910"/>
                </a:cubicBezTo>
                <a:close/>
                <a:moveTo>
                  <a:pt x="10720851" y="6331910"/>
                </a:moveTo>
                <a:lnTo>
                  <a:pt x="10720851" y="6454775"/>
                </a:lnTo>
                <a:lnTo>
                  <a:pt x="10792527" y="6454775"/>
                </a:lnTo>
                <a:cubicBezTo>
                  <a:pt x="10814420" y="6454775"/>
                  <a:pt x="10831092" y="6452631"/>
                  <a:pt x="10843009" y="6445258"/>
                </a:cubicBezTo>
                <a:cubicBezTo>
                  <a:pt x="10860155" y="6434778"/>
                  <a:pt x="10870146" y="6415728"/>
                  <a:pt x="10870146" y="6392631"/>
                </a:cubicBezTo>
                <a:cubicBezTo>
                  <a:pt x="10870146" y="6354533"/>
                  <a:pt x="10845868" y="6331910"/>
                  <a:pt x="10799900" y="6331910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FFCB50B-5503-4467-8A0F-9FBB8B48B97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lIns="0" tIns="0" rIns="0" bIns="0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MIO_CONVERT_SLIDES_SUBTITLE">
            <a:extLst>
              <a:ext uri="{FF2B5EF4-FFF2-40B4-BE49-F238E27FC236}">
                <a16:creationId xmlns:a16="http://schemas.microsoft.com/office/drawing/2014/main" id="{7086919D-8D03-4875-B9F0-05F0C85640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25600" y="1022400"/>
            <a:ext cx="11138400" cy="5040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2000"/>
            </a:lvl1pPr>
          </a:lstStyle>
          <a:p>
            <a:pPr lvl="0"/>
            <a:r>
              <a:rPr lang="de-DE" dirty="0" err="1"/>
              <a:t>Subtitle</a:t>
            </a:r>
            <a:endParaRPr lang="en-US" dirty="0"/>
          </a:p>
        </p:txBody>
      </p:sp>
      <p:sp>
        <p:nvSpPr>
          <p:cNvPr id="25" name="logo drees&amp;sommer white">
            <a:extLst>
              <a:ext uri="{FF2B5EF4-FFF2-40B4-BE49-F238E27FC236}">
                <a16:creationId xmlns:a16="http://schemas.microsoft.com/office/drawing/2014/main" id="{BBD52182-BB05-4B63-AA99-000774620C1E}"/>
              </a:ext>
            </a:extLst>
          </p:cNvPr>
          <p:cNvSpPr>
            <a:spLocks noGrp="1"/>
          </p:cNvSpPr>
          <p:nvPr>
            <p:ph type="media" sz="quarter" idx="20"/>
          </p:nvPr>
        </p:nvSpPr>
        <p:spPr bwMode="gray">
          <a:xfrm>
            <a:off x="10716797" y="6330042"/>
            <a:ext cx="946800" cy="2880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15875" cap="flat">
            <a:noFill/>
            <a:prstDash val="lgDash"/>
          </a:ln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de-DE"/>
              <a:t>Mediaclip durch Klicken auf Symbol hinzufügen</a:t>
            </a:r>
            <a:endParaRPr lang="de-DE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90B54C2D-8235-4852-8EB7-5E05529B24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525600" y="7200000"/>
            <a:ext cx="234000" cy="180000"/>
          </a:xfrm>
        </p:spPr>
        <p:txBody>
          <a:bodyPr lIns="0" tIns="0" rIns="0" bIns="0"/>
          <a:lstStyle/>
          <a:p>
            <a:fld id="{9829449A-3FF3-45CE-9F4F-09BADC0910C6}" type="slidenum">
              <a:rPr lang="de-DE" noProof="0"/>
              <a:t>‹Nr.›</a:t>
            </a:fld>
            <a:endParaRPr lang="de-DE" noProof="0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A4534FC4-D037-44B0-B266-D9E820FC1D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763200" y="7200000"/>
            <a:ext cx="7880400" cy="180000"/>
          </a:xfrm>
        </p:spPr>
        <p:txBody>
          <a:bodyPr lIns="0" tIns="0" rIns="0" bIns="0"/>
          <a:lstStyle/>
          <a:p>
            <a:endParaRPr lang="de-DE" noProof="0" dirty="0"/>
          </a:p>
        </p:txBody>
      </p:sp>
      <p:sp>
        <p:nvSpPr>
          <p:cNvPr id="19" name="info">
            <a:extLst>
              <a:ext uri="{FF2B5EF4-FFF2-40B4-BE49-F238E27FC236}">
                <a16:creationId xmlns:a16="http://schemas.microsoft.com/office/drawing/2014/main" id="{F41D21D2-B095-4C34-9EA0-50C925B227FB}"/>
              </a:ext>
            </a:extLst>
          </p:cNvPr>
          <p:cNvSpPr/>
          <p:nvPr/>
        </p:nvSpPr>
        <p:spPr bwMode="gray">
          <a:xfrm flipH="1">
            <a:off x="12247320" y="6288645"/>
            <a:ext cx="1579616" cy="370793"/>
          </a:xfrm>
          <a:prstGeom prst="homePlate">
            <a:avLst/>
          </a:prstGeom>
          <a:solidFill>
            <a:srgbClr val="0029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36000" rtlCol="0" anchor="ctr">
            <a:spAutoFit/>
          </a:bodyPr>
          <a:lstStyle/>
          <a:p>
            <a:pPr algn="ctr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sz="1050" dirty="0">
                <a:solidFill>
                  <a:schemeClr val="bg1"/>
                </a:solidFill>
              </a:rPr>
              <a:t>delete the white logo </a:t>
            </a:r>
            <a:br>
              <a:rPr lang="en-US" sz="1050" dirty="0">
                <a:solidFill>
                  <a:schemeClr val="bg1"/>
                </a:solidFill>
              </a:rPr>
            </a:br>
            <a:r>
              <a:rPr lang="en-US" sz="1050" dirty="0">
                <a:solidFill>
                  <a:schemeClr val="bg1"/>
                </a:solidFill>
              </a:rPr>
              <a:t>to get the BLUE LOGO</a:t>
            </a:r>
            <a:endParaRPr lang="de-DE" sz="1050" dirty="0">
              <a:solidFill>
                <a:schemeClr val="bg1"/>
              </a:solidFill>
            </a:endParaRPr>
          </a:p>
        </p:txBody>
      </p:sp>
      <p:grpSp>
        <p:nvGrpSpPr>
          <p:cNvPr id="3" name="info">
            <a:extLst>
              <a:ext uri="{FF2B5EF4-FFF2-40B4-BE49-F238E27FC236}">
                <a16:creationId xmlns:a16="http://schemas.microsoft.com/office/drawing/2014/main" id="{C2CC8E92-7000-512C-4D98-039C6286C788}"/>
              </a:ext>
            </a:extLst>
          </p:cNvPr>
          <p:cNvGrpSpPr/>
          <p:nvPr/>
        </p:nvGrpSpPr>
        <p:grpSpPr>
          <a:xfrm>
            <a:off x="12247320" y="3143250"/>
            <a:ext cx="1579616" cy="2823211"/>
            <a:chOff x="12399720" y="2598103"/>
            <a:chExt cx="1579616" cy="2823211"/>
          </a:xfrm>
          <a:solidFill>
            <a:srgbClr val="002965"/>
          </a:solidFill>
        </p:grpSpPr>
        <p:sp>
          <p:nvSpPr>
            <p:cNvPr id="7" name="info">
              <a:extLst>
                <a:ext uri="{FF2B5EF4-FFF2-40B4-BE49-F238E27FC236}">
                  <a16:creationId xmlns:a16="http://schemas.microsoft.com/office/drawing/2014/main" id="{5DE438EE-4A49-13B5-8D40-AB6062AFA24D}"/>
                </a:ext>
              </a:extLst>
            </p:cNvPr>
            <p:cNvSpPr/>
            <p:nvPr userDrawn="1"/>
          </p:nvSpPr>
          <p:spPr bwMode="gray">
            <a:xfrm flipH="1">
              <a:off x="12399720" y="4947928"/>
              <a:ext cx="1579616" cy="473385"/>
            </a:xfrm>
            <a:prstGeom prst="homePlat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36000" rtlCol="0" anchor="ctr">
              <a:spAutoFit/>
            </a:bodyPr>
            <a:lstStyle/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 dirty="0">
                <a:solidFill>
                  <a:schemeClr val="tx2"/>
                </a:solidFill>
              </a:endParaRPr>
            </a:p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 dirty="0">
                <a:solidFill>
                  <a:schemeClr val="tx2"/>
                </a:solidFill>
              </a:endParaRPr>
            </a:p>
          </p:txBody>
        </p:sp>
        <p:sp>
          <p:nvSpPr>
            <p:cNvPr id="8" name="info">
              <a:extLst>
                <a:ext uri="{FF2B5EF4-FFF2-40B4-BE49-F238E27FC236}">
                  <a16:creationId xmlns:a16="http://schemas.microsoft.com/office/drawing/2014/main" id="{1E565873-91A9-DADC-51E7-8B78AAEE76EE}"/>
                </a:ext>
              </a:extLst>
            </p:cNvPr>
            <p:cNvSpPr/>
            <p:nvPr userDrawn="1"/>
          </p:nvSpPr>
          <p:spPr bwMode="gray">
            <a:xfrm flipH="1">
              <a:off x="12634899" y="2598103"/>
              <a:ext cx="1344423" cy="28232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36000" rtlCol="0" anchor="t">
              <a:noAutofit/>
            </a:bodyPr>
            <a:lstStyle/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b="1" cap="all" dirty="0">
                  <a:solidFill>
                    <a:schemeClr val="bg1"/>
                  </a:solidFill>
                </a:rPr>
                <a:t>image credit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b="1" dirty="0">
                  <a:solidFill>
                    <a:schemeClr val="bg1"/>
                  </a:solidFill>
                </a:rPr>
                <a:t>Always include</a:t>
              </a:r>
              <a:br>
                <a:rPr lang="en-US" sz="1050" b="1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redit!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How to get 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redit </a:t>
              </a:r>
              <a:r>
                <a:rPr lang="en-US" sz="1050" b="1" dirty="0">
                  <a:solidFill>
                    <a:schemeClr val="bg1"/>
                  </a:solidFill>
                </a:rPr>
                <a:t>placeholder</a:t>
              </a:r>
              <a:r>
                <a:rPr lang="en-US" sz="1050" dirty="0">
                  <a:solidFill>
                    <a:schemeClr val="bg1"/>
                  </a:solidFill>
                </a:rPr>
                <a:t>: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&gt; empower menu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&gt; text elements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&gt; depending on 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hoose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“</a:t>
              </a:r>
              <a:r>
                <a:rPr lang="en-US" sz="1050" b="1" dirty="0">
                  <a:solidFill>
                    <a:schemeClr val="bg1"/>
                  </a:solidFill>
                </a:rPr>
                <a:t>Copyright right/left grey</a:t>
              </a:r>
              <a:r>
                <a:rPr lang="en-US" sz="1050" dirty="0">
                  <a:solidFill>
                    <a:schemeClr val="bg1"/>
                  </a:solidFill>
                </a:rPr>
                <a:t>” 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or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“</a:t>
              </a:r>
              <a:r>
                <a:rPr lang="en-US" sz="1050" b="1" dirty="0">
                  <a:solidFill>
                    <a:schemeClr val="bg1"/>
                  </a:solidFill>
                </a:rPr>
                <a:t>Copyright right/left white</a:t>
              </a:r>
              <a:r>
                <a:rPr lang="en-US" sz="1050" dirty="0">
                  <a:solidFill>
                    <a:schemeClr val="bg1"/>
                  </a:solidFill>
                </a:rPr>
                <a:t>”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51878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644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icture &amp;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logo drees&amp;sommer blue mask">
            <a:extLst>
              <a:ext uri="{FF2B5EF4-FFF2-40B4-BE49-F238E27FC236}">
                <a16:creationId xmlns:a16="http://schemas.microsoft.com/office/drawing/2014/main" id="{33304AC1-9FC7-4CD1-B187-4B9B909554D9}"/>
              </a:ext>
            </a:extLst>
          </p:cNvPr>
          <p:cNvSpPr/>
          <p:nvPr/>
        </p:nvSpPr>
        <p:spPr bwMode="gray">
          <a:xfrm>
            <a:off x="10579100" y="6197600"/>
            <a:ext cx="1270000" cy="584200"/>
          </a:xfrm>
          <a:prstGeom prst="rect">
            <a:avLst/>
          </a:prstGeom>
          <a:solidFill>
            <a:srgbClr val="0029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de-DE" sz="1400" dirty="0"/>
          </a:p>
        </p:txBody>
      </p:sp>
      <p:sp>
        <p:nvSpPr>
          <p:cNvPr id="63" name="picture">
            <a:extLst>
              <a:ext uri="{FF2B5EF4-FFF2-40B4-BE49-F238E27FC236}">
                <a16:creationId xmlns:a16="http://schemas.microsoft.com/office/drawing/2014/main" id="{0AB119A3-268C-47E5-B9D2-1180769BCC9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0" y="1"/>
            <a:ext cx="12192000" cy="6858000"/>
          </a:xfrm>
          <a:custGeom>
            <a:avLst/>
            <a:gdLst>
              <a:gd name="connsiteX0" fmla="*/ 10909343 w 12192000"/>
              <a:gd name="connsiteY0" fmla="*/ 6535878 h 6858000"/>
              <a:gd name="connsiteX1" fmla="*/ 10992168 w 12192000"/>
              <a:gd name="connsiteY1" fmla="*/ 6535878 h 6858000"/>
              <a:gd name="connsiteX2" fmla="*/ 10992168 w 12192000"/>
              <a:gd name="connsiteY2" fmla="*/ 6598744 h 6858000"/>
              <a:gd name="connsiteX3" fmla="*/ 10909343 w 12192000"/>
              <a:gd name="connsiteY3" fmla="*/ 6598744 h 6858000"/>
              <a:gd name="connsiteX4" fmla="*/ 11563256 w 12192000"/>
              <a:gd name="connsiteY4" fmla="*/ 6534689 h 6858000"/>
              <a:gd name="connsiteX5" fmla="*/ 11619215 w 12192000"/>
              <a:gd name="connsiteY5" fmla="*/ 6534689 h 6858000"/>
              <a:gd name="connsiteX6" fmla="*/ 11630409 w 12192000"/>
              <a:gd name="connsiteY6" fmla="*/ 6542785 h 6858000"/>
              <a:gd name="connsiteX7" fmla="*/ 11630409 w 12192000"/>
              <a:gd name="connsiteY7" fmla="*/ 6554454 h 6858000"/>
              <a:gd name="connsiteX8" fmla="*/ 11619215 w 12192000"/>
              <a:gd name="connsiteY8" fmla="*/ 6562549 h 6858000"/>
              <a:gd name="connsiteX9" fmla="*/ 11563256 w 12192000"/>
              <a:gd name="connsiteY9" fmla="*/ 6562549 h 6858000"/>
              <a:gd name="connsiteX10" fmla="*/ 10910306 w 12192000"/>
              <a:gd name="connsiteY10" fmla="*/ 6517317 h 6858000"/>
              <a:gd name="connsiteX11" fmla="*/ 10883590 w 12192000"/>
              <a:gd name="connsiteY11" fmla="*/ 6541121 h 6858000"/>
              <a:gd name="connsiteX12" fmla="*/ 10883590 w 12192000"/>
              <a:gd name="connsiteY12" fmla="*/ 6594222 h 6858000"/>
              <a:gd name="connsiteX13" fmla="*/ 10910306 w 12192000"/>
              <a:gd name="connsiteY13" fmla="*/ 6618041 h 6858000"/>
              <a:gd name="connsiteX14" fmla="*/ 10989730 w 12192000"/>
              <a:gd name="connsiteY14" fmla="*/ 6618041 h 6858000"/>
              <a:gd name="connsiteX15" fmla="*/ 11016446 w 12192000"/>
              <a:gd name="connsiteY15" fmla="*/ 6594222 h 6858000"/>
              <a:gd name="connsiteX16" fmla="*/ 11016446 w 12192000"/>
              <a:gd name="connsiteY16" fmla="*/ 6541121 h 6858000"/>
              <a:gd name="connsiteX17" fmla="*/ 10989730 w 12192000"/>
              <a:gd name="connsiteY17" fmla="*/ 6517317 h 6858000"/>
              <a:gd name="connsiteX18" fmla="*/ 11538985 w 12192000"/>
              <a:gd name="connsiteY18" fmla="*/ 6517310 h 6858000"/>
              <a:gd name="connsiteX19" fmla="*/ 11538985 w 12192000"/>
              <a:gd name="connsiteY19" fmla="*/ 6618034 h 6858000"/>
              <a:gd name="connsiteX20" fmla="*/ 11563263 w 12192000"/>
              <a:gd name="connsiteY20" fmla="*/ 6618034 h 6858000"/>
              <a:gd name="connsiteX21" fmla="*/ 11563263 w 12192000"/>
              <a:gd name="connsiteY21" fmla="*/ 6579928 h 6858000"/>
              <a:gd name="connsiteX22" fmla="*/ 11586360 w 12192000"/>
              <a:gd name="connsiteY22" fmla="*/ 6579928 h 6858000"/>
              <a:gd name="connsiteX23" fmla="*/ 11628506 w 12192000"/>
              <a:gd name="connsiteY23" fmla="*/ 6618034 h 6858000"/>
              <a:gd name="connsiteX24" fmla="*/ 11663753 w 12192000"/>
              <a:gd name="connsiteY24" fmla="*/ 6618034 h 6858000"/>
              <a:gd name="connsiteX25" fmla="*/ 11615897 w 12192000"/>
              <a:gd name="connsiteY25" fmla="*/ 6579928 h 6858000"/>
              <a:gd name="connsiteX26" fmla="*/ 11629710 w 12192000"/>
              <a:gd name="connsiteY26" fmla="*/ 6579928 h 6858000"/>
              <a:gd name="connsiteX27" fmla="*/ 11653280 w 12192000"/>
              <a:gd name="connsiteY27" fmla="*/ 6560638 h 6858000"/>
              <a:gd name="connsiteX28" fmla="*/ 11653280 w 12192000"/>
              <a:gd name="connsiteY28" fmla="*/ 6536834 h 6858000"/>
              <a:gd name="connsiteX29" fmla="*/ 11629710 w 12192000"/>
              <a:gd name="connsiteY29" fmla="*/ 6517310 h 6858000"/>
              <a:gd name="connsiteX30" fmla="*/ 11401645 w 12192000"/>
              <a:gd name="connsiteY30" fmla="*/ 6517310 h 6858000"/>
              <a:gd name="connsiteX31" fmla="*/ 11401645 w 12192000"/>
              <a:gd name="connsiteY31" fmla="*/ 6618034 h 6858000"/>
              <a:gd name="connsiteX32" fmla="*/ 11513119 w 12192000"/>
              <a:gd name="connsiteY32" fmla="*/ 6618034 h 6858000"/>
              <a:gd name="connsiteX33" fmla="*/ 11513119 w 12192000"/>
              <a:gd name="connsiteY33" fmla="*/ 6599218 h 6858000"/>
              <a:gd name="connsiteX34" fmla="*/ 11426909 w 12192000"/>
              <a:gd name="connsiteY34" fmla="*/ 6599218 h 6858000"/>
              <a:gd name="connsiteX35" fmla="*/ 11426909 w 12192000"/>
              <a:gd name="connsiteY35" fmla="*/ 6574451 h 6858000"/>
              <a:gd name="connsiteX36" fmla="*/ 11476458 w 12192000"/>
              <a:gd name="connsiteY36" fmla="*/ 6574451 h 6858000"/>
              <a:gd name="connsiteX37" fmla="*/ 11476458 w 12192000"/>
              <a:gd name="connsiteY37" fmla="*/ 6557072 h 6858000"/>
              <a:gd name="connsiteX38" fmla="*/ 11426909 w 12192000"/>
              <a:gd name="connsiteY38" fmla="*/ 6557072 h 6858000"/>
              <a:gd name="connsiteX39" fmla="*/ 11426909 w 12192000"/>
              <a:gd name="connsiteY39" fmla="*/ 6535178 h 6858000"/>
              <a:gd name="connsiteX40" fmla="*/ 11511908 w 12192000"/>
              <a:gd name="connsiteY40" fmla="*/ 6535178 h 6858000"/>
              <a:gd name="connsiteX41" fmla="*/ 11511908 w 12192000"/>
              <a:gd name="connsiteY41" fmla="*/ 6517310 h 6858000"/>
              <a:gd name="connsiteX42" fmla="*/ 11225454 w 12192000"/>
              <a:gd name="connsiteY42" fmla="*/ 6517310 h 6858000"/>
              <a:gd name="connsiteX43" fmla="*/ 11225454 w 12192000"/>
              <a:gd name="connsiteY43" fmla="*/ 6618034 h 6858000"/>
              <a:gd name="connsiteX44" fmla="*/ 11248423 w 12192000"/>
              <a:gd name="connsiteY44" fmla="*/ 6618034 h 6858000"/>
              <a:gd name="connsiteX45" fmla="*/ 11248423 w 12192000"/>
              <a:gd name="connsiteY45" fmla="*/ 6550413 h 6858000"/>
              <a:gd name="connsiteX46" fmla="*/ 11294805 w 12192000"/>
              <a:gd name="connsiteY46" fmla="*/ 6605891 h 6858000"/>
              <a:gd name="connsiteX47" fmla="*/ 11299665 w 12192000"/>
              <a:gd name="connsiteY47" fmla="*/ 6605891 h 6858000"/>
              <a:gd name="connsiteX48" fmla="*/ 11345558 w 12192000"/>
              <a:gd name="connsiteY48" fmla="*/ 6548736 h 6858000"/>
              <a:gd name="connsiteX49" fmla="*/ 11345558 w 12192000"/>
              <a:gd name="connsiteY49" fmla="*/ 6618034 h 6858000"/>
              <a:gd name="connsiteX50" fmla="*/ 11368873 w 12192000"/>
              <a:gd name="connsiteY50" fmla="*/ 6618034 h 6858000"/>
              <a:gd name="connsiteX51" fmla="*/ 11368873 w 12192000"/>
              <a:gd name="connsiteY51" fmla="*/ 6517310 h 6858000"/>
              <a:gd name="connsiteX52" fmla="*/ 11348725 w 12192000"/>
              <a:gd name="connsiteY52" fmla="*/ 6517310 h 6858000"/>
              <a:gd name="connsiteX53" fmla="*/ 11298687 w 12192000"/>
              <a:gd name="connsiteY53" fmla="*/ 6577069 h 6858000"/>
              <a:gd name="connsiteX54" fmla="*/ 11248423 w 12192000"/>
              <a:gd name="connsiteY54" fmla="*/ 6517310 h 6858000"/>
              <a:gd name="connsiteX55" fmla="*/ 11048135 w 12192000"/>
              <a:gd name="connsiteY55" fmla="*/ 6517310 h 6858000"/>
              <a:gd name="connsiteX56" fmla="*/ 11048135 w 12192000"/>
              <a:gd name="connsiteY56" fmla="*/ 6618034 h 6858000"/>
              <a:gd name="connsiteX57" fmla="*/ 11071096 w 12192000"/>
              <a:gd name="connsiteY57" fmla="*/ 6618034 h 6858000"/>
              <a:gd name="connsiteX58" fmla="*/ 11071096 w 12192000"/>
              <a:gd name="connsiteY58" fmla="*/ 6550413 h 6858000"/>
              <a:gd name="connsiteX59" fmla="*/ 11117478 w 12192000"/>
              <a:gd name="connsiteY59" fmla="*/ 6605891 h 6858000"/>
              <a:gd name="connsiteX60" fmla="*/ 11122331 w 12192000"/>
              <a:gd name="connsiteY60" fmla="*/ 6605891 h 6858000"/>
              <a:gd name="connsiteX61" fmla="*/ 11168239 w 12192000"/>
              <a:gd name="connsiteY61" fmla="*/ 6548736 h 6858000"/>
              <a:gd name="connsiteX62" fmla="*/ 11168239 w 12192000"/>
              <a:gd name="connsiteY62" fmla="*/ 6618034 h 6858000"/>
              <a:gd name="connsiteX63" fmla="*/ 11191554 w 12192000"/>
              <a:gd name="connsiteY63" fmla="*/ 6618034 h 6858000"/>
              <a:gd name="connsiteX64" fmla="*/ 11191554 w 12192000"/>
              <a:gd name="connsiteY64" fmla="*/ 6517310 h 6858000"/>
              <a:gd name="connsiteX65" fmla="*/ 11171399 w 12192000"/>
              <a:gd name="connsiteY65" fmla="*/ 6517310 h 6858000"/>
              <a:gd name="connsiteX66" fmla="*/ 11121368 w 12192000"/>
              <a:gd name="connsiteY66" fmla="*/ 6577069 h 6858000"/>
              <a:gd name="connsiteX67" fmla="*/ 11071096 w 12192000"/>
              <a:gd name="connsiteY67" fmla="*/ 6517310 h 6858000"/>
              <a:gd name="connsiteX68" fmla="*/ 10752277 w 12192000"/>
              <a:gd name="connsiteY68" fmla="*/ 6495161 h 6858000"/>
              <a:gd name="connsiteX69" fmla="*/ 10721799 w 12192000"/>
              <a:gd name="connsiteY69" fmla="*/ 6524217 h 6858000"/>
              <a:gd name="connsiteX70" fmla="*/ 10721799 w 12192000"/>
              <a:gd name="connsiteY70" fmla="*/ 6537774 h 6858000"/>
              <a:gd name="connsiteX71" fmla="*/ 10752277 w 12192000"/>
              <a:gd name="connsiteY71" fmla="*/ 6566829 h 6858000"/>
              <a:gd name="connsiteX72" fmla="*/ 10828955 w 12192000"/>
              <a:gd name="connsiteY72" fmla="*/ 6566829 h 6858000"/>
              <a:gd name="connsiteX73" fmla="*/ 10828955 w 12192000"/>
              <a:gd name="connsiteY73" fmla="*/ 6594929 h 6858000"/>
              <a:gd name="connsiteX74" fmla="*/ 10742052 w 12192000"/>
              <a:gd name="connsiteY74" fmla="*/ 6594929 h 6858000"/>
              <a:gd name="connsiteX75" fmla="*/ 10742052 w 12192000"/>
              <a:gd name="connsiteY75" fmla="*/ 6581703 h 6858000"/>
              <a:gd name="connsiteX76" fmla="*/ 10716796 w 12192000"/>
              <a:gd name="connsiteY76" fmla="*/ 6586947 h 6858000"/>
              <a:gd name="connsiteX77" fmla="*/ 10716796 w 12192000"/>
              <a:gd name="connsiteY77" fmla="*/ 6588978 h 6858000"/>
              <a:gd name="connsiteX78" fmla="*/ 10747514 w 12192000"/>
              <a:gd name="connsiteY78" fmla="*/ 6618026 h 6858000"/>
              <a:gd name="connsiteX79" fmla="*/ 10823486 w 12192000"/>
              <a:gd name="connsiteY79" fmla="*/ 6618026 h 6858000"/>
              <a:gd name="connsiteX80" fmla="*/ 10854204 w 12192000"/>
              <a:gd name="connsiteY80" fmla="*/ 6588978 h 6858000"/>
              <a:gd name="connsiteX81" fmla="*/ 10854204 w 12192000"/>
              <a:gd name="connsiteY81" fmla="*/ 6572073 h 6858000"/>
              <a:gd name="connsiteX82" fmla="*/ 10823486 w 12192000"/>
              <a:gd name="connsiteY82" fmla="*/ 6543018 h 6858000"/>
              <a:gd name="connsiteX83" fmla="*/ 10746799 w 12192000"/>
              <a:gd name="connsiteY83" fmla="*/ 6543018 h 6858000"/>
              <a:gd name="connsiteX84" fmla="*/ 10746799 w 12192000"/>
              <a:gd name="connsiteY84" fmla="*/ 6516595 h 6858000"/>
              <a:gd name="connsiteX85" fmla="*/ 10827285 w 12192000"/>
              <a:gd name="connsiteY85" fmla="*/ 6516595 h 6858000"/>
              <a:gd name="connsiteX86" fmla="*/ 10827285 w 12192000"/>
              <a:gd name="connsiteY86" fmla="*/ 6529904 h 6858000"/>
              <a:gd name="connsiteX87" fmla="*/ 10852526 w 12192000"/>
              <a:gd name="connsiteY87" fmla="*/ 6523953 h 6858000"/>
              <a:gd name="connsiteX88" fmla="*/ 10852526 w 12192000"/>
              <a:gd name="connsiteY88" fmla="*/ 6522073 h 6858000"/>
              <a:gd name="connsiteX89" fmla="*/ 10822049 w 12192000"/>
              <a:gd name="connsiteY89" fmla="*/ 6495161 h 6858000"/>
              <a:gd name="connsiteX90" fmla="*/ 11554221 w 12192000"/>
              <a:gd name="connsiteY90" fmla="*/ 6392872 h 6858000"/>
              <a:gd name="connsiteX91" fmla="*/ 11591123 w 12192000"/>
              <a:gd name="connsiteY91" fmla="*/ 6423590 h 6858000"/>
              <a:gd name="connsiteX92" fmla="*/ 11579695 w 12192000"/>
              <a:gd name="connsiteY92" fmla="*/ 6433348 h 6858000"/>
              <a:gd name="connsiteX93" fmla="*/ 11522795 w 12192000"/>
              <a:gd name="connsiteY93" fmla="*/ 6433348 h 6858000"/>
              <a:gd name="connsiteX94" fmla="*/ 11522795 w 12192000"/>
              <a:gd name="connsiteY94" fmla="*/ 6433341 h 6858000"/>
              <a:gd name="connsiteX95" fmla="*/ 11522795 w 12192000"/>
              <a:gd name="connsiteY95" fmla="*/ 6412395 h 6858000"/>
              <a:gd name="connsiteX96" fmla="*/ 10923532 w 12192000"/>
              <a:gd name="connsiteY96" fmla="*/ 6371438 h 6858000"/>
              <a:gd name="connsiteX97" fmla="*/ 10979491 w 12192000"/>
              <a:gd name="connsiteY97" fmla="*/ 6371438 h 6858000"/>
              <a:gd name="connsiteX98" fmla="*/ 10990685 w 12192000"/>
              <a:gd name="connsiteY98" fmla="*/ 6379533 h 6858000"/>
              <a:gd name="connsiteX99" fmla="*/ 10990685 w 12192000"/>
              <a:gd name="connsiteY99" fmla="*/ 6391202 h 6858000"/>
              <a:gd name="connsiteX100" fmla="*/ 10979491 w 12192000"/>
              <a:gd name="connsiteY100" fmla="*/ 6399297 h 6858000"/>
              <a:gd name="connsiteX101" fmla="*/ 10923532 w 12192000"/>
              <a:gd name="connsiteY101" fmla="*/ 6399297 h 6858000"/>
              <a:gd name="connsiteX102" fmla="*/ 11349305 w 12192000"/>
              <a:gd name="connsiteY102" fmla="*/ 6354059 h 6858000"/>
              <a:gd name="connsiteX103" fmla="*/ 11322868 w 12192000"/>
              <a:gd name="connsiteY103" fmla="*/ 6377878 h 6858000"/>
              <a:gd name="connsiteX104" fmla="*/ 11322868 w 12192000"/>
              <a:gd name="connsiteY104" fmla="*/ 6389073 h 6858000"/>
              <a:gd name="connsiteX105" fmla="*/ 11349305 w 12192000"/>
              <a:gd name="connsiteY105" fmla="*/ 6412877 h 6858000"/>
              <a:gd name="connsiteX106" fmla="*/ 11414541 w 12192000"/>
              <a:gd name="connsiteY106" fmla="*/ 6412877 h 6858000"/>
              <a:gd name="connsiteX107" fmla="*/ 11414541 w 12192000"/>
              <a:gd name="connsiteY107" fmla="*/ 6435982 h 6858000"/>
              <a:gd name="connsiteX108" fmla="*/ 11340480 w 12192000"/>
              <a:gd name="connsiteY108" fmla="*/ 6435982 h 6858000"/>
              <a:gd name="connsiteX109" fmla="*/ 11340480 w 12192000"/>
              <a:gd name="connsiteY109" fmla="*/ 6425374 h 6858000"/>
              <a:gd name="connsiteX110" fmla="*/ 11318587 w 12192000"/>
              <a:gd name="connsiteY110" fmla="*/ 6429429 h 6858000"/>
              <a:gd name="connsiteX111" fmla="*/ 11318587 w 12192000"/>
              <a:gd name="connsiteY111" fmla="*/ 6430979 h 6858000"/>
              <a:gd name="connsiteX112" fmla="*/ 11345009 w 12192000"/>
              <a:gd name="connsiteY112" fmla="*/ 6454783 h 6858000"/>
              <a:gd name="connsiteX113" fmla="*/ 11410501 w 12192000"/>
              <a:gd name="connsiteY113" fmla="*/ 6454783 h 6858000"/>
              <a:gd name="connsiteX114" fmla="*/ 11436690 w 12192000"/>
              <a:gd name="connsiteY114" fmla="*/ 6430979 h 6858000"/>
              <a:gd name="connsiteX115" fmla="*/ 11436690 w 12192000"/>
              <a:gd name="connsiteY115" fmla="*/ 6417165 h 6858000"/>
              <a:gd name="connsiteX116" fmla="*/ 11410501 w 12192000"/>
              <a:gd name="connsiteY116" fmla="*/ 6393361 h 6858000"/>
              <a:gd name="connsiteX117" fmla="*/ 11345009 w 12192000"/>
              <a:gd name="connsiteY117" fmla="*/ 6393361 h 6858000"/>
              <a:gd name="connsiteX118" fmla="*/ 11345009 w 12192000"/>
              <a:gd name="connsiteY118" fmla="*/ 6372153 h 6858000"/>
              <a:gd name="connsiteX119" fmla="*/ 11414300 w 12192000"/>
              <a:gd name="connsiteY119" fmla="*/ 6372153 h 6858000"/>
              <a:gd name="connsiteX120" fmla="*/ 11414300 w 12192000"/>
              <a:gd name="connsiteY120" fmla="*/ 6381564 h 6858000"/>
              <a:gd name="connsiteX121" fmla="*/ 11435486 w 12192000"/>
              <a:gd name="connsiteY121" fmla="*/ 6377050 h 6858000"/>
              <a:gd name="connsiteX122" fmla="*/ 11435486 w 12192000"/>
              <a:gd name="connsiteY122" fmla="*/ 6375967 h 6858000"/>
              <a:gd name="connsiteX123" fmla="*/ 11409064 w 12192000"/>
              <a:gd name="connsiteY123" fmla="*/ 6354059 h 6858000"/>
              <a:gd name="connsiteX124" fmla="*/ 11184971 w 12192000"/>
              <a:gd name="connsiteY124" fmla="*/ 6354059 h 6858000"/>
              <a:gd name="connsiteX125" fmla="*/ 11184971 w 12192000"/>
              <a:gd name="connsiteY125" fmla="*/ 6454775 h 6858000"/>
              <a:gd name="connsiteX126" fmla="*/ 11294264 w 12192000"/>
              <a:gd name="connsiteY126" fmla="*/ 6454775 h 6858000"/>
              <a:gd name="connsiteX127" fmla="*/ 11294264 w 12192000"/>
              <a:gd name="connsiteY127" fmla="*/ 6435966 h 6858000"/>
              <a:gd name="connsiteX128" fmla="*/ 11209738 w 12192000"/>
              <a:gd name="connsiteY128" fmla="*/ 6435966 h 6858000"/>
              <a:gd name="connsiteX129" fmla="*/ 11209738 w 12192000"/>
              <a:gd name="connsiteY129" fmla="*/ 6411199 h 6858000"/>
              <a:gd name="connsiteX130" fmla="*/ 11258310 w 12192000"/>
              <a:gd name="connsiteY130" fmla="*/ 6411199 h 6858000"/>
              <a:gd name="connsiteX131" fmla="*/ 11258310 w 12192000"/>
              <a:gd name="connsiteY131" fmla="*/ 6393820 h 6858000"/>
              <a:gd name="connsiteX132" fmla="*/ 11209738 w 12192000"/>
              <a:gd name="connsiteY132" fmla="*/ 6393820 h 6858000"/>
              <a:gd name="connsiteX133" fmla="*/ 11209738 w 12192000"/>
              <a:gd name="connsiteY133" fmla="*/ 6371912 h 6858000"/>
              <a:gd name="connsiteX134" fmla="*/ 11293083 w 12192000"/>
              <a:gd name="connsiteY134" fmla="*/ 6371912 h 6858000"/>
              <a:gd name="connsiteX135" fmla="*/ 11293083 w 12192000"/>
              <a:gd name="connsiteY135" fmla="*/ 6354059 h 6858000"/>
              <a:gd name="connsiteX136" fmla="*/ 11047262 w 12192000"/>
              <a:gd name="connsiteY136" fmla="*/ 6354059 h 6858000"/>
              <a:gd name="connsiteX137" fmla="*/ 11047262 w 12192000"/>
              <a:gd name="connsiteY137" fmla="*/ 6454775 h 6858000"/>
              <a:gd name="connsiteX138" fmla="*/ 11156555 w 12192000"/>
              <a:gd name="connsiteY138" fmla="*/ 6454775 h 6858000"/>
              <a:gd name="connsiteX139" fmla="*/ 11156555 w 12192000"/>
              <a:gd name="connsiteY139" fmla="*/ 6435966 h 6858000"/>
              <a:gd name="connsiteX140" fmla="*/ 11072029 w 12192000"/>
              <a:gd name="connsiteY140" fmla="*/ 6435966 h 6858000"/>
              <a:gd name="connsiteX141" fmla="*/ 11072029 w 12192000"/>
              <a:gd name="connsiteY141" fmla="*/ 6411199 h 6858000"/>
              <a:gd name="connsiteX142" fmla="*/ 11120601 w 12192000"/>
              <a:gd name="connsiteY142" fmla="*/ 6411199 h 6858000"/>
              <a:gd name="connsiteX143" fmla="*/ 11120601 w 12192000"/>
              <a:gd name="connsiteY143" fmla="*/ 6393820 h 6858000"/>
              <a:gd name="connsiteX144" fmla="*/ 11072029 w 12192000"/>
              <a:gd name="connsiteY144" fmla="*/ 6393820 h 6858000"/>
              <a:gd name="connsiteX145" fmla="*/ 11072029 w 12192000"/>
              <a:gd name="connsiteY145" fmla="*/ 6371912 h 6858000"/>
              <a:gd name="connsiteX146" fmla="*/ 11155374 w 12192000"/>
              <a:gd name="connsiteY146" fmla="*/ 6371912 h 6858000"/>
              <a:gd name="connsiteX147" fmla="*/ 11155374 w 12192000"/>
              <a:gd name="connsiteY147" fmla="*/ 6354059 h 6858000"/>
              <a:gd name="connsiteX148" fmla="*/ 10899246 w 12192000"/>
              <a:gd name="connsiteY148" fmla="*/ 6354059 h 6858000"/>
              <a:gd name="connsiteX149" fmla="*/ 10899246 w 12192000"/>
              <a:gd name="connsiteY149" fmla="*/ 6454775 h 6858000"/>
              <a:gd name="connsiteX150" fmla="*/ 10923539 w 12192000"/>
              <a:gd name="connsiteY150" fmla="*/ 6454775 h 6858000"/>
              <a:gd name="connsiteX151" fmla="*/ 10923539 w 12192000"/>
              <a:gd name="connsiteY151" fmla="*/ 6416669 h 6858000"/>
              <a:gd name="connsiteX152" fmla="*/ 10946636 w 12192000"/>
              <a:gd name="connsiteY152" fmla="*/ 6416669 h 6858000"/>
              <a:gd name="connsiteX153" fmla="*/ 10988782 w 12192000"/>
              <a:gd name="connsiteY153" fmla="*/ 6454775 h 6858000"/>
              <a:gd name="connsiteX154" fmla="*/ 11024029 w 12192000"/>
              <a:gd name="connsiteY154" fmla="*/ 6454775 h 6858000"/>
              <a:gd name="connsiteX155" fmla="*/ 10976158 w 12192000"/>
              <a:gd name="connsiteY155" fmla="*/ 6416669 h 6858000"/>
              <a:gd name="connsiteX156" fmla="*/ 10989971 w 12192000"/>
              <a:gd name="connsiteY156" fmla="*/ 6416669 h 6858000"/>
              <a:gd name="connsiteX157" fmla="*/ 11013549 w 12192000"/>
              <a:gd name="connsiteY157" fmla="*/ 6397394 h 6858000"/>
              <a:gd name="connsiteX158" fmla="*/ 11013549 w 12192000"/>
              <a:gd name="connsiteY158" fmla="*/ 6373582 h 6858000"/>
              <a:gd name="connsiteX159" fmla="*/ 10989971 w 12192000"/>
              <a:gd name="connsiteY159" fmla="*/ 6354059 h 6858000"/>
              <a:gd name="connsiteX160" fmla="*/ 10749425 w 12192000"/>
              <a:gd name="connsiteY160" fmla="*/ 6353818 h 6858000"/>
              <a:gd name="connsiteX161" fmla="*/ 10800140 w 12192000"/>
              <a:gd name="connsiteY161" fmla="*/ 6353818 h 6858000"/>
              <a:gd name="connsiteX162" fmla="*/ 10840624 w 12192000"/>
              <a:gd name="connsiteY162" fmla="*/ 6392157 h 6858000"/>
              <a:gd name="connsiteX163" fmla="*/ 10786327 w 12192000"/>
              <a:gd name="connsiteY163" fmla="*/ 6431685 h 6858000"/>
              <a:gd name="connsiteX164" fmla="*/ 10749425 w 12192000"/>
              <a:gd name="connsiteY164" fmla="*/ 6431685 h 6858000"/>
              <a:gd name="connsiteX165" fmla="*/ 11558990 w 12192000"/>
              <a:gd name="connsiteY165" fmla="*/ 6331910 h 6858000"/>
              <a:gd name="connsiteX166" fmla="*/ 11528513 w 12192000"/>
              <a:gd name="connsiteY166" fmla="*/ 6354292 h 6858000"/>
              <a:gd name="connsiteX167" fmla="*/ 11528513 w 12192000"/>
              <a:gd name="connsiteY167" fmla="*/ 6361191 h 6858000"/>
              <a:gd name="connsiteX168" fmla="*/ 11538993 w 12192000"/>
              <a:gd name="connsiteY168" fmla="*/ 6379766 h 6858000"/>
              <a:gd name="connsiteX169" fmla="*/ 11513978 w 12192000"/>
              <a:gd name="connsiteY169" fmla="*/ 6394775 h 6858000"/>
              <a:gd name="connsiteX170" fmla="*/ 11498743 w 12192000"/>
              <a:gd name="connsiteY170" fmla="*/ 6417632 h 6858000"/>
              <a:gd name="connsiteX171" fmla="*/ 11498743 w 12192000"/>
              <a:gd name="connsiteY171" fmla="*/ 6425727 h 6858000"/>
              <a:gd name="connsiteX172" fmla="*/ 11529454 w 12192000"/>
              <a:gd name="connsiteY172" fmla="*/ 6454775 h 6858000"/>
              <a:gd name="connsiteX173" fmla="*/ 11573270 w 12192000"/>
              <a:gd name="connsiteY173" fmla="*/ 6454775 h 6858000"/>
              <a:gd name="connsiteX174" fmla="*/ 11596367 w 12192000"/>
              <a:gd name="connsiteY174" fmla="*/ 6447387 h 6858000"/>
              <a:gd name="connsiteX175" fmla="*/ 11607321 w 12192000"/>
              <a:gd name="connsiteY175" fmla="*/ 6437629 h 6858000"/>
              <a:gd name="connsiteX176" fmla="*/ 11627559 w 12192000"/>
              <a:gd name="connsiteY176" fmla="*/ 6454775 h 6858000"/>
              <a:gd name="connsiteX177" fmla="*/ 11664950 w 12192000"/>
              <a:gd name="connsiteY177" fmla="*/ 6454775 h 6858000"/>
              <a:gd name="connsiteX178" fmla="*/ 11626137 w 12192000"/>
              <a:gd name="connsiteY178" fmla="*/ 6422146 h 6858000"/>
              <a:gd name="connsiteX179" fmla="*/ 11654470 w 12192000"/>
              <a:gd name="connsiteY179" fmla="*/ 6398582 h 6858000"/>
              <a:gd name="connsiteX180" fmla="*/ 11638272 w 12192000"/>
              <a:gd name="connsiteY180" fmla="*/ 6384536 h 6858000"/>
              <a:gd name="connsiteX181" fmla="*/ 11609698 w 12192000"/>
              <a:gd name="connsiteY181" fmla="*/ 6408340 h 6858000"/>
              <a:gd name="connsiteX182" fmla="*/ 11551836 w 12192000"/>
              <a:gd name="connsiteY182" fmla="*/ 6360243 h 6858000"/>
              <a:gd name="connsiteX183" fmla="*/ 11551836 w 12192000"/>
              <a:gd name="connsiteY183" fmla="*/ 6351433 h 6858000"/>
              <a:gd name="connsiteX184" fmla="*/ 11592086 w 12192000"/>
              <a:gd name="connsiteY184" fmla="*/ 6351433 h 6858000"/>
              <a:gd name="connsiteX185" fmla="*/ 11592086 w 12192000"/>
              <a:gd name="connsiteY185" fmla="*/ 6367872 h 6858000"/>
              <a:gd name="connsiteX186" fmla="*/ 11614220 w 12192000"/>
              <a:gd name="connsiteY186" fmla="*/ 6364065 h 6858000"/>
              <a:gd name="connsiteX187" fmla="*/ 11614220 w 12192000"/>
              <a:gd name="connsiteY187" fmla="*/ 6356677 h 6858000"/>
              <a:gd name="connsiteX188" fmla="*/ 11583742 w 12192000"/>
              <a:gd name="connsiteY188" fmla="*/ 6331910 h 6858000"/>
              <a:gd name="connsiteX189" fmla="*/ 10720851 w 12192000"/>
              <a:gd name="connsiteY189" fmla="*/ 6331910 h 6858000"/>
              <a:gd name="connsiteX190" fmla="*/ 10720851 w 12192000"/>
              <a:gd name="connsiteY190" fmla="*/ 6454775 h 6858000"/>
              <a:gd name="connsiteX191" fmla="*/ 10792527 w 12192000"/>
              <a:gd name="connsiteY191" fmla="*/ 6454775 h 6858000"/>
              <a:gd name="connsiteX192" fmla="*/ 10843009 w 12192000"/>
              <a:gd name="connsiteY192" fmla="*/ 6445258 h 6858000"/>
              <a:gd name="connsiteX193" fmla="*/ 10870146 w 12192000"/>
              <a:gd name="connsiteY193" fmla="*/ 6392631 h 6858000"/>
              <a:gd name="connsiteX194" fmla="*/ 10799900 w 12192000"/>
              <a:gd name="connsiteY194" fmla="*/ 6331910 h 6858000"/>
              <a:gd name="connsiteX195" fmla="*/ 0 w 12192000"/>
              <a:gd name="connsiteY195" fmla="*/ 0 h 6858000"/>
              <a:gd name="connsiteX196" fmla="*/ 12192000 w 12192000"/>
              <a:gd name="connsiteY196" fmla="*/ 0 h 6858000"/>
              <a:gd name="connsiteX197" fmla="*/ 12192000 w 12192000"/>
              <a:gd name="connsiteY197" fmla="*/ 6858000 h 6858000"/>
              <a:gd name="connsiteX198" fmla="*/ 0 w 12192000"/>
              <a:gd name="connsiteY19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</a:cxnLst>
            <a:rect l="l" t="t" r="r" b="b"/>
            <a:pathLst>
              <a:path w="12192000" h="6858000">
                <a:moveTo>
                  <a:pt x="10909343" y="6535878"/>
                </a:moveTo>
                <a:lnTo>
                  <a:pt x="10992168" y="6535878"/>
                </a:lnTo>
                <a:lnTo>
                  <a:pt x="10992168" y="6598744"/>
                </a:lnTo>
                <a:lnTo>
                  <a:pt x="10909343" y="6598744"/>
                </a:lnTo>
                <a:close/>
                <a:moveTo>
                  <a:pt x="11563256" y="6534689"/>
                </a:moveTo>
                <a:lnTo>
                  <a:pt x="11619215" y="6534689"/>
                </a:lnTo>
                <a:cubicBezTo>
                  <a:pt x="11626587" y="6534689"/>
                  <a:pt x="11630409" y="6536126"/>
                  <a:pt x="11630409" y="6542785"/>
                </a:cubicBezTo>
                <a:lnTo>
                  <a:pt x="11630409" y="6554454"/>
                </a:lnTo>
                <a:cubicBezTo>
                  <a:pt x="11630409" y="6561127"/>
                  <a:pt x="11626587" y="6562549"/>
                  <a:pt x="11619215" y="6562549"/>
                </a:cubicBezTo>
                <a:lnTo>
                  <a:pt x="11563256" y="6562549"/>
                </a:lnTo>
                <a:close/>
                <a:moveTo>
                  <a:pt x="10910306" y="6517317"/>
                </a:moveTo>
                <a:cubicBezTo>
                  <a:pt x="10890158" y="6517317"/>
                  <a:pt x="10883590" y="6521831"/>
                  <a:pt x="10883590" y="6541121"/>
                </a:cubicBezTo>
                <a:lnTo>
                  <a:pt x="10883590" y="6594222"/>
                </a:lnTo>
                <a:cubicBezTo>
                  <a:pt x="10883590" y="6613271"/>
                  <a:pt x="10889902" y="6618041"/>
                  <a:pt x="10910306" y="6618041"/>
                </a:cubicBezTo>
                <a:lnTo>
                  <a:pt x="10989730" y="6618041"/>
                </a:lnTo>
                <a:cubicBezTo>
                  <a:pt x="11009886" y="6618041"/>
                  <a:pt x="11016446" y="6613271"/>
                  <a:pt x="11016446" y="6594222"/>
                </a:cubicBezTo>
                <a:lnTo>
                  <a:pt x="11016446" y="6541121"/>
                </a:lnTo>
                <a:cubicBezTo>
                  <a:pt x="11016446" y="6521831"/>
                  <a:pt x="11009878" y="6517317"/>
                  <a:pt x="10989730" y="6517317"/>
                </a:cubicBezTo>
                <a:close/>
                <a:moveTo>
                  <a:pt x="11538985" y="6517310"/>
                </a:moveTo>
                <a:lnTo>
                  <a:pt x="11538985" y="6618034"/>
                </a:lnTo>
                <a:lnTo>
                  <a:pt x="11563263" y="6618034"/>
                </a:lnTo>
                <a:lnTo>
                  <a:pt x="11563263" y="6579928"/>
                </a:lnTo>
                <a:lnTo>
                  <a:pt x="11586360" y="6579928"/>
                </a:lnTo>
                <a:lnTo>
                  <a:pt x="11628506" y="6618034"/>
                </a:lnTo>
                <a:lnTo>
                  <a:pt x="11663753" y="6618034"/>
                </a:lnTo>
                <a:lnTo>
                  <a:pt x="11615897" y="6579928"/>
                </a:lnTo>
                <a:lnTo>
                  <a:pt x="11629710" y="6579928"/>
                </a:lnTo>
                <a:cubicBezTo>
                  <a:pt x="11645892" y="6579928"/>
                  <a:pt x="11653280" y="6574451"/>
                  <a:pt x="11653280" y="6560638"/>
                </a:cubicBezTo>
                <a:lnTo>
                  <a:pt x="11653280" y="6536834"/>
                </a:lnTo>
                <a:cubicBezTo>
                  <a:pt x="11653280" y="6522787"/>
                  <a:pt x="11645892" y="6517310"/>
                  <a:pt x="11629710" y="6517310"/>
                </a:cubicBezTo>
                <a:close/>
                <a:moveTo>
                  <a:pt x="11401645" y="6517310"/>
                </a:moveTo>
                <a:lnTo>
                  <a:pt x="11401645" y="6618034"/>
                </a:lnTo>
                <a:lnTo>
                  <a:pt x="11513119" y="6618034"/>
                </a:lnTo>
                <a:lnTo>
                  <a:pt x="11513119" y="6599218"/>
                </a:lnTo>
                <a:lnTo>
                  <a:pt x="11426909" y="6599218"/>
                </a:lnTo>
                <a:lnTo>
                  <a:pt x="11426909" y="6574451"/>
                </a:lnTo>
                <a:lnTo>
                  <a:pt x="11476458" y="6574451"/>
                </a:lnTo>
                <a:lnTo>
                  <a:pt x="11476458" y="6557072"/>
                </a:lnTo>
                <a:lnTo>
                  <a:pt x="11426909" y="6557072"/>
                </a:lnTo>
                <a:lnTo>
                  <a:pt x="11426909" y="6535178"/>
                </a:lnTo>
                <a:lnTo>
                  <a:pt x="11511908" y="6535178"/>
                </a:lnTo>
                <a:lnTo>
                  <a:pt x="11511908" y="6517310"/>
                </a:lnTo>
                <a:close/>
                <a:moveTo>
                  <a:pt x="11225454" y="6517310"/>
                </a:moveTo>
                <a:lnTo>
                  <a:pt x="11225454" y="6618034"/>
                </a:lnTo>
                <a:lnTo>
                  <a:pt x="11248423" y="6618034"/>
                </a:lnTo>
                <a:lnTo>
                  <a:pt x="11248423" y="6550413"/>
                </a:lnTo>
                <a:lnTo>
                  <a:pt x="11294805" y="6605891"/>
                </a:lnTo>
                <a:lnTo>
                  <a:pt x="11299665" y="6605891"/>
                </a:lnTo>
                <a:lnTo>
                  <a:pt x="11345558" y="6548736"/>
                </a:lnTo>
                <a:lnTo>
                  <a:pt x="11345558" y="6618034"/>
                </a:lnTo>
                <a:lnTo>
                  <a:pt x="11368873" y="6618034"/>
                </a:lnTo>
                <a:lnTo>
                  <a:pt x="11368873" y="6517310"/>
                </a:lnTo>
                <a:lnTo>
                  <a:pt x="11348725" y="6517310"/>
                </a:lnTo>
                <a:lnTo>
                  <a:pt x="11298687" y="6577069"/>
                </a:lnTo>
                <a:lnTo>
                  <a:pt x="11248423" y="6517310"/>
                </a:lnTo>
                <a:close/>
                <a:moveTo>
                  <a:pt x="11048135" y="6517310"/>
                </a:moveTo>
                <a:lnTo>
                  <a:pt x="11048135" y="6618034"/>
                </a:lnTo>
                <a:lnTo>
                  <a:pt x="11071096" y="6618034"/>
                </a:lnTo>
                <a:lnTo>
                  <a:pt x="11071096" y="6550413"/>
                </a:lnTo>
                <a:lnTo>
                  <a:pt x="11117478" y="6605891"/>
                </a:lnTo>
                <a:lnTo>
                  <a:pt x="11122331" y="6605891"/>
                </a:lnTo>
                <a:lnTo>
                  <a:pt x="11168239" y="6548736"/>
                </a:lnTo>
                <a:lnTo>
                  <a:pt x="11168239" y="6618034"/>
                </a:lnTo>
                <a:lnTo>
                  <a:pt x="11191554" y="6618034"/>
                </a:lnTo>
                <a:lnTo>
                  <a:pt x="11191554" y="6517310"/>
                </a:lnTo>
                <a:lnTo>
                  <a:pt x="11171399" y="6517310"/>
                </a:lnTo>
                <a:lnTo>
                  <a:pt x="11121368" y="6577069"/>
                </a:lnTo>
                <a:lnTo>
                  <a:pt x="11071096" y="6517310"/>
                </a:lnTo>
                <a:close/>
                <a:moveTo>
                  <a:pt x="10752277" y="6495161"/>
                </a:moveTo>
                <a:cubicBezTo>
                  <a:pt x="10729180" y="6495161"/>
                  <a:pt x="10721799" y="6501112"/>
                  <a:pt x="10721799" y="6524217"/>
                </a:cubicBezTo>
                <a:lnTo>
                  <a:pt x="10721799" y="6537774"/>
                </a:lnTo>
                <a:cubicBezTo>
                  <a:pt x="10721799" y="6560878"/>
                  <a:pt x="10729187" y="6566829"/>
                  <a:pt x="10752277" y="6566829"/>
                </a:cubicBezTo>
                <a:lnTo>
                  <a:pt x="10828955" y="6566829"/>
                </a:lnTo>
                <a:lnTo>
                  <a:pt x="10828955" y="6594929"/>
                </a:lnTo>
                <a:lnTo>
                  <a:pt x="10742052" y="6594929"/>
                </a:lnTo>
                <a:lnTo>
                  <a:pt x="10742052" y="6581703"/>
                </a:lnTo>
                <a:lnTo>
                  <a:pt x="10716796" y="6586947"/>
                </a:lnTo>
                <a:lnTo>
                  <a:pt x="10716796" y="6588978"/>
                </a:lnTo>
                <a:cubicBezTo>
                  <a:pt x="10716796" y="6612075"/>
                  <a:pt x="10724417" y="6618026"/>
                  <a:pt x="10747514" y="6618026"/>
                </a:cubicBezTo>
                <a:lnTo>
                  <a:pt x="10823486" y="6618026"/>
                </a:lnTo>
                <a:cubicBezTo>
                  <a:pt x="10846583" y="6618026"/>
                  <a:pt x="10854204" y="6612075"/>
                  <a:pt x="10854204" y="6588978"/>
                </a:cubicBezTo>
                <a:lnTo>
                  <a:pt x="10854204" y="6572073"/>
                </a:lnTo>
                <a:cubicBezTo>
                  <a:pt x="10854204" y="6548969"/>
                  <a:pt x="10846583" y="6543018"/>
                  <a:pt x="10823486" y="6543018"/>
                </a:cubicBezTo>
                <a:lnTo>
                  <a:pt x="10746799" y="6543018"/>
                </a:lnTo>
                <a:lnTo>
                  <a:pt x="10746799" y="6516595"/>
                </a:lnTo>
                <a:lnTo>
                  <a:pt x="10827285" y="6516595"/>
                </a:lnTo>
                <a:lnTo>
                  <a:pt x="10827285" y="6529904"/>
                </a:lnTo>
                <a:lnTo>
                  <a:pt x="10852526" y="6523953"/>
                </a:lnTo>
                <a:lnTo>
                  <a:pt x="10852526" y="6522073"/>
                </a:lnTo>
                <a:cubicBezTo>
                  <a:pt x="10852526" y="6500871"/>
                  <a:pt x="10843957" y="6495161"/>
                  <a:pt x="10822049" y="6495161"/>
                </a:cubicBezTo>
                <a:close/>
                <a:moveTo>
                  <a:pt x="11554221" y="6392872"/>
                </a:moveTo>
                <a:lnTo>
                  <a:pt x="11591123" y="6423590"/>
                </a:lnTo>
                <a:lnTo>
                  <a:pt x="11579695" y="6433348"/>
                </a:lnTo>
                <a:lnTo>
                  <a:pt x="11522795" y="6433348"/>
                </a:lnTo>
                <a:lnTo>
                  <a:pt x="11522795" y="6433341"/>
                </a:lnTo>
                <a:lnTo>
                  <a:pt x="11522795" y="6412395"/>
                </a:lnTo>
                <a:close/>
                <a:moveTo>
                  <a:pt x="10923532" y="6371438"/>
                </a:moveTo>
                <a:lnTo>
                  <a:pt x="10979491" y="6371438"/>
                </a:lnTo>
                <a:cubicBezTo>
                  <a:pt x="10986864" y="6371438"/>
                  <a:pt x="10990685" y="6372875"/>
                  <a:pt x="10990685" y="6379533"/>
                </a:cubicBezTo>
                <a:lnTo>
                  <a:pt x="10990685" y="6391202"/>
                </a:lnTo>
                <a:cubicBezTo>
                  <a:pt x="10990685" y="6397875"/>
                  <a:pt x="10986864" y="6399297"/>
                  <a:pt x="10979491" y="6399297"/>
                </a:cubicBezTo>
                <a:lnTo>
                  <a:pt x="10923532" y="6399297"/>
                </a:lnTo>
                <a:close/>
                <a:moveTo>
                  <a:pt x="11349305" y="6354059"/>
                </a:moveTo>
                <a:cubicBezTo>
                  <a:pt x="11329541" y="6354059"/>
                  <a:pt x="11322868" y="6358829"/>
                  <a:pt x="11322868" y="6377878"/>
                </a:cubicBezTo>
                <a:lnTo>
                  <a:pt x="11322868" y="6389073"/>
                </a:lnTo>
                <a:cubicBezTo>
                  <a:pt x="11322868" y="6408122"/>
                  <a:pt x="11329541" y="6412877"/>
                  <a:pt x="11349305" y="6412877"/>
                </a:cubicBezTo>
                <a:lnTo>
                  <a:pt x="11414541" y="6412877"/>
                </a:lnTo>
                <a:lnTo>
                  <a:pt x="11414541" y="6435982"/>
                </a:lnTo>
                <a:lnTo>
                  <a:pt x="11340480" y="6435982"/>
                </a:lnTo>
                <a:lnTo>
                  <a:pt x="11340480" y="6425374"/>
                </a:lnTo>
                <a:lnTo>
                  <a:pt x="11318587" y="6429429"/>
                </a:lnTo>
                <a:lnTo>
                  <a:pt x="11318587" y="6430979"/>
                </a:lnTo>
                <a:cubicBezTo>
                  <a:pt x="11318587" y="6449795"/>
                  <a:pt x="11325012" y="6454783"/>
                  <a:pt x="11345009" y="6454783"/>
                </a:cubicBezTo>
                <a:lnTo>
                  <a:pt x="11410501" y="6454783"/>
                </a:lnTo>
                <a:cubicBezTo>
                  <a:pt x="11430498" y="6454783"/>
                  <a:pt x="11436690" y="6449795"/>
                  <a:pt x="11436690" y="6430979"/>
                </a:cubicBezTo>
                <a:lnTo>
                  <a:pt x="11436690" y="6417165"/>
                </a:lnTo>
                <a:cubicBezTo>
                  <a:pt x="11436690" y="6398116"/>
                  <a:pt x="11430506" y="6393361"/>
                  <a:pt x="11410501" y="6393361"/>
                </a:cubicBezTo>
                <a:lnTo>
                  <a:pt x="11345009" y="6393361"/>
                </a:lnTo>
                <a:lnTo>
                  <a:pt x="11345009" y="6372153"/>
                </a:lnTo>
                <a:lnTo>
                  <a:pt x="11414300" y="6372153"/>
                </a:lnTo>
                <a:lnTo>
                  <a:pt x="11414300" y="6381564"/>
                </a:lnTo>
                <a:lnTo>
                  <a:pt x="11435486" y="6377050"/>
                </a:lnTo>
                <a:lnTo>
                  <a:pt x="11435486" y="6375967"/>
                </a:lnTo>
                <a:cubicBezTo>
                  <a:pt x="11435486" y="6358355"/>
                  <a:pt x="11427639" y="6354059"/>
                  <a:pt x="11409064" y="6354059"/>
                </a:cubicBezTo>
                <a:close/>
                <a:moveTo>
                  <a:pt x="11184971" y="6354059"/>
                </a:moveTo>
                <a:lnTo>
                  <a:pt x="11184971" y="6454775"/>
                </a:lnTo>
                <a:lnTo>
                  <a:pt x="11294264" y="6454775"/>
                </a:lnTo>
                <a:lnTo>
                  <a:pt x="11294264" y="6435966"/>
                </a:lnTo>
                <a:lnTo>
                  <a:pt x="11209738" y="6435966"/>
                </a:lnTo>
                <a:lnTo>
                  <a:pt x="11209738" y="6411199"/>
                </a:lnTo>
                <a:lnTo>
                  <a:pt x="11258310" y="6411199"/>
                </a:lnTo>
                <a:lnTo>
                  <a:pt x="11258310" y="6393820"/>
                </a:lnTo>
                <a:lnTo>
                  <a:pt x="11209738" y="6393820"/>
                </a:lnTo>
                <a:lnTo>
                  <a:pt x="11209738" y="6371912"/>
                </a:lnTo>
                <a:lnTo>
                  <a:pt x="11293083" y="6371912"/>
                </a:lnTo>
                <a:lnTo>
                  <a:pt x="11293083" y="6354059"/>
                </a:lnTo>
                <a:close/>
                <a:moveTo>
                  <a:pt x="11047262" y="6354059"/>
                </a:moveTo>
                <a:lnTo>
                  <a:pt x="11047262" y="6454775"/>
                </a:lnTo>
                <a:lnTo>
                  <a:pt x="11156555" y="6454775"/>
                </a:lnTo>
                <a:lnTo>
                  <a:pt x="11156555" y="6435966"/>
                </a:lnTo>
                <a:lnTo>
                  <a:pt x="11072029" y="6435966"/>
                </a:lnTo>
                <a:lnTo>
                  <a:pt x="11072029" y="6411199"/>
                </a:lnTo>
                <a:lnTo>
                  <a:pt x="11120601" y="6411199"/>
                </a:lnTo>
                <a:lnTo>
                  <a:pt x="11120601" y="6393820"/>
                </a:lnTo>
                <a:lnTo>
                  <a:pt x="11072029" y="6393820"/>
                </a:lnTo>
                <a:lnTo>
                  <a:pt x="11072029" y="6371912"/>
                </a:lnTo>
                <a:lnTo>
                  <a:pt x="11155374" y="6371912"/>
                </a:lnTo>
                <a:lnTo>
                  <a:pt x="11155374" y="6354059"/>
                </a:lnTo>
                <a:close/>
                <a:moveTo>
                  <a:pt x="10899246" y="6354059"/>
                </a:moveTo>
                <a:lnTo>
                  <a:pt x="10899246" y="6454775"/>
                </a:lnTo>
                <a:lnTo>
                  <a:pt x="10923539" y="6454775"/>
                </a:lnTo>
                <a:lnTo>
                  <a:pt x="10923539" y="6416669"/>
                </a:lnTo>
                <a:lnTo>
                  <a:pt x="10946636" y="6416669"/>
                </a:lnTo>
                <a:lnTo>
                  <a:pt x="10988782" y="6454775"/>
                </a:lnTo>
                <a:lnTo>
                  <a:pt x="11024029" y="6454775"/>
                </a:lnTo>
                <a:lnTo>
                  <a:pt x="10976158" y="6416669"/>
                </a:lnTo>
                <a:lnTo>
                  <a:pt x="10989971" y="6416669"/>
                </a:lnTo>
                <a:cubicBezTo>
                  <a:pt x="11006169" y="6416669"/>
                  <a:pt x="11013549" y="6411192"/>
                  <a:pt x="11013549" y="6397394"/>
                </a:cubicBezTo>
                <a:lnTo>
                  <a:pt x="11013549" y="6373582"/>
                </a:lnTo>
                <a:cubicBezTo>
                  <a:pt x="11013549" y="6359536"/>
                  <a:pt x="11006161" y="6354059"/>
                  <a:pt x="10989971" y="6354059"/>
                </a:cubicBezTo>
                <a:close/>
                <a:moveTo>
                  <a:pt x="10749425" y="6353818"/>
                </a:moveTo>
                <a:lnTo>
                  <a:pt x="10800140" y="6353818"/>
                </a:lnTo>
                <a:cubicBezTo>
                  <a:pt x="10827052" y="6353818"/>
                  <a:pt x="10840624" y="6367157"/>
                  <a:pt x="10840624" y="6392157"/>
                </a:cubicBezTo>
                <a:cubicBezTo>
                  <a:pt x="10840624" y="6422635"/>
                  <a:pt x="10822523" y="6431685"/>
                  <a:pt x="10786327" y="6431685"/>
                </a:cubicBezTo>
                <a:lnTo>
                  <a:pt x="10749425" y="6431685"/>
                </a:lnTo>
                <a:close/>
                <a:moveTo>
                  <a:pt x="11558990" y="6331910"/>
                </a:moveTo>
                <a:cubicBezTo>
                  <a:pt x="11538030" y="6331910"/>
                  <a:pt x="11528513" y="6336680"/>
                  <a:pt x="11528513" y="6354292"/>
                </a:cubicBezTo>
                <a:lnTo>
                  <a:pt x="11528513" y="6361191"/>
                </a:lnTo>
                <a:cubicBezTo>
                  <a:pt x="11528513" y="6368338"/>
                  <a:pt x="11531846" y="6373815"/>
                  <a:pt x="11538993" y="6379766"/>
                </a:cubicBezTo>
                <a:lnTo>
                  <a:pt x="11513978" y="6394775"/>
                </a:lnTo>
                <a:cubicBezTo>
                  <a:pt x="11503272" y="6401201"/>
                  <a:pt x="11498743" y="6405007"/>
                  <a:pt x="11498743" y="6417632"/>
                </a:cubicBezTo>
                <a:lnTo>
                  <a:pt x="11498743" y="6425727"/>
                </a:lnTo>
                <a:cubicBezTo>
                  <a:pt x="11498743" y="6448824"/>
                  <a:pt x="11506364" y="6454775"/>
                  <a:pt x="11529454" y="6454775"/>
                </a:cubicBezTo>
                <a:lnTo>
                  <a:pt x="11573270" y="6454775"/>
                </a:lnTo>
                <a:cubicBezTo>
                  <a:pt x="11583502" y="6454775"/>
                  <a:pt x="11588505" y="6454301"/>
                  <a:pt x="11596367" y="6447387"/>
                </a:cubicBezTo>
                <a:lnTo>
                  <a:pt x="11607321" y="6437629"/>
                </a:lnTo>
                <a:lnTo>
                  <a:pt x="11627559" y="6454775"/>
                </a:lnTo>
                <a:lnTo>
                  <a:pt x="11664950" y="6454775"/>
                </a:lnTo>
                <a:lnTo>
                  <a:pt x="11626137" y="6422146"/>
                </a:lnTo>
                <a:lnTo>
                  <a:pt x="11654470" y="6398582"/>
                </a:lnTo>
                <a:lnTo>
                  <a:pt x="11638272" y="6384536"/>
                </a:lnTo>
                <a:lnTo>
                  <a:pt x="11609698" y="6408340"/>
                </a:lnTo>
                <a:lnTo>
                  <a:pt x="11551836" y="6360243"/>
                </a:lnTo>
                <a:lnTo>
                  <a:pt x="11551836" y="6351433"/>
                </a:lnTo>
                <a:lnTo>
                  <a:pt x="11592086" y="6351433"/>
                </a:lnTo>
                <a:lnTo>
                  <a:pt x="11592086" y="6367872"/>
                </a:lnTo>
                <a:lnTo>
                  <a:pt x="11614220" y="6364065"/>
                </a:lnTo>
                <a:lnTo>
                  <a:pt x="11614220" y="6356677"/>
                </a:lnTo>
                <a:cubicBezTo>
                  <a:pt x="11614220" y="6336680"/>
                  <a:pt x="11605884" y="6331910"/>
                  <a:pt x="11583742" y="6331910"/>
                </a:cubicBezTo>
                <a:close/>
                <a:moveTo>
                  <a:pt x="10720851" y="6331910"/>
                </a:moveTo>
                <a:lnTo>
                  <a:pt x="10720851" y="6454775"/>
                </a:lnTo>
                <a:lnTo>
                  <a:pt x="10792527" y="6454775"/>
                </a:lnTo>
                <a:cubicBezTo>
                  <a:pt x="10814420" y="6454775"/>
                  <a:pt x="10831092" y="6452631"/>
                  <a:pt x="10843009" y="6445258"/>
                </a:cubicBezTo>
                <a:cubicBezTo>
                  <a:pt x="10860155" y="6434778"/>
                  <a:pt x="10870146" y="6415728"/>
                  <a:pt x="10870146" y="6392631"/>
                </a:cubicBezTo>
                <a:cubicBezTo>
                  <a:pt x="10870146" y="6354533"/>
                  <a:pt x="10845868" y="6331910"/>
                  <a:pt x="10799900" y="6331910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7" name="text">
            <a:extLst>
              <a:ext uri="{FF2B5EF4-FFF2-40B4-BE49-F238E27FC236}">
                <a16:creationId xmlns:a16="http://schemas.microsoft.com/office/drawing/2014/main" id="{76947769-F1C5-46D2-A578-B46158BB445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525598" y="0"/>
            <a:ext cx="3616801" cy="3472867"/>
          </a:xfrm>
          <a:solidFill>
            <a:schemeClr val="bg1"/>
          </a:solidFill>
        </p:spPr>
        <p:txBody>
          <a:bodyPr wrap="square" lIns="216000" tIns="1602000" rIns="216000" bIns="43200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FFCB50B-5503-4467-8A0F-9FBB8B48B97D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25598" y="673200"/>
            <a:ext cx="3616801" cy="864000"/>
          </a:xfrm>
        </p:spPr>
        <p:txBody>
          <a:bodyPr lIns="216000" tIns="0" rIns="216000" bIns="0" anchor="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1" name="logo drees&amp;sommer white">
            <a:extLst>
              <a:ext uri="{FF2B5EF4-FFF2-40B4-BE49-F238E27FC236}">
                <a16:creationId xmlns:a16="http://schemas.microsoft.com/office/drawing/2014/main" id="{1F5AA800-3878-4BB9-9EEB-CA77D23D9567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716797" y="6330042"/>
            <a:ext cx="946800" cy="2880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15875" cap="flat">
            <a:noFill/>
            <a:prstDash val="lgDash"/>
          </a:ln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de-DE"/>
              <a:t>Mediaclip durch Klicken auf Symbol hinzufügen</a:t>
            </a:r>
            <a:endParaRPr lang="de-DE" dirty="0"/>
          </a:p>
        </p:txBody>
      </p:sp>
      <p:sp>
        <p:nvSpPr>
          <p:cNvPr id="14" name="info">
            <a:extLst>
              <a:ext uri="{FF2B5EF4-FFF2-40B4-BE49-F238E27FC236}">
                <a16:creationId xmlns:a16="http://schemas.microsoft.com/office/drawing/2014/main" id="{4BFC20E1-FE31-4D9F-BF66-21AFD1FD6319}"/>
              </a:ext>
            </a:extLst>
          </p:cNvPr>
          <p:cNvSpPr/>
          <p:nvPr/>
        </p:nvSpPr>
        <p:spPr bwMode="gray">
          <a:xfrm flipH="1">
            <a:off x="12247320" y="6288645"/>
            <a:ext cx="1579616" cy="370793"/>
          </a:xfrm>
          <a:prstGeom prst="homePlate">
            <a:avLst/>
          </a:prstGeom>
          <a:solidFill>
            <a:srgbClr val="0029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36000" rtlCol="0" anchor="ctr">
            <a:spAutoFit/>
          </a:bodyPr>
          <a:lstStyle/>
          <a:p>
            <a:pPr algn="ctr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sz="1050" dirty="0">
                <a:solidFill>
                  <a:schemeClr val="bg1"/>
                </a:solidFill>
              </a:rPr>
              <a:t>delete the white logo </a:t>
            </a:r>
            <a:br>
              <a:rPr lang="en-US" sz="1050" dirty="0">
                <a:solidFill>
                  <a:schemeClr val="bg1"/>
                </a:solidFill>
              </a:rPr>
            </a:br>
            <a:r>
              <a:rPr lang="en-US" sz="1050" dirty="0">
                <a:solidFill>
                  <a:schemeClr val="bg1"/>
                </a:solidFill>
              </a:rPr>
              <a:t>to get the BLUE LOGO</a:t>
            </a:r>
            <a:endParaRPr lang="de-DE" sz="1050" dirty="0">
              <a:solidFill>
                <a:schemeClr val="bg1"/>
              </a:solidFill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90B54C2D-8235-4852-8EB7-5E05529B24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525600" y="7200000"/>
            <a:ext cx="234000" cy="180000"/>
          </a:xfrm>
        </p:spPr>
        <p:txBody>
          <a:bodyPr lIns="0" tIns="0" rIns="0" bIns="0"/>
          <a:lstStyle/>
          <a:p>
            <a:fld id="{9829449A-3FF3-45CE-9F4F-09BADC0910C6}" type="slidenum">
              <a:rPr lang="de-DE" noProof="0"/>
              <a:t>‹Nr.›</a:t>
            </a:fld>
            <a:endParaRPr lang="de-DE" noProof="0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A4534FC4-D037-44B0-B266-D9E820FC1D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763200" y="7200000"/>
            <a:ext cx="7880400" cy="180000"/>
          </a:xfrm>
        </p:spPr>
        <p:txBody>
          <a:bodyPr lIns="0" tIns="0" rIns="0" bIns="0"/>
          <a:lstStyle/>
          <a:p>
            <a:endParaRPr lang="de-DE" noProof="0" dirty="0"/>
          </a:p>
        </p:txBody>
      </p:sp>
      <p:grpSp>
        <p:nvGrpSpPr>
          <p:cNvPr id="3" name="info">
            <a:extLst>
              <a:ext uri="{FF2B5EF4-FFF2-40B4-BE49-F238E27FC236}">
                <a16:creationId xmlns:a16="http://schemas.microsoft.com/office/drawing/2014/main" id="{48405B6E-6C12-127C-6CAB-0FEFCD2E73D6}"/>
              </a:ext>
            </a:extLst>
          </p:cNvPr>
          <p:cNvGrpSpPr/>
          <p:nvPr/>
        </p:nvGrpSpPr>
        <p:grpSpPr>
          <a:xfrm>
            <a:off x="12247320" y="3143250"/>
            <a:ext cx="1579616" cy="2823211"/>
            <a:chOff x="12399720" y="2598103"/>
            <a:chExt cx="1579616" cy="2823211"/>
          </a:xfrm>
          <a:solidFill>
            <a:srgbClr val="002965"/>
          </a:solidFill>
        </p:grpSpPr>
        <p:sp>
          <p:nvSpPr>
            <p:cNvPr id="4" name="info">
              <a:extLst>
                <a:ext uri="{FF2B5EF4-FFF2-40B4-BE49-F238E27FC236}">
                  <a16:creationId xmlns:a16="http://schemas.microsoft.com/office/drawing/2014/main" id="{4F223011-B79B-4432-5118-606BCB1157E3}"/>
                </a:ext>
              </a:extLst>
            </p:cNvPr>
            <p:cNvSpPr/>
            <p:nvPr userDrawn="1"/>
          </p:nvSpPr>
          <p:spPr bwMode="gray">
            <a:xfrm flipH="1">
              <a:off x="12399720" y="4947928"/>
              <a:ext cx="1579616" cy="473385"/>
            </a:xfrm>
            <a:prstGeom prst="homePlat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36000" rtlCol="0" anchor="ctr">
              <a:spAutoFit/>
            </a:bodyPr>
            <a:lstStyle/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 dirty="0">
                <a:solidFill>
                  <a:schemeClr val="tx2"/>
                </a:solidFill>
              </a:endParaRPr>
            </a:p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 dirty="0">
                <a:solidFill>
                  <a:schemeClr val="tx2"/>
                </a:solidFill>
              </a:endParaRPr>
            </a:p>
          </p:txBody>
        </p:sp>
        <p:sp>
          <p:nvSpPr>
            <p:cNvPr id="8" name="info">
              <a:extLst>
                <a:ext uri="{FF2B5EF4-FFF2-40B4-BE49-F238E27FC236}">
                  <a16:creationId xmlns:a16="http://schemas.microsoft.com/office/drawing/2014/main" id="{B719075C-FEF7-375E-A9BC-FB6D3BF35185}"/>
                </a:ext>
              </a:extLst>
            </p:cNvPr>
            <p:cNvSpPr/>
            <p:nvPr userDrawn="1"/>
          </p:nvSpPr>
          <p:spPr bwMode="gray">
            <a:xfrm flipH="1">
              <a:off x="12634899" y="2598103"/>
              <a:ext cx="1344423" cy="28232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36000" rtlCol="0" anchor="t">
              <a:noAutofit/>
            </a:bodyPr>
            <a:lstStyle/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b="1" cap="all" dirty="0">
                  <a:solidFill>
                    <a:schemeClr val="bg1"/>
                  </a:solidFill>
                </a:rPr>
                <a:t>image credit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b="1" dirty="0">
                  <a:solidFill>
                    <a:schemeClr val="bg1"/>
                  </a:solidFill>
                </a:rPr>
                <a:t>Always include</a:t>
              </a:r>
              <a:br>
                <a:rPr lang="en-US" sz="1050" b="1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redit!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How to get 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redit </a:t>
              </a:r>
              <a:r>
                <a:rPr lang="en-US" sz="1050" b="1" dirty="0">
                  <a:solidFill>
                    <a:schemeClr val="bg1"/>
                  </a:solidFill>
                </a:rPr>
                <a:t>placeholder</a:t>
              </a:r>
              <a:r>
                <a:rPr lang="en-US" sz="1050" dirty="0">
                  <a:solidFill>
                    <a:schemeClr val="bg1"/>
                  </a:solidFill>
                </a:rPr>
                <a:t>: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&gt; empower menu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&gt; text elements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&gt; depending on 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hoose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“</a:t>
              </a:r>
              <a:r>
                <a:rPr lang="en-US" sz="1050" b="1" dirty="0">
                  <a:solidFill>
                    <a:schemeClr val="bg1"/>
                  </a:solidFill>
                </a:rPr>
                <a:t>Copyright right/left grey</a:t>
              </a:r>
              <a:r>
                <a:rPr lang="en-US" sz="1050" dirty="0">
                  <a:solidFill>
                    <a:schemeClr val="bg1"/>
                  </a:solidFill>
                </a:rPr>
                <a:t>” 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or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“</a:t>
              </a:r>
              <a:r>
                <a:rPr lang="en-US" sz="1050" b="1" dirty="0">
                  <a:solidFill>
                    <a:schemeClr val="bg1"/>
                  </a:solidFill>
                </a:rPr>
                <a:t>Copyright right/left white</a:t>
              </a:r>
              <a:r>
                <a:rPr lang="en-US" sz="1050" dirty="0">
                  <a:solidFill>
                    <a:schemeClr val="bg1"/>
                  </a:solidFill>
                </a:rPr>
                <a:t>”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02487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pos="261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icture &amp;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logo drees&amp;sommer blue mask">
            <a:extLst>
              <a:ext uri="{FF2B5EF4-FFF2-40B4-BE49-F238E27FC236}">
                <a16:creationId xmlns:a16="http://schemas.microsoft.com/office/drawing/2014/main" id="{D9030723-5634-4783-823D-AF507FF94972}"/>
              </a:ext>
            </a:extLst>
          </p:cNvPr>
          <p:cNvSpPr/>
          <p:nvPr/>
        </p:nvSpPr>
        <p:spPr bwMode="gray">
          <a:xfrm>
            <a:off x="10579100" y="6197600"/>
            <a:ext cx="1270000" cy="584200"/>
          </a:xfrm>
          <a:prstGeom prst="rect">
            <a:avLst/>
          </a:prstGeom>
          <a:solidFill>
            <a:srgbClr val="0029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de-DE" sz="1400" dirty="0"/>
          </a:p>
        </p:txBody>
      </p:sp>
      <p:sp>
        <p:nvSpPr>
          <p:cNvPr id="63" name="picture">
            <a:extLst>
              <a:ext uri="{FF2B5EF4-FFF2-40B4-BE49-F238E27FC236}">
                <a16:creationId xmlns:a16="http://schemas.microsoft.com/office/drawing/2014/main" id="{FA19F108-87FA-49A1-8D84-551E625B593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0" y="1"/>
            <a:ext cx="12192000" cy="6858000"/>
          </a:xfrm>
          <a:custGeom>
            <a:avLst/>
            <a:gdLst>
              <a:gd name="connsiteX0" fmla="*/ 10909343 w 12192000"/>
              <a:gd name="connsiteY0" fmla="*/ 6535878 h 6858000"/>
              <a:gd name="connsiteX1" fmla="*/ 10992168 w 12192000"/>
              <a:gd name="connsiteY1" fmla="*/ 6535878 h 6858000"/>
              <a:gd name="connsiteX2" fmla="*/ 10992168 w 12192000"/>
              <a:gd name="connsiteY2" fmla="*/ 6598744 h 6858000"/>
              <a:gd name="connsiteX3" fmla="*/ 10909343 w 12192000"/>
              <a:gd name="connsiteY3" fmla="*/ 6598744 h 6858000"/>
              <a:gd name="connsiteX4" fmla="*/ 11563256 w 12192000"/>
              <a:gd name="connsiteY4" fmla="*/ 6534689 h 6858000"/>
              <a:gd name="connsiteX5" fmla="*/ 11619215 w 12192000"/>
              <a:gd name="connsiteY5" fmla="*/ 6534689 h 6858000"/>
              <a:gd name="connsiteX6" fmla="*/ 11630409 w 12192000"/>
              <a:gd name="connsiteY6" fmla="*/ 6542785 h 6858000"/>
              <a:gd name="connsiteX7" fmla="*/ 11630409 w 12192000"/>
              <a:gd name="connsiteY7" fmla="*/ 6554454 h 6858000"/>
              <a:gd name="connsiteX8" fmla="*/ 11619215 w 12192000"/>
              <a:gd name="connsiteY8" fmla="*/ 6562549 h 6858000"/>
              <a:gd name="connsiteX9" fmla="*/ 11563256 w 12192000"/>
              <a:gd name="connsiteY9" fmla="*/ 6562549 h 6858000"/>
              <a:gd name="connsiteX10" fmla="*/ 10910306 w 12192000"/>
              <a:gd name="connsiteY10" fmla="*/ 6517317 h 6858000"/>
              <a:gd name="connsiteX11" fmla="*/ 10883590 w 12192000"/>
              <a:gd name="connsiteY11" fmla="*/ 6541121 h 6858000"/>
              <a:gd name="connsiteX12" fmla="*/ 10883590 w 12192000"/>
              <a:gd name="connsiteY12" fmla="*/ 6594222 h 6858000"/>
              <a:gd name="connsiteX13" fmla="*/ 10910306 w 12192000"/>
              <a:gd name="connsiteY13" fmla="*/ 6618041 h 6858000"/>
              <a:gd name="connsiteX14" fmla="*/ 10989730 w 12192000"/>
              <a:gd name="connsiteY14" fmla="*/ 6618041 h 6858000"/>
              <a:gd name="connsiteX15" fmla="*/ 11016446 w 12192000"/>
              <a:gd name="connsiteY15" fmla="*/ 6594222 h 6858000"/>
              <a:gd name="connsiteX16" fmla="*/ 11016446 w 12192000"/>
              <a:gd name="connsiteY16" fmla="*/ 6541121 h 6858000"/>
              <a:gd name="connsiteX17" fmla="*/ 10989730 w 12192000"/>
              <a:gd name="connsiteY17" fmla="*/ 6517317 h 6858000"/>
              <a:gd name="connsiteX18" fmla="*/ 11538985 w 12192000"/>
              <a:gd name="connsiteY18" fmla="*/ 6517310 h 6858000"/>
              <a:gd name="connsiteX19" fmla="*/ 11538985 w 12192000"/>
              <a:gd name="connsiteY19" fmla="*/ 6618034 h 6858000"/>
              <a:gd name="connsiteX20" fmla="*/ 11563263 w 12192000"/>
              <a:gd name="connsiteY20" fmla="*/ 6618034 h 6858000"/>
              <a:gd name="connsiteX21" fmla="*/ 11563263 w 12192000"/>
              <a:gd name="connsiteY21" fmla="*/ 6579928 h 6858000"/>
              <a:gd name="connsiteX22" fmla="*/ 11586360 w 12192000"/>
              <a:gd name="connsiteY22" fmla="*/ 6579928 h 6858000"/>
              <a:gd name="connsiteX23" fmla="*/ 11628506 w 12192000"/>
              <a:gd name="connsiteY23" fmla="*/ 6618034 h 6858000"/>
              <a:gd name="connsiteX24" fmla="*/ 11663753 w 12192000"/>
              <a:gd name="connsiteY24" fmla="*/ 6618034 h 6858000"/>
              <a:gd name="connsiteX25" fmla="*/ 11615897 w 12192000"/>
              <a:gd name="connsiteY25" fmla="*/ 6579928 h 6858000"/>
              <a:gd name="connsiteX26" fmla="*/ 11629710 w 12192000"/>
              <a:gd name="connsiteY26" fmla="*/ 6579928 h 6858000"/>
              <a:gd name="connsiteX27" fmla="*/ 11653280 w 12192000"/>
              <a:gd name="connsiteY27" fmla="*/ 6560638 h 6858000"/>
              <a:gd name="connsiteX28" fmla="*/ 11653280 w 12192000"/>
              <a:gd name="connsiteY28" fmla="*/ 6536834 h 6858000"/>
              <a:gd name="connsiteX29" fmla="*/ 11629710 w 12192000"/>
              <a:gd name="connsiteY29" fmla="*/ 6517310 h 6858000"/>
              <a:gd name="connsiteX30" fmla="*/ 11401645 w 12192000"/>
              <a:gd name="connsiteY30" fmla="*/ 6517310 h 6858000"/>
              <a:gd name="connsiteX31" fmla="*/ 11401645 w 12192000"/>
              <a:gd name="connsiteY31" fmla="*/ 6618034 h 6858000"/>
              <a:gd name="connsiteX32" fmla="*/ 11513119 w 12192000"/>
              <a:gd name="connsiteY32" fmla="*/ 6618034 h 6858000"/>
              <a:gd name="connsiteX33" fmla="*/ 11513119 w 12192000"/>
              <a:gd name="connsiteY33" fmla="*/ 6599218 h 6858000"/>
              <a:gd name="connsiteX34" fmla="*/ 11426909 w 12192000"/>
              <a:gd name="connsiteY34" fmla="*/ 6599218 h 6858000"/>
              <a:gd name="connsiteX35" fmla="*/ 11426909 w 12192000"/>
              <a:gd name="connsiteY35" fmla="*/ 6574451 h 6858000"/>
              <a:gd name="connsiteX36" fmla="*/ 11476458 w 12192000"/>
              <a:gd name="connsiteY36" fmla="*/ 6574451 h 6858000"/>
              <a:gd name="connsiteX37" fmla="*/ 11476458 w 12192000"/>
              <a:gd name="connsiteY37" fmla="*/ 6557072 h 6858000"/>
              <a:gd name="connsiteX38" fmla="*/ 11426909 w 12192000"/>
              <a:gd name="connsiteY38" fmla="*/ 6557072 h 6858000"/>
              <a:gd name="connsiteX39" fmla="*/ 11426909 w 12192000"/>
              <a:gd name="connsiteY39" fmla="*/ 6535178 h 6858000"/>
              <a:gd name="connsiteX40" fmla="*/ 11511908 w 12192000"/>
              <a:gd name="connsiteY40" fmla="*/ 6535178 h 6858000"/>
              <a:gd name="connsiteX41" fmla="*/ 11511908 w 12192000"/>
              <a:gd name="connsiteY41" fmla="*/ 6517310 h 6858000"/>
              <a:gd name="connsiteX42" fmla="*/ 11225454 w 12192000"/>
              <a:gd name="connsiteY42" fmla="*/ 6517310 h 6858000"/>
              <a:gd name="connsiteX43" fmla="*/ 11225454 w 12192000"/>
              <a:gd name="connsiteY43" fmla="*/ 6618034 h 6858000"/>
              <a:gd name="connsiteX44" fmla="*/ 11248423 w 12192000"/>
              <a:gd name="connsiteY44" fmla="*/ 6618034 h 6858000"/>
              <a:gd name="connsiteX45" fmla="*/ 11248423 w 12192000"/>
              <a:gd name="connsiteY45" fmla="*/ 6550413 h 6858000"/>
              <a:gd name="connsiteX46" fmla="*/ 11294805 w 12192000"/>
              <a:gd name="connsiteY46" fmla="*/ 6605891 h 6858000"/>
              <a:gd name="connsiteX47" fmla="*/ 11299665 w 12192000"/>
              <a:gd name="connsiteY47" fmla="*/ 6605891 h 6858000"/>
              <a:gd name="connsiteX48" fmla="*/ 11345558 w 12192000"/>
              <a:gd name="connsiteY48" fmla="*/ 6548736 h 6858000"/>
              <a:gd name="connsiteX49" fmla="*/ 11345558 w 12192000"/>
              <a:gd name="connsiteY49" fmla="*/ 6618034 h 6858000"/>
              <a:gd name="connsiteX50" fmla="*/ 11368873 w 12192000"/>
              <a:gd name="connsiteY50" fmla="*/ 6618034 h 6858000"/>
              <a:gd name="connsiteX51" fmla="*/ 11368873 w 12192000"/>
              <a:gd name="connsiteY51" fmla="*/ 6517310 h 6858000"/>
              <a:gd name="connsiteX52" fmla="*/ 11348725 w 12192000"/>
              <a:gd name="connsiteY52" fmla="*/ 6517310 h 6858000"/>
              <a:gd name="connsiteX53" fmla="*/ 11298687 w 12192000"/>
              <a:gd name="connsiteY53" fmla="*/ 6577069 h 6858000"/>
              <a:gd name="connsiteX54" fmla="*/ 11248423 w 12192000"/>
              <a:gd name="connsiteY54" fmla="*/ 6517310 h 6858000"/>
              <a:gd name="connsiteX55" fmla="*/ 11048135 w 12192000"/>
              <a:gd name="connsiteY55" fmla="*/ 6517310 h 6858000"/>
              <a:gd name="connsiteX56" fmla="*/ 11048135 w 12192000"/>
              <a:gd name="connsiteY56" fmla="*/ 6618034 h 6858000"/>
              <a:gd name="connsiteX57" fmla="*/ 11071096 w 12192000"/>
              <a:gd name="connsiteY57" fmla="*/ 6618034 h 6858000"/>
              <a:gd name="connsiteX58" fmla="*/ 11071096 w 12192000"/>
              <a:gd name="connsiteY58" fmla="*/ 6550413 h 6858000"/>
              <a:gd name="connsiteX59" fmla="*/ 11117478 w 12192000"/>
              <a:gd name="connsiteY59" fmla="*/ 6605891 h 6858000"/>
              <a:gd name="connsiteX60" fmla="*/ 11122331 w 12192000"/>
              <a:gd name="connsiteY60" fmla="*/ 6605891 h 6858000"/>
              <a:gd name="connsiteX61" fmla="*/ 11168239 w 12192000"/>
              <a:gd name="connsiteY61" fmla="*/ 6548736 h 6858000"/>
              <a:gd name="connsiteX62" fmla="*/ 11168239 w 12192000"/>
              <a:gd name="connsiteY62" fmla="*/ 6618034 h 6858000"/>
              <a:gd name="connsiteX63" fmla="*/ 11191554 w 12192000"/>
              <a:gd name="connsiteY63" fmla="*/ 6618034 h 6858000"/>
              <a:gd name="connsiteX64" fmla="*/ 11191554 w 12192000"/>
              <a:gd name="connsiteY64" fmla="*/ 6517310 h 6858000"/>
              <a:gd name="connsiteX65" fmla="*/ 11171399 w 12192000"/>
              <a:gd name="connsiteY65" fmla="*/ 6517310 h 6858000"/>
              <a:gd name="connsiteX66" fmla="*/ 11121368 w 12192000"/>
              <a:gd name="connsiteY66" fmla="*/ 6577069 h 6858000"/>
              <a:gd name="connsiteX67" fmla="*/ 11071096 w 12192000"/>
              <a:gd name="connsiteY67" fmla="*/ 6517310 h 6858000"/>
              <a:gd name="connsiteX68" fmla="*/ 10752277 w 12192000"/>
              <a:gd name="connsiteY68" fmla="*/ 6495161 h 6858000"/>
              <a:gd name="connsiteX69" fmla="*/ 10721799 w 12192000"/>
              <a:gd name="connsiteY69" fmla="*/ 6524217 h 6858000"/>
              <a:gd name="connsiteX70" fmla="*/ 10721799 w 12192000"/>
              <a:gd name="connsiteY70" fmla="*/ 6537774 h 6858000"/>
              <a:gd name="connsiteX71" fmla="*/ 10752277 w 12192000"/>
              <a:gd name="connsiteY71" fmla="*/ 6566829 h 6858000"/>
              <a:gd name="connsiteX72" fmla="*/ 10828955 w 12192000"/>
              <a:gd name="connsiteY72" fmla="*/ 6566829 h 6858000"/>
              <a:gd name="connsiteX73" fmla="*/ 10828955 w 12192000"/>
              <a:gd name="connsiteY73" fmla="*/ 6594929 h 6858000"/>
              <a:gd name="connsiteX74" fmla="*/ 10742052 w 12192000"/>
              <a:gd name="connsiteY74" fmla="*/ 6594929 h 6858000"/>
              <a:gd name="connsiteX75" fmla="*/ 10742052 w 12192000"/>
              <a:gd name="connsiteY75" fmla="*/ 6581703 h 6858000"/>
              <a:gd name="connsiteX76" fmla="*/ 10716796 w 12192000"/>
              <a:gd name="connsiteY76" fmla="*/ 6586947 h 6858000"/>
              <a:gd name="connsiteX77" fmla="*/ 10716796 w 12192000"/>
              <a:gd name="connsiteY77" fmla="*/ 6588978 h 6858000"/>
              <a:gd name="connsiteX78" fmla="*/ 10747514 w 12192000"/>
              <a:gd name="connsiteY78" fmla="*/ 6618026 h 6858000"/>
              <a:gd name="connsiteX79" fmla="*/ 10823486 w 12192000"/>
              <a:gd name="connsiteY79" fmla="*/ 6618026 h 6858000"/>
              <a:gd name="connsiteX80" fmla="*/ 10854204 w 12192000"/>
              <a:gd name="connsiteY80" fmla="*/ 6588978 h 6858000"/>
              <a:gd name="connsiteX81" fmla="*/ 10854204 w 12192000"/>
              <a:gd name="connsiteY81" fmla="*/ 6572073 h 6858000"/>
              <a:gd name="connsiteX82" fmla="*/ 10823486 w 12192000"/>
              <a:gd name="connsiteY82" fmla="*/ 6543018 h 6858000"/>
              <a:gd name="connsiteX83" fmla="*/ 10746799 w 12192000"/>
              <a:gd name="connsiteY83" fmla="*/ 6543018 h 6858000"/>
              <a:gd name="connsiteX84" fmla="*/ 10746799 w 12192000"/>
              <a:gd name="connsiteY84" fmla="*/ 6516595 h 6858000"/>
              <a:gd name="connsiteX85" fmla="*/ 10827285 w 12192000"/>
              <a:gd name="connsiteY85" fmla="*/ 6516595 h 6858000"/>
              <a:gd name="connsiteX86" fmla="*/ 10827285 w 12192000"/>
              <a:gd name="connsiteY86" fmla="*/ 6529904 h 6858000"/>
              <a:gd name="connsiteX87" fmla="*/ 10852526 w 12192000"/>
              <a:gd name="connsiteY87" fmla="*/ 6523953 h 6858000"/>
              <a:gd name="connsiteX88" fmla="*/ 10852526 w 12192000"/>
              <a:gd name="connsiteY88" fmla="*/ 6522073 h 6858000"/>
              <a:gd name="connsiteX89" fmla="*/ 10822049 w 12192000"/>
              <a:gd name="connsiteY89" fmla="*/ 6495161 h 6858000"/>
              <a:gd name="connsiteX90" fmla="*/ 11554221 w 12192000"/>
              <a:gd name="connsiteY90" fmla="*/ 6392872 h 6858000"/>
              <a:gd name="connsiteX91" fmla="*/ 11591123 w 12192000"/>
              <a:gd name="connsiteY91" fmla="*/ 6423590 h 6858000"/>
              <a:gd name="connsiteX92" fmla="*/ 11579695 w 12192000"/>
              <a:gd name="connsiteY92" fmla="*/ 6433348 h 6858000"/>
              <a:gd name="connsiteX93" fmla="*/ 11522795 w 12192000"/>
              <a:gd name="connsiteY93" fmla="*/ 6433348 h 6858000"/>
              <a:gd name="connsiteX94" fmla="*/ 11522795 w 12192000"/>
              <a:gd name="connsiteY94" fmla="*/ 6433341 h 6858000"/>
              <a:gd name="connsiteX95" fmla="*/ 11522795 w 12192000"/>
              <a:gd name="connsiteY95" fmla="*/ 6412395 h 6858000"/>
              <a:gd name="connsiteX96" fmla="*/ 10923532 w 12192000"/>
              <a:gd name="connsiteY96" fmla="*/ 6371438 h 6858000"/>
              <a:gd name="connsiteX97" fmla="*/ 10979491 w 12192000"/>
              <a:gd name="connsiteY97" fmla="*/ 6371438 h 6858000"/>
              <a:gd name="connsiteX98" fmla="*/ 10990685 w 12192000"/>
              <a:gd name="connsiteY98" fmla="*/ 6379533 h 6858000"/>
              <a:gd name="connsiteX99" fmla="*/ 10990685 w 12192000"/>
              <a:gd name="connsiteY99" fmla="*/ 6391202 h 6858000"/>
              <a:gd name="connsiteX100" fmla="*/ 10979491 w 12192000"/>
              <a:gd name="connsiteY100" fmla="*/ 6399297 h 6858000"/>
              <a:gd name="connsiteX101" fmla="*/ 10923532 w 12192000"/>
              <a:gd name="connsiteY101" fmla="*/ 6399297 h 6858000"/>
              <a:gd name="connsiteX102" fmla="*/ 11349305 w 12192000"/>
              <a:gd name="connsiteY102" fmla="*/ 6354059 h 6858000"/>
              <a:gd name="connsiteX103" fmla="*/ 11322868 w 12192000"/>
              <a:gd name="connsiteY103" fmla="*/ 6377878 h 6858000"/>
              <a:gd name="connsiteX104" fmla="*/ 11322868 w 12192000"/>
              <a:gd name="connsiteY104" fmla="*/ 6389073 h 6858000"/>
              <a:gd name="connsiteX105" fmla="*/ 11349305 w 12192000"/>
              <a:gd name="connsiteY105" fmla="*/ 6412877 h 6858000"/>
              <a:gd name="connsiteX106" fmla="*/ 11414541 w 12192000"/>
              <a:gd name="connsiteY106" fmla="*/ 6412877 h 6858000"/>
              <a:gd name="connsiteX107" fmla="*/ 11414541 w 12192000"/>
              <a:gd name="connsiteY107" fmla="*/ 6435982 h 6858000"/>
              <a:gd name="connsiteX108" fmla="*/ 11340480 w 12192000"/>
              <a:gd name="connsiteY108" fmla="*/ 6435982 h 6858000"/>
              <a:gd name="connsiteX109" fmla="*/ 11340480 w 12192000"/>
              <a:gd name="connsiteY109" fmla="*/ 6425374 h 6858000"/>
              <a:gd name="connsiteX110" fmla="*/ 11318587 w 12192000"/>
              <a:gd name="connsiteY110" fmla="*/ 6429429 h 6858000"/>
              <a:gd name="connsiteX111" fmla="*/ 11318587 w 12192000"/>
              <a:gd name="connsiteY111" fmla="*/ 6430979 h 6858000"/>
              <a:gd name="connsiteX112" fmla="*/ 11345009 w 12192000"/>
              <a:gd name="connsiteY112" fmla="*/ 6454783 h 6858000"/>
              <a:gd name="connsiteX113" fmla="*/ 11410501 w 12192000"/>
              <a:gd name="connsiteY113" fmla="*/ 6454783 h 6858000"/>
              <a:gd name="connsiteX114" fmla="*/ 11436690 w 12192000"/>
              <a:gd name="connsiteY114" fmla="*/ 6430979 h 6858000"/>
              <a:gd name="connsiteX115" fmla="*/ 11436690 w 12192000"/>
              <a:gd name="connsiteY115" fmla="*/ 6417165 h 6858000"/>
              <a:gd name="connsiteX116" fmla="*/ 11410501 w 12192000"/>
              <a:gd name="connsiteY116" fmla="*/ 6393361 h 6858000"/>
              <a:gd name="connsiteX117" fmla="*/ 11345009 w 12192000"/>
              <a:gd name="connsiteY117" fmla="*/ 6393361 h 6858000"/>
              <a:gd name="connsiteX118" fmla="*/ 11345009 w 12192000"/>
              <a:gd name="connsiteY118" fmla="*/ 6372153 h 6858000"/>
              <a:gd name="connsiteX119" fmla="*/ 11414300 w 12192000"/>
              <a:gd name="connsiteY119" fmla="*/ 6372153 h 6858000"/>
              <a:gd name="connsiteX120" fmla="*/ 11414300 w 12192000"/>
              <a:gd name="connsiteY120" fmla="*/ 6381564 h 6858000"/>
              <a:gd name="connsiteX121" fmla="*/ 11435486 w 12192000"/>
              <a:gd name="connsiteY121" fmla="*/ 6377050 h 6858000"/>
              <a:gd name="connsiteX122" fmla="*/ 11435486 w 12192000"/>
              <a:gd name="connsiteY122" fmla="*/ 6375967 h 6858000"/>
              <a:gd name="connsiteX123" fmla="*/ 11409064 w 12192000"/>
              <a:gd name="connsiteY123" fmla="*/ 6354059 h 6858000"/>
              <a:gd name="connsiteX124" fmla="*/ 11184971 w 12192000"/>
              <a:gd name="connsiteY124" fmla="*/ 6354059 h 6858000"/>
              <a:gd name="connsiteX125" fmla="*/ 11184971 w 12192000"/>
              <a:gd name="connsiteY125" fmla="*/ 6454775 h 6858000"/>
              <a:gd name="connsiteX126" fmla="*/ 11294264 w 12192000"/>
              <a:gd name="connsiteY126" fmla="*/ 6454775 h 6858000"/>
              <a:gd name="connsiteX127" fmla="*/ 11294264 w 12192000"/>
              <a:gd name="connsiteY127" fmla="*/ 6435966 h 6858000"/>
              <a:gd name="connsiteX128" fmla="*/ 11209738 w 12192000"/>
              <a:gd name="connsiteY128" fmla="*/ 6435966 h 6858000"/>
              <a:gd name="connsiteX129" fmla="*/ 11209738 w 12192000"/>
              <a:gd name="connsiteY129" fmla="*/ 6411199 h 6858000"/>
              <a:gd name="connsiteX130" fmla="*/ 11258310 w 12192000"/>
              <a:gd name="connsiteY130" fmla="*/ 6411199 h 6858000"/>
              <a:gd name="connsiteX131" fmla="*/ 11258310 w 12192000"/>
              <a:gd name="connsiteY131" fmla="*/ 6393820 h 6858000"/>
              <a:gd name="connsiteX132" fmla="*/ 11209738 w 12192000"/>
              <a:gd name="connsiteY132" fmla="*/ 6393820 h 6858000"/>
              <a:gd name="connsiteX133" fmla="*/ 11209738 w 12192000"/>
              <a:gd name="connsiteY133" fmla="*/ 6371912 h 6858000"/>
              <a:gd name="connsiteX134" fmla="*/ 11293083 w 12192000"/>
              <a:gd name="connsiteY134" fmla="*/ 6371912 h 6858000"/>
              <a:gd name="connsiteX135" fmla="*/ 11293083 w 12192000"/>
              <a:gd name="connsiteY135" fmla="*/ 6354059 h 6858000"/>
              <a:gd name="connsiteX136" fmla="*/ 11047262 w 12192000"/>
              <a:gd name="connsiteY136" fmla="*/ 6354059 h 6858000"/>
              <a:gd name="connsiteX137" fmla="*/ 11047262 w 12192000"/>
              <a:gd name="connsiteY137" fmla="*/ 6454775 h 6858000"/>
              <a:gd name="connsiteX138" fmla="*/ 11156555 w 12192000"/>
              <a:gd name="connsiteY138" fmla="*/ 6454775 h 6858000"/>
              <a:gd name="connsiteX139" fmla="*/ 11156555 w 12192000"/>
              <a:gd name="connsiteY139" fmla="*/ 6435966 h 6858000"/>
              <a:gd name="connsiteX140" fmla="*/ 11072029 w 12192000"/>
              <a:gd name="connsiteY140" fmla="*/ 6435966 h 6858000"/>
              <a:gd name="connsiteX141" fmla="*/ 11072029 w 12192000"/>
              <a:gd name="connsiteY141" fmla="*/ 6411199 h 6858000"/>
              <a:gd name="connsiteX142" fmla="*/ 11120601 w 12192000"/>
              <a:gd name="connsiteY142" fmla="*/ 6411199 h 6858000"/>
              <a:gd name="connsiteX143" fmla="*/ 11120601 w 12192000"/>
              <a:gd name="connsiteY143" fmla="*/ 6393820 h 6858000"/>
              <a:gd name="connsiteX144" fmla="*/ 11072029 w 12192000"/>
              <a:gd name="connsiteY144" fmla="*/ 6393820 h 6858000"/>
              <a:gd name="connsiteX145" fmla="*/ 11072029 w 12192000"/>
              <a:gd name="connsiteY145" fmla="*/ 6371912 h 6858000"/>
              <a:gd name="connsiteX146" fmla="*/ 11155374 w 12192000"/>
              <a:gd name="connsiteY146" fmla="*/ 6371912 h 6858000"/>
              <a:gd name="connsiteX147" fmla="*/ 11155374 w 12192000"/>
              <a:gd name="connsiteY147" fmla="*/ 6354059 h 6858000"/>
              <a:gd name="connsiteX148" fmla="*/ 10899246 w 12192000"/>
              <a:gd name="connsiteY148" fmla="*/ 6354059 h 6858000"/>
              <a:gd name="connsiteX149" fmla="*/ 10899246 w 12192000"/>
              <a:gd name="connsiteY149" fmla="*/ 6454775 h 6858000"/>
              <a:gd name="connsiteX150" fmla="*/ 10923539 w 12192000"/>
              <a:gd name="connsiteY150" fmla="*/ 6454775 h 6858000"/>
              <a:gd name="connsiteX151" fmla="*/ 10923539 w 12192000"/>
              <a:gd name="connsiteY151" fmla="*/ 6416669 h 6858000"/>
              <a:gd name="connsiteX152" fmla="*/ 10946636 w 12192000"/>
              <a:gd name="connsiteY152" fmla="*/ 6416669 h 6858000"/>
              <a:gd name="connsiteX153" fmla="*/ 10988782 w 12192000"/>
              <a:gd name="connsiteY153" fmla="*/ 6454775 h 6858000"/>
              <a:gd name="connsiteX154" fmla="*/ 11024029 w 12192000"/>
              <a:gd name="connsiteY154" fmla="*/ 6454775 h 6858000"/>
              <a:gd name="connsiteX155" fmla="*/ 10976158 w 12192000"/>
              <a:gd name="connsiteY155" fmla="*/ 6416669 h 6858000"/>
              <a:gd name="connsiteX156" fmla="*/ 10989971 w 12192000"/>
              <a:gd name="connsiteY156" fmla="*/ 6416669 h 6858000"/>
              <a:gd name="connsiteX157" fmla="*/ 11013549 w 12192000"/>
              <a:gd name="connsiteY157" fmla="*/ 6397394 h 6858000"/>
              <a:gd name="connsiteX158" fmla="*/ 11013549 w 12192000"/>
              <a:gd name="connsiteY158" fmla="*/ 6373582 h 6858000"/>
              <a:gd name="connsiteX159" fmla="*/ 10989971 w 12192000"/>
              <a:gd name="connsiteY159" fmla="*/ 6354059 h 6858000"/>
              <a:gd name="connsiteX160" fmla="*/ 10749425 w 12192000"/>
              <a:gd name="connsiteY160" fmla="*/ 6353818 h 6858000"/>
              <a:gd name="connsiteX161" fmla="*/ 10800140 w 12192000"/>
              <a:gd name="connsiteY161" fmla="*/ 6353818 h 6858000"/>
              <a:gd name="connsiteX162" fmla="*/ 10840624 w 12192000"/>
              <a:gd name="connsiteY162" fmla="*/ 6392157 h 6858000"/>
              <a:gd name="connsiteX163" fmla="*/ 10786327 w 12192000"/>
              <a:gd name="connsiteY163" fmla="*/ 6431685 h 6858000"/>
              <a:gd name="connsiteX164" fmla="*/ 10749425 w 12192000"/>
              <a:gd name="connsiteY164" fmla="*/ 6431685 h 6858000"/>
              <a:gd name="connsiteX165" fmla="*/ 11558990 w 12192000"/>
              <a:gd name="connsiteY165" fmla="*/ 6331910 h 6858000"/>
              <a:gd name="connsiteX166" fmla="*/ 11528513 w 12192000"/>
              <a:gd name="connsiteY166" fmla="*/ 6354292 h 6858000"/>
              <a:gd name="connsiteX167" fmla="*/ 11528513 w 12192000"/>
              <a:gd name="connsiteY167" fmla="*/ 6361191 h 6858000"/>
              <a:gd name="connsiteX168" fmla="*/ 11538993 w 12192000"/>
              <a:gd name="connsiteY168" fmla="*/ 6379766 h 6858000"/>
              <a:gd name="connsiteX169" fmla="*/ 11513978 w 12192000"/>
              <a:gd name="connsiteY169" fmla="*/ 6394775 h 6858000"/>
              <a:gd name="connsiteX170" fmla="*/ 11498743 w 12192000"/>
              <a:gd name="connsiteY170" fmla="*/ 6417632 h 6858000"/>
              <a:gd name="connsiteX171" fmla="*/ 11498743 w 12192000"/>
              <a:gd name="connsiteY171" fmla="*/ 6425727 h 6858000"/>
              <a:gd name="connsiteX172" fmla="*/ 11529454 w 12192000"/>
              <a:gd name="connsiteY172" fmla="*/ 6454775 h 6858000"/>
              <a:gd name="connsiteX173" fmla="*/ 11573270 w 12192000"/>
              <a:gd name="connsiteY173" fmla="*/ 6454775 h 6858000"/>
              <a:gd name="connsiteX174" fmla="*/ 11596367 w 12192000"/>
              <a:gd name="connsiteY174" fmla="*/ 6447387 h 6858000"/>
              <a:gd name="connsiteX175" fmla="*/ 11607321 w 12192000"/>
              <a:gd name="connsiteY175" fmla="*/ 6437629 h 6858000"/>
              <a:gd name="connsiteX176" fmla="*/ 11627559 w 12192000"/>
              <a:gd name="connsiteY176" fmla="*/ 6454775 h 6858000"/>
              <a:gd name="connsiteX177" fmla="*/ 11664950 w 12192000"/>
              <a:gd name="connsiteY177" fmla="*/ 6454775 h 6858000"/>
              <a:gd name="connsiteX178" fmla="*/ 11626137 w 12192000"/>
              <a:gd name="connsiteY178" fmla="*/ 6422146 h 6858000"/>
              <a:gd name="connsiteX179" fmla="*/ 11654470 w 12192000"/>
              <a:gd name="connsiteY179" fmla="*/ 6398582 h 6858000"/>
              <a:gd name="connsiteX180" fmla="*/ 11638272 w 12192000"/>
              <a:gd name="connsiteY180" fmla="*/ 6384536 h 6858000"/>
              <a:gd name="connsiteX181" fmla="*/ 11609698 w 12192000"/>
              <a:gd name="connsiteY181" fmla="*/ 6408340 h 6858000"/>
              <a:gd name="connsiteX182" fmla="*/ 11551836 w 12192000"/>
              <a:gd name="connsiteY182" fmla="*/ 6360243 h 6858000"/>
              <a:gd name="connsiteX183" fmla="*/ 11551836 w 12192000"/>
              <a:gd name="connsiteY183" fmla="*/ 6351433 h 6858000"/>
              <a:gd name="connsiteX184" fmla="*/ 11592086 w 12192000"/>
              <a:gd name="connsiteY184" fmla="*/ 6351433 h 6858000"/>
              <a:gd name="connsiteX185" fmla="*/ 11592086 w 12192000"/>
              <a:gd name="connsiteY185" fmla="*/ 6367872 h 6858000"/>
              <a:gd name="connsiteX186" fmla="*/ 11614220 w 12192000"/>
              <a:gd name="connsiteY186" fmla="*/ 6364065 h 6858000"/>
              <a:gd name="connsiteX187" fmla="*/ 11614220 w 12192000"/>
              <a:gd name="connsiteY187" fmla="*/ 6356677 h 6858000"/>
              <a:gd name="connsiteX188" fmla="*/ 11583742 w 12192000"/>
              <a:gd name="connsiteY188" fmla="*/ 6331910 h 6858000"/>
              <a:gd name="connsiteX189" fmla="*/ 10720851 w 12192000"/>
              <a:gd name="connsiteY189" fmla="*/ 6331910 h 6858000"/>
              <a:gd name="connsiteX190" fmla="*/ 10720851 w 12192000"/>
              <a:gd name="connsiteY190" fmla="*/ 6454775 h 6858000"/>
              <a:gd name="connsiteX191" fmla="*/ 10792527 w 12192000"/>
              <a:gd name="connsiteY191" fmla="*/ 6454775 h 6858000"/>
              <a:gd name="connsiteX192" fmla="*/ 10843009 w 12192000"/>
              <a:gd name="connsiteY192" fmla="*/ 6445258 h 6858000"/>
              <a:gd name="connsiteX193" fmla="*/ 10870146 w 12192000"/>
              <a:gd name="connsiteY193" fmla="*/ 6392631 h 6858000"/>
              <a:gd name="connsiteX194" fmla="*/ 10799900 w 12192000"/>
              <a:gd name="connsiteY194" fmla="*/ 6331910 h 6858000"/>
              <a:gd name="connsiteX195" fmla="*/ 0 w 12192000"/>
              <a:gd name="connsiteY195" fmla="*/ 0 h 6858000"/>
              <a:gd name="connsiteX196" fmla="*/ 12192000 w 12192000"/>
              <a:gd name="connsiteY196" fmla="*/ 0 h 6858000"/>
              <a:gd name="connsiteX197" fmla="*/ 12192000 w 12192000"/>
              <a:gd name="connsiteY197" fmla="*/ 6858000 h 6858000"/>
              <a:gd name="connsiteX198" fmla="*/ 0 w 12192000"/>
              <a:gd name="connsiteY19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</a:cxnLst>
            <a:rect l="l" t="t" r="r" b="b"/>
            <a:pathLst>
              <a:path w="12192000" h="6858000">
                <a:moveTo>
                  <a:pt x="10909343" y="6535878"/>
                </a:moveTo>
                <a:lnTo>
                  <a:pt x="10992168" y="6535878"/>
                </a:lnTo>
                <a:lnTo>
                  <a:pt x="10992168" y="6598744"/>
                </a:lnTo>
                <a:lnTo>
                  <a:pt x="10909343" y="6598744"/>
                </a:lnTo>
                <a:close/>
                <a:moveTo>
                  <a:pt x="11563256" y="6534689"/>
                </a:moveTo>
                <a:lnTo>
                  <a:pt x="11619215" y="6534689"/>
                </a:lnTo>
                <a:cubicBezTo>
                  <a:pt x="11626587" y="6534689"/>
                  <a:pt x="11630409" y="6536126"/>
                  <a:pt x="11630409" y="6542785"/>
                </a:cubicBezTo>
                <a:lnTo>
                  <a:pt x="11630409" y="6554454"/>
                </a:lnTo>
                <a:cubicBezTo>
                  <a:pt x="11630409" y="6561127"/>
                  <a:pt x="11626587" y="6562549"/>
                  <a:pt x="11619215" y="6562549"/>
                </a:cubicBezTo>
                <a:lnTo>
                  <a:pt x="11563256" y="6562549"/>
                </a:lnTo>
                <a:close/>
                <a:moveTo>
                  <a:pt x="10910306" y="6517317"/>
                </a:moveTo>
                <a:cubicBezTo>
                  <a:pt x="10890158" y="6517317"/>
                  <a:pt x="10883590" y="6521831"/>
                  <a:pt x="10883590" y="6541121"/>
                </a:cubicBezTo>
                <a:lnTo>
                  <a:pt x="10883590" y="6594222"/>
                </a:lnTo>
                <a:cubicBezTo>
                  <a:pt x="10883590" y="6613271"/>
                  <a:pt x="10889902" y="6618041"/>
                  <a:pt x="10910306" y="6618041"/>
                </a:cubicBezTo>
                <a:lnTo>
                  <a:pt x="10989730" y="6618041"/>
                </a:lnTo>
                <a:cubicBezTo>
                  <a:pt x="11009886" y="6618041"/>
                  <a:pt x="11016446" y="6613271"/>
                  <a:pt x="11016446" y="6594222"/>
                </a:cubicBezTo>
                <a:lnTo>
                  <a:pt x="11016446" y="6541121"/>
                </a:lnTo>
                <a:cubicBezTo>
                  <a:pt x="11016446" y="6521831"/>
                  <a:pt x="11009878" y="6517317"/>
                  <a:pt x="10989730" y="6517317"/>
                </a:cubicBezTo>
                <a:close/>
                <a:moveTo>
                  <a:pt x="11538985" y="6517310"/>
                </a:moveTo>
                <a:lnTo>
                  <a:pt x="11538985" y="6618034"/>
                </a:lnTo>
                <a:lnTo>
                  <a:pt x="11563263" y="6618034"/>
                </a:lnTo>
                <a:lnTo>
                  <a:pt x="11563263" y="6579928"/>
                </a:lnTo>
                <a:lnTo>
                  <a:pt x="11586360" y="6579928"/>
                </a:lnTo>
                <a:lnTo>
                  <a:pt x="11628506" y="6618034"/>
                </a:lnTo>
                <a:lnTo>
                  <a:pt x="11663753" y="6618034"/>
                </a:lnTo>
                <a:lnTo>
                  <a:pt x="11615897" y="6579928"/>
                </a:lnTo>
                <a:lnTo>
                  <a:pt x="11629710" y="6579928"/>
                </a:lnTo>
                <a:cubicBezTo>
                  <a:pt x="11645892" y="6579928"/>
                  <a:pt x="11653280" y="6574451"/>
                  <a:pt x="11653280" y="6560638"/>
                </a:cubicBezTo>
                <a:lnTo>
                  <a:pt x="11653280" y="6536834"/>
                </a:lnTo>
                <a:cubicBezTo>
                  <a:pt x="11653280" y="6522787"/>
                  <a:pt x="11645892" y="6517310"/>
                  <a:pt x="11629710" y="6517310"/>
                </a:cubicBezTo>
                <a:close/>
                <a:moveTo>
                  <a:pt x="11401645" y="6517310"/>
                </a:moveTo>
                <a:lnTo>
                  <a:pt x="11401645" y="6618034"/>
                </a:lnTo>
                <a:lnTo>
                  <a:pt x="11513119" y="6618034"/>
                </a:lnTo>
                <a:lnTo>
                  <a:pt x="11513119" y="6599218"/>
                </a:lnTo>
                <a:lnTo>
                  <a:pt x="11426909" y="6599218"/>
                </a:lnTo>
                <a:lnTo>
                  <a:pt x="11426909" y="6574451"/>
                </a:lnTo>
                <a:lnTo>
                  <a:pt x="11476458" y="6574451"/>
                </a:lnTo>
                <a:lnTo>
                  <a:pt x="11476458" y="6557072"/>
                </a:lnTo>
                <a:lnTo>
                  <a:pt x="11426909" y="6557072"/>
                </a:lnTo>
                <a:lnTo>
                  <a:pt x="11426909" y="6535178"/>
                </a:lnTo>
                <a:lnTo>
                  <a:pt x="11511908" y="6535178"/>
                </a:lnTo>
                <a:lnTo>
                  <a:pt x="11511908" y="6517310"/>
                </a:lnTo>
                <a:close/>
                <a:moveTo>
                  <a:pt x="11225454" y="6517310"/>
                </a:moveTo>
                <a:lnTo>
                  <a:pt x="11225454" y="6618034"/>
                </a:lnTo>
                <a:lnTo>
                  <a:pt x="11248423" y="6618034"/>
                </a:lnTo>
                <a:lnTo>
                  <a:pt x="11248423" y="6550413"/>
                </a:lnTo>
                <a:lnTo>
                  <a:pt x="11294805" y="6605891"/>
                </a:lnTo>
                <a:lnTo>
                  <a:pt x="11299665" y="6605891"/>
                </a:lnTo>
                <a:lnTo>
                  <a:pt x="11345558" y="6548736"/>
                </a:lnTo>
                <a:lnTo>
                  <a:pt x="11345558" y="6618034"/>
                </a:lnTo>
                <a:lnTo>
                  <a:pt x="11368873" y="6618034"/>
                </a:lnTo>
                <a:lnTo>
                  <a:pt x="11368873" y="6517310"/>
                </a:lnTo>
                <a:lnTo>
                  <a:pt x="11348725" y="6517310"/>
                </a:lnTo>
                <a:lnTo>
                  <a:pt x="11298687" y="6577069"/>
                </a:lnTo>
                <a:lnTo>
                  <a:pt x="11248423" y="6517310"/>
                </a:lnTo>
                <a:close/>
                <a:moveTo>
                  <a:pt x="11048135" y="6517310"/>
                </a:moveTo>
                <a:lnTo>
                  <a:pt x="11048135" y="6618034"/>
                </a:lnTo>
                <a:lnTo>
                  <a:pt x="11071096" y="6618034"/>
                </a:lnTo>
                <a:lnTo>
                  <a:pt x="11071096" y="6550413"/>
                </a:lnTo>
                <a:lnTo>
                  <a:pt x="11117478" y="6605891"/>
                </a:lnTo>
                <a:lnTo>
                  <a:pt x="11122331" y="6605891"/>
                </a:lnTo>
                <a:lnTo>
                  <a:pt x="11168239" y="6548736"/>
                </a:lnTo>
                <a:lnTo>
                  <a:pt x="11168239" y="6618034"/>
                </a:lnTo>
                <a:lnTo>
                  <a:pt x="11191554" y="6618034"/>
                </a:lnTo>
                <a:lnTo>
                  <a:pt x="11191554" y="6517310"/>
                </a:lnTo>
                <a:lnTo>
                  <a:pt x="11171399" y="6517310"/>
                </a:lnTo>
                <a:lnTo>
                  <a:pt x="11121368" y="6577069"/>
                </a:lnTo>
                <a:lnTo>
                  <a:pt x="11071096" y="6517310"/>
                </a:lnTo>
                <a:close/>
                <a:moveTo>
                  <a:pt x="10752277" y="6495161"/>
                </a:moveTo>
                <a:cubicBezTo>
                  <a:pt x="10729180" y="6495161"/>
                  <a:pt x="10721799" y="6501112"/>
                  <a:pt x="10721799" y="6524217"/>
                </a:cubicBezTo>
                <a:lnTo>
                  <a:pt x="10721799" y="6537774"/>
                </a:lnTo>
                <a:cubicBezTo>
                  <a:pt x="10721799" y="6560878"/>
                  <a:pt x="10729187" y="6566829"/>
                  <a:pt x="10752277" y="6566829"/>
                </a:cubicBezTo>
                <a:lnTo>
                  <a:pt x="10828955" y="6566829"/>
                </a:lnTo>
                <a:lnTo>
                  <a:pt x="10828955" y="6594929"/>
                </a:lnTo>
                <a:lnTo>
                  <a:pt x="10742052" y="6594929"/>
                </a:lnTo>
                <a:lnTo>
                  <a:pt x="10742052" y="6581703"/>
                </a:lnTo>
                <a:lnTo>
                  <a:pt x="10716796" y="6586947"/>
                </a:lnTo>
                <a:lnTo>
                  <a:pt x="10716796" y="6588978"/>
                </a:lnTo>
                <a:cubicBezTo>
                  <a:pt x="10716796" y="6612075"/>
                  <a:pt x="10724417" y="6618026"/>
                  <a:pt x="10747514" y="6618026"/>
                </a:cubicBezTo>
                <a:lnTo>
                  <a:pt x="10823486" y="6618026"/>
                </a:lnTo>
                <a:cubicBezTo>
                  <a:pt x="10846583" y="6618026"/>
                  <a:pt x="10854204" y="6612075"/>
                  <a:pt x="10854204" y="6588978"/>
                </a:cubicBezTo>
                <a:lnTo>
                  <a:pt x="10854204" y="6572073"/>
                </a:lnTo>
                <a:cubicBezTo>
                  <a:pt x="10854204" y="6548969"/>
                  <a:pt x="10846583" y="6543018"/>
                  <a:pt x="10823486" y="6543018"/>
                </a:cubicBezTo>
                <a:lnTo>
                  <a:pt x="10746799" y="6543018"/>
                </a:lnTo>
                <a:lnTo>
                  <a:pt x="10746799" y="6516595"/>
                </a:lnTo>
                <a:lnTo>
                  <a:pt x="10827285" y="6516595"/>
                </a:lnTo>
                <a:lnTo>
                  <a:pt x="10827285" y="6529904"/>
                </a:lnTo>
                <a:lnTo>
                  <a:pt x="10852526" y="6523953"/>
                </a:lnTo>
                <a:lnTo>
                  <a:pt x="10852526" y="6522073"/>
                </a:lnTo>
                <a:cubicBezTo>
                  <a:pt x="10852526" y="6500871"/>
                  <a:pt x="10843957" y="6495161"/>
                  <a:pt x="10822049" y="6495161"/>
                </a:cubicBezTo>
                <a:close/>
                <a:moveTo>
                  <a:pt x="11554221" y="6392872"/>
                </a:moveTo>
                <a:lnTo>
                  <a:pt x="11591123" y="6423590"/>
                </a:lnTo>
                <a:lnTo>
                  <a:pt x="11579695" y="6433348"/>
                </a:lnTo>
                <a:lnTo>
                  <a:pt x="11522795" y="6433348"/>
                </a:lnTo>
                <a:lnTo>
                  <a:pt x="11522795" y="6433341"/>
                </a:lnTo>
                <a:lnTo>
                  <a:pt x="11522795" y="6412395"/>
                </a:lnTo>
                <a:close/>
                <a:moveTo>
                  <a:pt x="10923532" y="6371438"/>
                </a:moveTo>
                <a:lnTo>
                  <a:pt x="10979491" y="6371438"/>
                </a:lnTo>
                <a:cubicBezTo>
                  <a:pt x="10986864" y="6371438"/>
                  <a:pt x="10990685" y="6372875"/>
                  <a:pt x="10990685" y="6379533"/>
                </a:cubicBezTo>
                <a:lnTo>
                  <a:pt x="10990685" y="6391202"/>
                </a:lnTo>
                <a:cubicBezTo>
                  <a:pt x="10990685" y="6397875"/>
                  <a:pt x="10986864" y="6399297"/>
                  <a:pt x="10979491" y="6399297"/>
                </a:cubicBezTo>
                <a:lnTo>
                  <a:pt x="10923532" y="6399297"/>
                </a:lnTo>
                <a:close/>
                <a:moveTo>
                  <a:pt x="11349305" y="6354059"/>
                </a:moveTo>
                <a:cubicBezTo>
                  <a:pt x="11329541" y="6354059"/>
                  <a:pt x="11322868" y="6358829"/>
                  <a:pt x="11322868" y="6377878"/>
                </a:cubicBezTo>
                <a:lnTo>
                  <a:pt x="11322868" y="6389073"/>
                </a:lnTo>
                <a:cubicBezTo>
                  <a:pt x="11322868" y="6408122"/>
                  <a:pt x="11329541" y="6412877"/>
                  <a:pt x="11349305" y="6412877"/>
                </a:cubicBezTo>
                <a:lnTo>
                  <a:pt x="11414541" y="6412877"/>
                </a:lnTo>
                <a:lnTo>
                  <a:pt x="11414541" y="6435982"/>
                </a:lnTo>
                <a:lnTo>
                  <a:pt x="11340480" y="6435982"/>
                </a:lnTo>
                <a:lnTo>
                  <a:pt x="11340480" y="6425374"/>
                </a:lnTo>
                <a:lnTo>
                  <a:pt x="11318587" y="6429429"/>
                </a:lnTo>
                <a:lnTo>
                  <a:pt x="11318587" y="6430979"/>
                </a:lnTo>
                <a:cubicBezTo>
                  <a:pt x="11318587" y="6449795"/>
                  <a:pt x="11325012" y="6454783"/>
                  <a:pt x="11345009" y="6454783"/>
                </a:cubicBezTo>
                <a:lnTo>
                  <a:pt x="11410501" y="6454783"/>
                </a:lnTo>
                <a:cubicBezTo>
                  <a:pt x="11430498" y="6454783"/>
                  <a:pt x="11436690" y="6449795"/>
                  <a:pt x="11436690" y="6430979"/>
                </a:cubicBezTo>
                <a:lnTo>
                  <a:pt x="11436690" y="6417165"/>
                </a:lnTo>
                <a:cubicBezTo>
                  <a:pt x="11436690" y="6398116"/>
                  <a:pt x="11430506" y="6393361"/>
                  <a:pt x="11410501" y="6393361"/>
                </a:cubicBezTo>
                <a:lnTo>
                  <a:pt x="11345009" y="6393361"/>
                </a:lnTo>
                <a:lnTo>
                  <a:pt x="11345009" y="6372153"/>
                </a:lnTo>
                <a:lnTo>
                  <a:pt x="11414300" y="6372153"/>
                </a:lnTo>
                <a:lnTo>
                  <a:pt x="11414300" y="6381564"/>
                </a:lnTo>
                <a:lnTo>
                  <a:pt x="11435486" y="6377050"/>
                </a:lnTo>
                <a:lnTo>
                  <a:pt x="11435486" y="6375967"/>
                </a:lnTo>
                <a:cubicBezTo>
                  <a:pt x="11435486" y="6358355"/>
                  <a:pt x="11427639" y="6354059"/>
                  <a:pt x="11409064" y="6354059"/>
                </a:cubicBezTo>
                <a:close/>
                <a:moveTo>
                  <a:pt x="11184971" y="6354059"/>
                </a:moveTo>
                <a:lnTo>
                  <a:pt x="11184971" y="6454775"/>
                </a:lnTo>
                <a:lnTo>
                  <a:pt x="11294264" y="6454775"/>
                </a:lnTo>
                <a:lnTo>
                  <a:pt x="11294264" y="6435966"/>
                </a:lnTo>
                <a:lnTo>
                  <a:pt x="11209738" y="6435966"/>
                </a:lnTo>
                <a:lnTo>
                  <a:pt x="11209738" y="6411199"/>
                </a:lnTo>
                <a:lnTo>
                  <a:pt x="11258310" y="6411199"/>
                </a:lnTo>
                <a:lnTo>
                  <a:pt x="11258310" y="6393820"/>
                </a:lnTo>
                <a:lnTo>
                  <a:pt x="11209738" y="6393820"/>
                </a:lnTo>
                <a:lnTo>
                  <a:pt x="11209738" y="6371912"/>
                </a:lnTo>
                <a:lnTo>
                  <a:pt x="11293083" y="6371912"/>
                </a:lnTo>
                <a:lnTo>
                  <a:pt x="11293083" y="6354059"/>
                </a:lnTo>
                <a:close/>
                <a:moveTo>
                  <a:pt x="11047262" y="6354059"/>
                </a:moveTo>
                <a:lnTo>
                  <a:pt x="11047262" y="6454775"/>
                </a:lnTo>
                <a:lnTo>
                  <a:pt x="11156555" y="6454775"/>
                </a:lnTo>
                <a:lnTo>
                  <a:pt x="11156555" y="6435966"/>
                </a:lnTo>
                <a:lnTo>
                  <a:pt x="11072029" y="6435966"/>
                </a:lnTo>
                <a:lnTo>
                  <a:pt x="11072029" y="6411199"/>
                </a:lnTo>
                <a:lnTo>
                  <a:pt x="11120601" y="6411199"/>
                </a:lnTo>
                <a:lnTo>
                  <a:pt x="11120601" y="6393820"/>
                </a:lnTo>
                <a:lnTo>
                  <a:pt x="11072029" y="6393820"/>
                </a:lnTo>
                <a:lnTo>
                  <a:pt x="11072029" y="6371912"/>
                </a:lnTo>
                <a:lnTo>
                  <a:pt x="11155374" y="6371912"/>
                </a:lnTo>
                <a:lnTo>
                  <a:pt x="11155374" y="6354059"/>
                </a:lnTo>
                <a:close/>
                <a:moveTo>
                  <a:pt x="10899246" y="6354059"/>
                </a:moveTo>
                <a:lnTo>
                  <a:pt x="10899246" y="6454775"/>
                </a:lnTo>
                <a:lnTo>
                  <a:pt x="10923539" y="6454775"/>
                </a:lnTo>
                <a:lnTo>
                  <a:pt x="10923539" y="6416669"/>
                </a:lnTo>
                <a:lnTo>
                  <a:pt x="10946636" y="6416669"/>
                </a:lnTo>
                <a:lnTo>
                  <a:pt x="10988782" y="6454775"/>
                </a:lnTo>
                <a:lnTo>
                  <a:pt x="11024029" y="6454775"/>
                </a:lnTo>
                <a:lnTo>
                  <a:pt x="10976158" y="6416669"/>
                </a:lnTo>
                <a:lnTo>
                  <a:pt x="10989971" y="6416669"/>
                </a:lnTo>
                <a:cubicBezTo>
                  <a:pt x="11006169" y="6416669"/>
                  <a:pt x="11013549" y="6411192"/>
                  <a:pt x="11013549" y="6397394"/>
                </a:cubicBezTo>
                <a:lnTo>
                  <a:pt x="11013549" y="6373582"/>
                </a:lnTo>
                <a:cubicBezTo>
                  <a:pt x="11013549" y="6359536"/>
                  <a:pt x="11006161" y="6354059"/>
                  <a:pt x="10989971" y="6354059"/>
                </a:cubicBezTo>
                <a:close/>
                <a:moveTo>
                  <a:pt x="10749425" y="6353818"/>
                </a:moveTo>
                <a:lnTo>
                  <a:pt x="10800140" y="6353818"/>
                </a:lnTo>
                <a:cubicBezTo>
                  <a:pt x="10827052" y="6353818"/>
                  <a:pt x="10840624" y="6367157"/>
                  <a:pt x="10840624" y="6392157"/>
                </a:cubicBezTo>
                <a:cubicBezTo>
                  <a:pt x="10840624" y="6422635"/>
                  <a:pt x="10822523" y="6431685"/>
                  <a:pt x="10786327" y="6431685"/>
                </a:cubicBezTo>
                <a:lnTo>
                  <a:pt x="10749425" y="6431685"/>
                </a:lnTo>
                <a:close/>
                <a:moveTo>
                  <a:pt x="11558990" y="6331910"/>
                </a:moveTo>
                <a:cubicBezTo>
                  <a:pt x="11538030" y="6331910"/>
                  <a:pt x="11528513" y="6336680"/>
                  <a:pt x="11528513" y="6354292"/>
                </a:cubicBezTo>
                <a:lnTo>
                  <a:pt x="11528513" y="6361191"/>
                </a:lnTo>
                <a:cubicBezTo>
                  <a:pt x="11528513" y="6368338"/>
                  <a:pt x="11531846" y="6373815"/>
                  <a:pt x="11538993" y="6379766"/>
                </a:cubicBezTo>
                <a:lnTo>
                  <a:pt x="11513978" y="6394775"/>
                </a:lnTo>
                <a:cubicBezTo>
                  <a:pt x="11503272" y="6401201"/>
                  <a:pt x="11498743" y="6405007"/>
                  <a:pt x="11498743" y="6417632"/>
                </a:cubicBezTo>
                <a:lnTo>
                  <a:pt x="11498743" y="6425727"/>
                </a:lnTo>
                <a:cubicBezTo>
                  <a:pt x="11498743" y="6448824"/>
                  <a:pt x="11506364" y="6454775"/>
                  <a:pt x="11529454" y="6454775"/>
                </a:cubicBezTo>
                <a:lnTo>
                  <a:pt x="11573270" y="6454775"/>
                </a:lnTo>
                <a:cubicBezTo>
                  <a:pt x="11583502" y="6454775"/>
                  <a:pt x="11588505" y="6454301"/>
                  <a:pt x="11596367" y="6447387"/>
                </a:cubicBezTo>
                <a:lnTo>
                  <a:pt x="11607321" y="6437629"/>
                </a:lnTo>
                <a:lnTo>
                  <a:pt x="11627559" y="6454775"/>
                </a:lnTo>
                <a:lnTo>
                  <a:pt x="11664950" y="6454775"/>
                </a:lnTo>
                <a:lnTo>
                  <a:pt x="11626137" y="6422146"/>
                </a:lnTo>
                <a:lnTo>
                  <a:pt x="11654470" y="6398582"/>
                </a:lnTo>
                <a:lnTo>
                  <a:pt x="11638272" y="6384536"/>
                </a:lnTo>
                <a:lnTo>
                  <a:pt x="11609698" y="6408340"/>
                </a:lnTo>
                <a:lnTo>
                  <a:pt x="11551836" y="6360243"/>
                </a:lnTo>
                <a:lnTo>
                  <a:pt x="11551836" y="6351433"/>
                </a:lnTo>
                <a:lnTo>
                  <a:pt x="11592086" y="6351433"/>
                </a:lnTo>
                <a:lnTo>
                  <a:pt x="11592086" y="6367872"/>
                </a:lnTo>
                <a:lnTo>
                  <a:pt x="11614220" y="6364065"/>
                </a:lnTo>
                <a:lnTo>
                  <a:pt x="11614220" y="6356677"/>
                </a:lnTo>
                <a:cubicBezTo>
                  <a:pt x="11614220" y="6336680"/>
                  <a:pt x="11605884" y="6331910"/>
                  <a:pt x="11583742" y="6331910"/>
                </a:cubicBezTo>
                <a:close/>
                <a:moveTo>
                  <a:pt x="10720851" y="6331910"/>
                </a:moveTo>
                <a:lnTo>
                  <a:pt x="10720851" y="6454775"/>
                </a:lnTo>
                <a:lnTo>
                  <a:pt x="10792527" y="6454775"/>
                </a:lnTo>
                <a:cubicBezTo>
                  <a:pt x="10814420" y="6454775"/>
                  <a:pt x="10831092" y="6452631"/>
                  <a:pt x="10843009" y="6445258"/>
                </a:cubicBezTo>
                <a:cubicBezTo>
                  <a:pt x="10860155" y="6434778"/>
                  <a:pt x="10870146" y="6415728"/>
                  <a:pt x="10870146" y="6392631"/>
                </a:cubicBezTo>
                <a:cubicBezTo>
                  <a:pt x="10870146" y="6354533"/>
                  <a:pt x="10845868" y="6331910"/>
                  <a:pt x="10799900" y="6331910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7" name="text">
            <a:extLst>
              <a:ext uri="{FF2B5EF4-FFF2-40B4-BE49-F238E27FC236}">
                <a16:creationId xmlns:a16="http://schemas.microsoft.com/office/drawing/2014/main" id="{76947769-F1C5-46D2-A578-B46158BB445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8049600" y="0"/>
            <a:ext cx="3616800" cy="3472867"/>
          </a:xfrm>
          <a:solidFill>
            <a:schemeClr val="bg1"/>
          </a:solidFill>
        </p:spPr>
        <p:txBody>
          <a:bodyPr wrap="square" lIns="216000" tIns="1602000" rIns="216000" bIns="43200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FFCB50B-5503-4467-8A0F-9FBB8B48B97D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049600" y="673200"/>
            <a:ext cx="3616800" cy="864000"/>
          </a:xfrm>
        </p:spPr>
        <p:txBody>
          <a:bodyPr lIns="216000" tIns="0" rIns="216000" bIns="0" anchor="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70" name="logo drees&amp;sommer white">
            <a:extLst>
              <a:ext uri="{FF2B5EF4-FFF2-40B4-BE49-F238E27FC236}">
                <a16:creationId xmlns:a16="http://schemas.microsoft.com/office/drawing/2014/main" id="{91489C11-500C-4D1E-AF15-60A75D6E0BE0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716797" y="6330042"/>
            <a:ext cx="946800" cy="2880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15875" cap="flat">
            <a:noFill/>
            <a:prstDash val="lgDash"/>
          </a:ln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de-DE"/>
              <a:t>Mediaclip durch Klicken auf Symbol hinzufügen</a:t>
            </a:r>
            <a:endParaRPr lang="de-DE" dirty="0"/>
          </a:p>
        </p:txBody>
      </p:sp>
      <p:sp>
        <p:nvSpPr>
          <p:cNvPr id="12" name="info">
            <a:extLst>
              <a:ext uri="{FF2B5EF4-FFF2-40B4-BE49-F238E27FC236}">
                <a16:creationId xmlns:a16="http://schemas.microsoft.com/office/drawing/2014/main" id="{FDED0E34-B1F8-4BF9-A7A8-F9D9C266D113}"/>
              </a:ext>
            </a:extLst>
          </p:cNvPr>
          <p:cNvSpPr/>
          <p:nvPr/>
        </p:nvSpPr>
        <p:spPr bwMode="gray">
          <a:xfrm flipH="1">
            <a:off x="12247320" y="6288645"/>
            <a:ext cx="1579616" cy="370793"/>
          </a:xfrm>
          <a:prstGeom prst="homePlate">
            <a:avLst/>
          </a:prstGeom>
          <a:solidFill>
            <a:srgbClr val="0029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36000" rtlCol="0" anchor="ctr">
            <a:spAutoFit/>
          </a:bodyPr>
          <a:lstStyle/>
          <a:p>
            <a:pPr algn="ctr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sz="1050" dirty="0">
                <a:solidFill>
                  <a:schemeClr val="bg1"/>
                </a:solidFill>
              </a:rPr>
              <a:t>delete the white logo </a:t>
            </a:r>
            <a:br>
              <a:rPr lang="en-US" sz="1050" dirty="0">
                <a:solidFill>
                  <a:schemeClr val="bg1"/>
                </a:solidFill>
              </a:rPr>
            </a:br>
            <a:r>
              <a:rPr lang="en-US" sz="1050" dirty="0">
                <a:solidFill>
                  <a:schemeClr val="bg1"/>
                </a:solidFill>
              </a:rPr>
              <a:t>to get the BLUE LOGO</a:t>
            </a:r>
            <a:endParaRPr lang="de-DE" sz="1050" dirty="0">
              <a:solidFill>
                <a:schemeClr val="bg1"/>
              </a:solidFill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90B54C2D-8235-4852-8EB7-5E05529B24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525600" y="7200000"/>
            <a:ext cx="234000" cy="180000"/>
          </a:xfrm>
        </p:spPr>
        <p:txBody>
          <a:bodyPr lIns="0" tIns="0" rIns="0" bIns="0"/>
          <a:lstStyle/>
          <a:p>
            <a:fld id="{9829449A-3FF3-45CE-9F4F-09BADC0910C6}" type="slidenum">
              <a:rPr lang="de-DE" noProof="0"/>
              <a:t>‹Nr.›</a:t>
            </a:fld>
            <a:endParaRPr lang="de-DE" noProof="0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A4534FC4-D037-44B0-B266-D9E820FC1D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763200" y="7200000"/>
            <a:ext cx="7880400" cy="180000"/>
          </a:xfrm>
        </p:spPr>
        <p:txBody>
          <a:bodyPr lIns="0" tIns="0" rIns="0" bIns="0"/>
          <a:lstStyle/>
          <a:p>
            <a:endParaRPr lang="de-DE" noProof="0" dirty="0"/>
          </a:p>
        </p:txBody>
      </p:sp>
      <p:grpSp>
        <p:nvGrpSpPr>
          <p:cNvPr id="3" name="info">
            <a:extLst>
              <a:ext uri="{FF2B5EF4-FFF2-40B4-BE49-F238E27FC236}">
                <a16:creationId xmlns:a16="http://schemas.microsoft.com/office/drawing/2014/main" id="{DCE866D2-97AD-F0D7-5301-BC57EBF0A932}"/>
              </a:ext>
            </a:extLst>
          </p:cNvPr>
          <p:cNvGrpSpPr/>
          <p:nvPr/>
        </p:nvGrpSpPr>
        <p:grpSpPr>
          <a:xfrm>
            <a:off x="12247320" y="3143250"/>
            <a:ext cx="1579616" cy="2823211"/>
            <a:chOff x="12399720" y="2598103"/>
            <a:chExt cx="1579616" cy="2823211"/>
          </a:xfrm>
          <a:solidFill>
            <a:srgbClr val="002965"/>
          </a:solidFill>
        </p:grpSpPr>
        <p:sp>
          <p:nvSpPr>
            <p:cNvPr id="4" name="info">
              <a:extLst>
                <a:ext uri="{FF2B5EF4-FFF2-40B4-BE49-F238E27FC236}">
                  <a16:creationId xmlns:a16="http://schemas.microsoft.com/office/drawing/2014/main" id="{2C078934-652F-349A-A5C6-CFA376B847F8}"/>
                </a:ext>
              </a:extLst>
            </p:cNvPr>
            <p:cNvSpPr/>
            <p:nvPr userDrawn="1"/>
          </p:nvSpPr>
          <p:spPr bwMode="gray">
            <a:xfrm flipH="1">
              <a:off x="12399720" y="4947928"/>
              <a:ext cx="1579616" cy="473385"/>
            </a:xfrm>
            <a:prstGeom prst="homePlat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36000" rtlCol="0" anchor="ctr">
              <a:spAutoFit/>
            </a:bodyPr>
            <a:lstStyle/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 dirty="0">
                <a:solidFill>
                  <a:schemeClr val="tx2"/>
                </a:solidFill>
              </a:endParaRPr>
            </a:p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 dirty="0">
                <a:solidFill>
                  <a:schemeClr val="tx2"/>
                </a:solidFill>
              </a:endParaRPr>
            </a:p>
          </p:txBody>
        </p:sp>
        <p:sp>
          <p:nvSpPr>
            <p:cNvPr id="8" name="info">
              <a:extLst>
                <a:ext uri="{FF2B5EF4-FFF2-40B4-BE49-F238E27FC236}">
                  <a16:creationId xmlns:a16="http://schemas.microsoft.com/office/drawing/2014/main" id="{F4A839BD-7DE9-8579-8EA4-D029EE8EF9E5}"/>
                </a:ext>
              </a:extLst>
            </p:cNvPr>
            <p:cNvSpPr/>
            <p:nvPr userDrawn="1"/>
          </p:nvSpPr>
          <p:spPr bwMode="gray">
            <a:xfrm flipH="1">
              <a:off x="12634899" y="2598103"/>
              <a:ext cx="1344423" cy="28232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36000" rtlCol="0" anchor="t">
              <a:noAutofit/>
            </a:bodyPr>
            <a:lstStyle/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b="1" cap="all" dirty="0">
                  <a:solidFill>
                    <a:schemeClr val="bg1"/>
                  </a:solidFill>
                </a:rPr>
                <a:t>image credit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b="1" dirty="0">
                  <a:solidFill>
                    <a:schemeClr val="bg1"/>
                  </a:solidFill>
                </a:rPr>
                <a:t>Always include</a:t>
              </a:r>
              <a:br>
                <a:rPr lang="en-US" sz="1050" b="1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redit!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How to get 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redit </a:t>
              </a:r>
              <a:r>
                <a:rPr lang="en-US" sz="1050" b="1" dirty="0">
                  <a:solidFill>
                    <a:schemeClr val="bg1"/>
                  </a:solidFill>
                </a:rPr>
                <a:t>placeholder</a:t>
              </a:r>
              <a:r>
                <a:rPr lang="en-US" sz="1050" dirty="0">
                  <a:solidFill>
                    <a:schemeClr val="bg1"/>
                  </a:solidFill>
                </a:rPr>
                <a:t>: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&gt; empower menu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&gt; text elements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&gt; depending on 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hoose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“</a:t>
              </a:r>
              <a:r>
                <a:rPr lang="en-US" sz="1050" b="1" dirty="0">
                  <a:solidFill>
                    <a:schemeClr val="bg1"/>
                  </a:solidFill>
                </a:rPr>
                <a:t>Copyright right/left grey</a:t>
              </a:r>
              <a:r>
                <a:rPr lang="en-US" sz="1050" dirty="0">
                  <a:solidFill>
                    <a:schemeClr val="bg1"/>
                  </a:solidFill>
                </a:rPr>
                <a:t>” 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or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“</a:t>
              </a:r>
              <a:r>
                <a:rPr lang="en-US" sz="1050" b="1" dirty="0">
                  <a:solidFill>
                    <a:schemeClr val="bg1"/>
                  </a:solidFill>
                </a:rPr>
                <a:t>Copyright right/left white</a:t>
              </a:r>
              <a:r>
                <a:rPr lang="en-US" sz="1050" dirty="0">
                  <a:solidFill>
                    <a:schemeClr val="bg1"/>
                  </a:solidFill>
                </a:rPr>
                <a:t>”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95549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2" pos="507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p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 grey">
            <a:extLst>
              <a:ext uri="{FF2B5EF4-FFF2-40B4-BE49-F238E27FC236}">
                <a16:creationId xmlns:a16="http://schemas.microsoft.com/office/drawing/2014/main" id="{601226B0-B5A9-49D1-A3DA-8469D6E529BC}"/>
              </a:ext>
            </a:extLst>
          </p:cNvPr>
          <p:cNvSpPr/>
          <p:nvPr/>
        </p:nvSpPr>
        <p:spPr bwMode="gray">
          <a:xfrm>
            <a:off x="0" y="0"/>
            <a:ext cx="12192000" cy="6098401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de-DE" sz="1400" dirty="0"/>
          </a:p>
        </p:txBody>
      </p:sp>
      <p:sp>
        <p:nvSpPr>
          <p:cNvPr id="10" name="picture">
            <a:extLst>
              <a:ext uri="{FF2B5EF4-FFF2-40B4-BE49-F238E27FC236}">
                <a16:creationId xmlns:a16="http://schemas.microsoft.com/office/drawing/2014/main" id="{76533136-822A-4672-82A6-5B4464AD390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0" y="1"/>
            <a:ext cx="7896023" cy="6858000"/>
          </a:xfrm>
          <a:pattFill prst="lt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7" name="text">
            <a:extLst>
              <a:ext uri="{FF2B5EF4-FFF2-40B4-BE49-F238E27FC236}">
                <a16:creationId xmlns:a16="http://schemas.microsoft.com/office/drawing/2014/main" id="{76947769-F1C5-46D2-A578-B46158BB445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7290798" y="0"/>
            <a:ext cx="4365332" cy="2774876"/>
          </a:xfrm>
          <a:solidFill>
            <a:schemeClr val="bg1"/>
          </a:solidFill>
        </p:spPr>
        <p:txBody>
          <a:bodyPr wrap="square" lIns="216000" tIns="1335600" rIns="216000" bIns="432000">
            <a:spAutoFit/>
          </a:bodyPr>
          <a:lstStyle>
            <a:lvl1pPr>
              <a:spcBef>
                <a:spcPts val="0"/>
              </a:spcBef>
              <a:spcAft>
                <a:spcPts val="400"/>
              </a:spcAft>
              <a:defRPr>
                <a:solidFill>
                  <a:schemeClr val="tx1"/>
                </a:solidFill>
              </a:defRPr>
            </a:lvl1pPr>
            <a:lvl2pPr marL="0" indent="0">
              <a:spcBef>
                <a:spcPts val="400"/>
              </a:spcBef>
              <a:spcAft>
                <a:spcPts val="0"/>
              </a:spcAft>
              <a:buFontTx/>
              <a:buNone/>
              <a:defRPr b="1">
                <a:solidFill>
                  <a:schemeClr val="tx1"/>
                </a:solidFill>
              </a:defRPr>
            </a:lvl2pPr>
            <a:lvl3pPr marL="216000" indent="-21600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3pPr>
            <a:lvl4pPr marL="432000" indent="-2160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FFCB50B-5503-4467-8A0F-9FBB8B48B97D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7290798" y="673200"/>
            <a:ext cx="4365332" cy="518625"/>
          </a:xfrm>
        </p:spPr>
        <p:txBody>
          <a:bodyPr lIns="216000" tIns="0" rIns="216000" bIns="0" anchor="t"/>
          <a:lstStyle>
            <a:lvl1pPr>
              <a:defRPr sz="18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90B54C2D-8235-4852-8EB7-5E05529B24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525600" y="7200000"/>
            <a:ext cx="234000" cy="180000"/>
          </a:xfrm>
        </p:spPr>
        <p:txBody>
          <a:bodyPr lIns="0" tIns="0" rIns="0" bIns="0"/>
          <a:lstStyle/>
          <a:p>
            <a:fld id="{9829449A-3FF3-45CE-9F4F-09BADC0910C6}" type="slidenum">
              <a:rPr lang="de-DE" noProof="0"/>
              <a:t>‹Nr.›</a:t>
            </a:fld>
            <a:endParaRPr lang="de-DE" noProof="0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A4534FC4-D037-44B0-B266-D9E820FC1D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763200" y="7200000"/>
            <a:ext cx="7880400" cy="180000"/>
          </a:xfrm>
        </p:spPr>
        <p:txBody>
          <a:bodyPr lIns="0" tIns="0" rIns="0" bIns="0"/>
          <a:lstStyle/>
          <a:p>
            <a:endParaRPr lang="de-DE" noProof="0" dirty="0"/>
          </a:p>
        </p:txBody>
      </p:sp>
      <p:grpSp>
        <p:nvGrpSpPr>
          <p:cNvPr id="4" name="info">
            <a:extLst>
              <a:ext uri="{FF2B5EF4-FFF2-40B4-BE49-F238E27FC236}">
                <a16:creationId xmlns:a16="http://schemas.microsoft.com/office/drawing/2014/main" id="{D28727B0-458C-8834-D20D-6FFA6D5FA9F9}"/>
              </a:ext>
            </a:extLst>
          </p:cNvPr>
          <p:cNvGrpSpPr/>
          <p:nvPr/>
        </p:nvGrpSpPr>
        <p:grpSpPr>
          <a:xfrm flipH="1">
            <a:off x="-1729937" y="3143250"/>
            <a:ext cx="1579616" cy="2823211"/>
            <a:chOff x="12399720" y="2598103"/>
            <a:chExt cx="1579616" cy="2823211"/>
          </a:xfrm>
          <a:solidFill>
            <a:srgbClr val="002965"/>
          </a:solidFill>
        </p:grpSpPr>
        <p:sp>
          <p:nvSpPr>
            <p:cNvPr id="8" name="info">
              <a:extLst>
                <a:ext uri="{FF2B5EF4-FFF2-40B4-BE49-F238E27FC236}">
                  <a16:creationId xmlns:a16="http://schemas.microsoft.com/office/drawing/2014/main" id="{9059B8F2-0AD6-93F7-D3CF-D6628E3D38D3}"/>
                </a:ext>
              </a:extLst>
            </p:cNvPr>
            <p:cNvSpPr/>
            <p:nvPr userDrawn="1"/>
          </p:nvSpPr>
          <p:spPr bwMode="gray">
            <a:xfrm flipH="1">
              <a:off x="12399720" y="4947928"/>
              <a:ext cx="1579616" cy="473385"/>
            </a:xfrm>
            <a:prstGeom prst="homePlat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36000" rtlCol="0" anchor="ctr">
              <a:spAutoFit/>
            </a:bodyPr>
            <a:lstStyle/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 dirty="0">
                <a:solidFill>
                  <a:schemeClr val="tx2"/>
                </a:solidFill>
              </a:endParaRPr>
            </a:p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 dirty="0">
                <a:solidFill>
                  <a:schemeClr val="tx2"/>
                </a:solidFill>
              </a:endParaRPr>
            </a:p>
          </p:txBody>
        </p:sp>
        <p:sp>
          <p:nvSpPr>
            <p:cNvPr id="9" name="info">
              <a:extLst>
                <a:ext uri="{FF2B5EF4-FFF2-40B4-BE49-F238E27FC236}">
                  <a16:creationId xmlns:a16="http://schemas.microsoft.com/office/drawing/2014/main" id="{809237D3-72F5-883F-C3A3-4269B71CCF9C}"/>
                </a:ext>
              </a:extLst>
            </p:cNvPr>
            <p:cNvSpPr/>
            <p:nvPr userDrawn="1"/>
          </p:nvSpPr>
          <p:spPr bwMode="gray">
            <a:xfrm flipH="1">
              <a:off x="12634899" y="2598103"/>
              <a:ext cx="1344423" cy="28232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36000" rtlCol="0" anchor="t">
              <a:noAutofit/>
            </a:bodyPr>
            <a:lstStyle/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b="1" cap="all" dirty="0">
                  <a:solidFill>
                    <a:schemeClr val="bg1"/>
                  </a:solidFill>
                </a:rPr>
                <a:t>image credit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b="1" dirty="0">
                  <a:solidFill>
                    <a:schemeClr val="bg1"/>
                  </a:solidFill>
                </a:rPr>
                <a:t>Always include</a:t>
              </a:r>
              <a:br>
                <a:rPr lang="en-US" sz="1050" b="1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redit!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How to get 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redit </a:t>
              </a:r>
              <a:r>
                <a:rPr lang="en-US" sz="1050" b="1" dirty="0">
                  <a:solidFill>
                    <a:schemeClr val="bg1"/>
                  </a:solidFill>
                </a:rPr>
                <a:t>placeholder</a:t>
              </a:r>
              <a:r>
                <a:rPr lang="en-US" sz="1050" dirty="0">
                  <a:solidFill>
                    <a:schemeClr val="bg1"/>
                  </a:solidFill>
                </a:rPr>
                <a:t>: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&gt; empower menu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&gt; text elements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&gt; depending on 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hoose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“</a:t>
              </a:r>
              <a:r>
                <a:rPr lang="en-US" sz="1050" b="1" dirty="0">
                  <a:solidFill>
                    <a:schemeClr val="bg1"/>
                  </a:solidFill>
                </a:rPr>
                <a:t>Copyright left grey</a:t>
              </a:r>
              <a:r>
                <a:rPr lang="en-US" sz="1050" dirty="0">
                  <a:solidFill>
                    <a:schemeClr val="bg1"/>
                  </a:solidFill>
                </a:rPr>
                <a:t>” 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or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“</a:t>
              </a:r>
              <a:r>
                <a:rPr lang="en-US" sz="1050" b="1" dirty="0">
                  <a:solidFill>
                    <a:schemeClr val="bg1"/>
                  </a:solidFill>
                </a:rPr>
                <a:t>Copyright left white</a:t>
              </a:r>
              <a:r>
                <a:rPr lang="en-US" sz="1050" dirty="0">
                  <a:solidFill>
                    <a:schemeClr val="bg1"/>
                  </a:solidFill>
                </a:rPr>
                <a:t>”</a:t>
              </a:r>
            </a:p>
          </p:txBody>
        </p:sp>
      </p:grpSp>
      <p:grpSp>
        <p:nvGrpSpPr>
          <p:cNvPr id="16" name="info">
            <a:extLst>
              <a:ext uri="{FF2B5EF4-FFF2-40B4-BE49-F238E27FC236}">
                <a16:creationId xmlns:a16="http://schemas.microsoft.com/office/drawing/2014/main" id="{173CA5FF-3C3B-2074-5DA9-2536B742C3D4}"/>
              </a:ext>
            </a:extLst>
          </p:cNvPr>
          <p:cNvGrpSpPr/>
          <p:nvPr userDrawn="1"/>
        </p:nvGrpSpPr>
        <p:grpSpPr>
          <a:xfrm>
            <a:off x="12247320" y="1273175"/>
            <a:ext cx="1579616" cy="1975485"/>
            <a:chOff x="12247320" y="3990975"/>
            <a:chExt cx="1579616" cy="1975485"/>
          </a:xfrm>
        </p:grpSpPr>
        <p:grpSp>
          <p:nvGrpSpPr>
            <p:cNvPr id="3" name="info">
              <a:extLst>
                <a:ext uri="{FF2B5EF4-FFF2-40B4-BE49-F238E27FC236}">
                  <a16:creationId xmlns:a16="http://schemas.microsoft.com/office/drawing/2014/main" id="{0A824AD7-709E-9BAE-4696-61544DC13657}"/>
                </a:ext>
              </a:extLst>
            </p:cNvPr>
            <p:cNvGrpSpPr/>
            <p:nvPr userDrawn="1"/>
          </p:nvGrpSpPr>
          <p:grpSpPr>
            <a:xfrm>
              <a:off x="12247320" y="3990975"/>
              <a:ext cx="1579616" cy="1975485"/>
              <a:chOff x="12399720" y="3445828"/>
              <a:chExt cx="1579616" cy="1975485"/>
            </a:xfrm>
            <a:solidFill>
              <a:srgbClr val="002965"/>
            </a:solidFill>
          </p:grpSpPr>
          <p:sp>
            <p:nvSpPr>
              <p:cNvPr id="11" name="info">
                <a:extLst>
                  <a:ext uri="{FF2B5EF4-FFF2-40B4-BE49-F238E27FC236}">
                    <a16:creationId xmlns:a16="http://schemas.microsoft.com/office/drawing/2014/main" id="{FD1FE79F-892E-504D-18E8-3B9B824BEAA4}"/>
                  </a:ext>
                </a:extLst>
              </p:cNvPr>
              <p:cNvSpPr/>
              <p:nvPr userDrawn="1"/>
            </p:nvSpPr>
            <p:spPr bwMode="gray">
              <a:xfrm flipH="1">
                <a:off x="12399720" y="3445828"/>
                <a:ext cx="1579616" cy="473385"/>
              </a:xfrm>
              <a:prstGeom prst="homePlat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72000" rIns="144000" bIns="3600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  <a:spcBef>
                    <a:spcPts val="400"/>
                  </a:spcBef>
                  <a:spcAft>
                    <a:spcPts val="400"/>
                  </a:spcAft>
                </a:pPr>
                <a:endParaRPr lang="en-US" sz="1050" dirty="0">
                  <a:solidFill>
                    <a:schemeClr val="tx2"/>
                  </a:solidFill>
                </a:endParaRPr>
              </a:p>
              <a:p>
                <a:pPr algn="ctr">
                  <a:lnSpc>
                    <a:spcPct val="80000"/>
                  </a:lnSpc>
                  <a:spcBef>
                    <a:spcPts val="400"/>
                  </a:spcBef>
                  <a:spcAft>
                    <a:spcPts val="400"/>
                  </a:spcAft>
                </a:pPr>
                <a:endParaRPr lang="en-US" sz="105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" name="info">
                <a:extLst>
                  <a:ext uri="{FF2B5EF4-FFF2-40B4-BE49-F238E27FC236}">
                    <a16:creationId xmlns:a16="http://schemas.microsoft.com/office/drawing/2014/main" id="{C5B736AE-CB91-F95C-57BA-14CEFEBFDEE6}"/>
                  </a:ext>
                </a:extLst>
              </p:cNvPr>
              <p:cNvSpPr/>
              <p:nvPr userDrawn="1"/>
            </p:nvSpPr>
            <p:spPr bwMode="gray">
              <a:xfrm flipH="1">
                <a:off x="12634896" y="3445828"/>
                <a:ext cx="1344423" cy="197548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144000" rIns="144000" bIns="36000" rtlCol="0" anchor="t">
                <a:noAutofit/>
              </a:bodyPr>
              <a:lstStyle/>
              <a:p>
                <a:pPr>
                  <a:lnSpc>
                    <a:spcPct val="80000"/>
                  </a:lnSpc>
                  <a:spcBef>
                    <a:spcPts val="400"/>
                  </a:spcBef>
                  <a:spcAft>
                    <a:spcPts val="400"/>
                  </a:spcAft>
                </a:pPr>
                <a:r>
                  <a:rPr lang="en-US" sz="1050" b="1" cap="all" dirty="0">
                    <a:solidFill>
                      <a:schemeClr val="bg1"/>
                    </a:solidFill>
                  </a:rPr>
                  <a:t>TEXT FORMATTING</a:t>
                </a:r>
              </a:p>
              <a:p>
                <a:pPr>
                  <a:lnSpc>
                    <a:spcPct val="80000"/>
                  </a:lnSpc>
                  <a:spcBef>
                    <a:spcPts val="400"/>
                  </a:spcBef>
                  <a:spcAft>
                    <a:spcPts val="400"/>
                  </a:spcAft>
                </a:pPr>
                <a:r>
                  <a:rPr lang="en-US" sz="1050" b="1" dirty="0">
                    <a:solidFill>
                      <a:schemeClr val="bg1"/>
                    </a:solidFill>
                  </a:rPr>
                  <a:t>Be sure to use the indent tool to format the text correctly!</a:t>
                </a:r>
              </a:p>
              <a:p>
                <a:pPr>
                  <a:lnSpc>
                    <a:spcPct val="80000"/>
                  </a:lnSpc>
                  <a:spcBef>
                    <a:spcPts val="400"/>
                  </a:spcBef>
                  <a:spcAft>
                    <a:spcPts val="400"/>
                  </a:spcAft>
                </a:pPr>
                <a:endParaRPr lang="en-US" sz="1050" b="1" dirty="0">
                  <a:solidFill>
                    <a:schemeClr val="bg1"/>
                  </a:solidFill>
                </a:endParaRPr>
              </a:p>
              <a:p>
                <a:pPr marL="0" indent="0">
                  <a:lnSpc>
                    <a:spcPct val="80000"/>
                  </a:lnSpc>
                  <a:spcBef>
                    <a:spcPts val="400"/>
                  </a:spcBef>
                  <a:spcAft>
                    <a:spcPts val="400"/>
                  </a:spcAft>
                </a:pPr>
                <a:br>
                  <a:rPr lang="en-US" sz="1050" b="1" dirty="0">
                    <a:solidFill>
                      <a:schemeClr val="bg1"/>
                    </a:solidFill>
                  </a:rPr>
                </a:br>
                <a:r>
                  <a:rPr lang="en-US" sz="1050" b="1" dirty="0">
                    <a:solidFill>
                      <a:schemeClr val="bg1"/>
                    </a:solidFill>
                  </a:rPr>
                  <a:t>&gt; right click on text</a:t>
                </a:r>
                <a:br>
                  <a:rPr lang="en-US" sz="1050" b="1" dirty="0">
                    <a:solidFill>
                      <a:schemeClr val="bg1"/>
                    </a:solidFill>
                  </a:rPr>
                </a:br>
                <a:r>
                  <a:rPr lang="en-US" sz="1050" b="1" dirty="0">
                    <a:solidFill>
                      <a:schemeClr val="bg1"/>
                    </a:solidFill>
                  </a:rPr>
                  <a:t>&gt; In-/ Decrease </a:t>
                </a:r>
                <a:br>
                  <a:rPr lang="en-US" sz="1050" b="1" dirty="0">
                    <a:solidFill>
                      <a:schemeClr val="bg1"/>
                    </a:solidFill>
                  </a:rPr>
                </a:br>
                <a:r>
                  <a:rPr lang="en-US" sz="1050" b="1" dirty="0">
                    <a:solidFill>
                      <a:schemeClr val="bg1"/>
                    </a:solidFill>
                  </a:rPr>
                  <a:t>   list level</a:t>
                </a:r>
                <a:endParaRPr lang="en-US" sz="1050" dirty="0">
                  <a:solidFill>
                    <a:schemeClr val="bg1"/>
                  </a:solidFill>
                </a:endParaRPr>
              </a:p>
            </p:txBody>
          </p:sp>
        </p:grpSp>
        <p:pic>
          <p:nvPicPr>
            <p:cNvPr id="15" name="info">
              <a:extLst>
                <a:ext uri="{FF2B5EF4-FFF2-40B4-BE49-F238E27FC236}">
                  <a16:creationId xmlns:a16="http://schemas.microsoft.com/office/drawing/2014/main" id="{3F128D9F-379A-026A-8472-F9B9483DDE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2634912" y="5070474"/>
              <a:ext cx="485775" cy="238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57060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pos="4592">
          <p15:clr>
            <a:srgbClr val="FBAE40"/>
          </p15:clr>
        </p15:guide>
        <p15:guide id="2" pos="4974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ference &amp;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 grey">
            <a:extLst>
              <a:ext uri="{FF2B5EF4-FFF2-40B4-BE49-F238E27FC236}">
                <a16:creationId xmlns:a16="http://schemas.microsoft.com/office/drawing/2014/main" id="{67B920F9-FFDD-4A7E-B64D-74D2EEEAED0E}"/>
              </a:ext>
            </a:extLst>
          </p:cNvPr>
          <p:cNvSpPr/>
          <p:nvPr/>
        </p:nvSpPr>
        <p:spPr bwMode="gray">
          <a:xfrm>
            <a:off x="0" y="673311"/>
            <a:ext cx="12192000" cy="47844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de-DE" sz="1400" dirty="0"/>
          </a:p>
        </p:txBody>
      </p:sp>
      <p:sp>
        <p:nvSpPr>
          <p:cNvPr id="10" name="picture 1">
            <a:extLst>
              <a:ext uri="{FF2B5EF4-FFF2-40B4-BE49-F238E27FC236}">
                <a16:creationId xmlns:a16="http://schemas.microsoft.com/office/drawing/2014/main" id="{76533136-822A-4672-82A6-5B4464AD390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525600" y="1601091"/>
            <a:ext cx="4369828" cy="3567127"/>
          </a:xfrm>
          <a:pattFill prst="lt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9" name="picture 2">
            <a:extLst>
              <a:ext uri="{FF2B5EF4-FFF2-40B4-BE49-F238E27FC236}">
                <a16:creationId xmlns:a16="http://schemas.microsoft.com/office/drawing/2014/main" id="{0C332C5E-6672-488C-98EF-4F5E858F7E9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5039428" y="2528872"/>
            <a:ext cx="2864254" cy="3569529"/>
          </a:xfrm>
          <a:pattFill prst="lt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7" name="text">
            <a:extLst>
              <a:ext uri="{FF2B5EF4-FFF2-40B4-BE49-F238E27FC236}">
                <a16:creationId xmlns:a16="http://schemas.microsoft.com/office/drawing/2014/main" id="{76947769-F1C5-46D2-A578-B46158BB445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8047682" y="959817"/>
            <a:ext cx="3616318" cy="2163968"/>
          </a:xfrm>
          <a:solidFill>
            <a:schemeClr val="bg1"/>
          </a:solidFill>
        </p:spPr>
        <p:txBody>
          <a:bodyPr lIns="216000" tIns="756000" rIns="216000" bIns="432000">
            <a:spAutoFit/>
          </a:bodyPr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marL="0" indent="0">
              <a:spcBef>
                <a:spcPts val="400"/>
              </a:spcBef>
              <a:spcAft>
                <a:spcPts val="0"/>
              </a:spcAft>
              <a:buFontTx/>
              <a:buNone/>
              <a:defRPr b="1">
                <a:solidFill>
                  <a:schemeClr val="tx1"/>
                </a:solidFill>
              </a:defRPr>
            </a:lvl2pPr>
            <a:lvl3pPr marL="216000" indent="-216000">
              <a:spcAft>
                <a:spcPts val="0"/>
              </a:spcAft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3pPr>
            <a:lvl4pPr marL="432000" indent="-216000">
              <a:spcAft>
                <a:spcPts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FFCB50B-5503-4467-8A0F-9FBB8B48B97D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047682" y="1177089"/>
            <a:ext cx="3618000" cy="446400"/>
          </a:xfrm>
        </p:spPr>
        <p:txBody>
          <a:bodyPr lIns="216000" tIns="0" rIns="216000" bIns="0" anchor="t"/>
          <a:lstStyle>
            <a:lvl1pPr>
              <a:defRPr sz="18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grpSp>
        <p:nvGrpSpPr>
          <p:cNvPr id="12" name="info">
            <a:extLst>
              <a:ext uri="{FF2B5EF4-FFF2-40B4-BE49-F238E27FC236}">
                <a16:creationId xmlns:a16="http://schemas.microsoft.com/office/drawing/2014/main" id="{C1642937-B5DB-C6FA-115C-B42794E59838}"/>
              </a:ext>
            </a:extLst>
          </p:cNvPr>
          <p:cNvGrpSpPr/>
          <p:nvPr/>
        </p:nvGrpSpPr>
        <p:grpSpPr>
          <a:xfrm flipH="1">
            <a:off x="-1729937" y="2009776"/>
            <a:ext cx="1579616" cy="3042286"/>
            <a:chOff x="12399720" y="2379029"/>
            <a:chExt cx="1579616" cy="3042286"/>
          </a:xfrm>
          <a:solidFill>
            <a:srgbClr val="002965"/>
          </a:solidFill>
        </p:grpSpPr>
        <p:sp>
          <p:nvSpPr>
            <p:cNvPr id="13" name="info">
              <a:extLst>
                <a:ext uri="{FF2B5EF4-FFF2-40B4-BE49-F238E27FC236}">
                  <a16:creationId xmlns:a16="http://schemas.microsoft.com/office/drawing/2014/main" id="{4305314E-6773-79AC-2937-2982930A5D10}"/>
                </a:ext>
              </a:extLst>
            </p:cNvPr>
            <p:cNvSpPr/>
            <p:nvPr userDrawn="1"/>
          </p:nvSpPr>
          <p:spPr bwMode="gray">
            <a:xfrm flipH="1">
              <a:off x="12399720" y="4947928"/>
              <a:ext cx="1579616" cy="473385"/>
            </a:xfrm>
            <a:prstGeom prst="homePlat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36000" rtlCol="0" anchor="ctr">
              <a:spAutoFit/>
            </a:bodyPr>
            <a:lstStyle/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 dirty="0">
                <a:solidFill>
                  <a:schemeClr val="tx2"/>
                </a:solidFill>
              </a:endParaRPr>
            </a:p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 dirty="0">
                <a:solidFill>
                  <a:schemeClr val="tx2"/>
                </a:solidFill>
              </a:endParaRPr>
            </a:p>
          </p:txBody>
        </p:sp>
        <p:sp>
          <p:nvSpPr>
            <p:cNvPr id="14" name="info">
              <a:extLst>
                <a:ext uri="{FF2B5EF4-FFF2-40B4-BE49-F238E27FC236}">
                  <a16:creationId xmlns:a16="http://schemas.microsoft.com/office/drawing/2014/main" id="{BD076EFD-03D5-C034-11C8-ADDE4BA72FFF}"/>
                </a:ext>
              </a:extLst>
            </p:cNvPr>
            <p:cNvSpPr/>
            <p:nvPr userDrawn="1"/>
          </p:nvSpPr>
          <p:spPr bwMode="gray">
            <a:xfrm flipH="1">
              <a:off x="12634899" y="2379029"/>
              <a:ext cx="1344423" cy="304228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36000" rtlCol="0" anchor="t">
              <a:noAutofit/>
            </a:bodyPr>
            <a:lstStyle/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b="1" cap="all" dirty="0">
                  <a:solidFill>
                    <a:schemeClr val="bg1"/>
                  </a:solidFill>
                </a:rPr>
                <a:t>image credit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b="1" dirty="0">
                  <a:solidFill>
                    <a:schemeClr val="bg1"/>
                  </a:solidFill>
                </a:rPr>
                <a:t>Always include</a:t>
              </a:r>
              <a:br>
                <a:rPr lang="en-US" sz="1050" b="1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redit!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How to get 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redit </a:t>
              </a:r>
              <a:r>
                <a:rPr lang="en-US" sz="1050" b="1" dirty="0">
                  <a:solidFill>
                    <a:schemeClr val="bg1"/>
                  </a:solidFill>
                </a:rPr>
                <a:t>placeholder</a:t>
              </a:r>
              <a:r>
                <a:rPr lang="en-US" sz="1050" dirty="0">
                  <a:solidFill>
                    <a:schemeClr val="bg1"/>
                  </a:solidFill>
                </a:rPr>
                <a:t>: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&gt; empower menu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&gt; text elements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&gt; depending on 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hoose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“</a:t>
              </a:r>
              <a:r>
                <a:rPr lang="en-US" sz="1050" b="1" dirty="0">
                  <a:solidFill>
                    <a:schemeClr val="bg1"/>
                  </a:solidFill>
                </a:rPr>
                <a:t>Copyright</a:t>
              </a:r>
              <a:br>
                <a:rPr lang="en-US" sz="1050" b="1" dirty="0">
                  <a:solidFill>
                    <a:schemeClr val="bg1"/>
                  </a:solidFill>
                </a:rPr>
              </a:br>
              <a:r>
                <a:rPr lang="en-US" sz="1050" b="1" dirty="0">
                  <a:solidFill>
                    <a:schemeClr val="bg1"/>
                  </a:solidFill>
                </a:rPr>
                <a:t>Reference</a:t>
              </a:r>
              <a:br>
                <a:rPr lang="en-US" sz="1050" b="1" dirty="0">
                  <a:solidFill>
                    <a:schemeClr val="bg1"/>
                  </a:solidFill>
                </a:rPr>
              </a:br>
              <a:r>
                <a:rPr lang="en-US" sz="1050" b="1" dirty="0">
                  <a:solidFill>
                    <a:schemeClr val="bg1"/>
                  </a:solidFill>
                </a:rPr>
                <a:t>2-Picture grey</a:t>
              </a:r>
              <a:r>
                <a:rPr lang="en-US" sz="1050" dirty="0">
                  <a:solidFill>
                    <a:schemeClr val="bg1"/>
                  </a:solidFill>
                </a:rPr>
                <a:t>” 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or</a:t>
              </a:r>
            </a:p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50" dirty="0">
                  <a:solidFill>
                    <a:schemeClr val="bg1"/>
                  </a:solidFill>
                </a:rPr>
                <a:t>“</a:t>
              </a:r>
              <a:r>
                <a:rPr lang="en-US" sz="1050" b="1" dirty="0">
                  <a:solidFill>
                    <a:schemeClr val="bg1"/>
                  </a:solidFill>
                </a:rPr>
                <a:t>Copyright Reference </a:t>
              </a:r>
              <a:br>
                <a:rPr lang="en-US" sz="1050" b="1" dirty="0">
                  <a:solidFill>
                    <a:schemeClr val="bg1"/>
                  </a:solidFill>
                </a:rPr>
              </a:br>
              <a:r>
                <a:rPr lang="en-US" sz="1050" b="1" dirty="0">
                  <a:solidFill>
                    <a:schemeClr val="bg1"/>
                  </a:solidFill>
                </a:rPr>
                <a:t>2-Picture white</a:t>
              </a:r>
              <a:r>
                <a:rPr lang="en-US" sz="1050" dirty="0">
                  <a:solidFill>
                    <a:schemeClr val="bg1"/>
                  </a:solidFill>
                </a:rPr>
                <a:t>” 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" name="info">
            <a:extLst>
              <a:ext uri="{FF2B5EF4-FFF2-40B4-BE49-F238E27FC236}">
                <a16:creationId xmlns:a16="http://schemas.microsoft.com/office/drawing/2014/main" id="{03391581-FAC5-9D34-DDE6-5BFA6CCE2B7C}"/>
              </a:ext>
            </a:extLst>
          </p:cNvPr>
          <p:cNvGrpSpPr/>
          <p:nvPr userDrawn="1"/>
        </p:nvGrpSpPr>
        <p:grpSpPr>
          <a:xfrm>
            <a:off x="12247320" y="1628775"/>
            <a:ext cx="1579616" cy="1975485"/>
            <a:chOff x="12247320" y="3990975"/>
            <a:chExt cx="1579616" cy="1975485"/>
          </a:xfrm>
        </p:grpSpPr>
        <p:grpSp>
          <p:nvGrpSpPr>
            <p:cNvPr id="4" name="info">
              <a:extLst>
                <a:ext uri="{FF2B5EF4-FFF2-40B4-BE49-F238E27FC236}">
                  <a16:creationId xmlns:a16="http://schemas.microsoft.com/office/drawing/2014/main" id="{4DB952FF-8174-1744-D9B3-D6058E29607D}"/>
                </a:ext>
              </a:extLst>
            </p:cNvPr>
            <p:cNvGrpSpPr/>
            <p:nvPr userDrawn="1"/>
          </p:nvGrpSpPr>
          <p:grpSpPr>
            <a:xfrm>
              <a:off x="12247320" y="3990975"/>
              <a:ext cx="1579616" cy="1975485"/>
              <a:chOff x="12399720" y="3445828"/>
              <a:chExt cx="1579616" cy="1975485"/>
            </a:xfrm>
            <a:solidFill>
              <a:srgbClr val="002965"/>
            </a:solidFill>
          </p:grpSpPr>
          <p:sp>
            <p:nvSpPr>
              <p:cNvPr id="16" name="info">
                <a:extLst>
                  <a:ext uri="{FF2B5EF4-FFF2-40B4-BE49-F238E27FC236}">
                    <a16:creationId xmlns:a16="http://schemas.microsoft.com/office/drawing/2014/main" id="{EB213925-2018-0783-63A3-DAA2E3D3BCBC}"/>
                  </a:ext>
                </a:extLst>
              </p:cNvPr>
              <p:cNvSpPr/>
              <p:nvPr userDrawn="1"/>
            </p:nvSpPr>
            <p:spPr bwMode="gray">
              <a:xfrm flipH="1">
                <a:off x="12399720" y="3445828"/>
                <a:ext cx="1579616" cy="473385"/>
              </a:xfrm>
              <a:prstGeom prst="homePlat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72000" rIns="144000" bIns="3600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  <a:spcBef>
                    <a:spcPts val="400"/>
                  </a:spcBef>
                  <a:spcAft>
                    <a:spcPts val="400"/>
                  </a:spcAft>
                </a:pPr>
                <a:endParaRPr lang="en-US" sz="1050" dirty="0">
                  <a:solidFill>
                    <a:schemeClr val="tx2"/>
                  </a:solidFill>
                </a:endParaRPr>
              </a:p>
              <a:p>
                <a:pPr algn="ctr">
                  <a:lnSpc>
                    <a:spcPct val="80000"/>
                  </a:lnSpc>
                  <a:spcBef>
                    <a:spcPts val="400"/>
                  </a:spcBef>
                  <a:spcAft>
                    <a:spcPts val="400"/>
                  </a:spcAft>
                </a:pPr>
                <a:endParaRPr lang="en-US" sz="105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7" name="info">
                <a:extLst>
                  <a:ext uri="{FF2B5EF4-FFF2-40B4-BE49-F238E27FC236}">
                    <a16:creationId xmlns:a16="http://schemas.microsoft.com/office/drawing/2014/main" id="{900FC1E4-D8B8-9CDA-665D-95A8E1D11CB1}"/>
                  </a:ext>
                </a:extLst>
              </p:cNvPr>
              <p:cNvSpPr/>
              <p:nvPr userDrawn="1"/>
            </p:nvSpPr>
            <p:spPr bwMode="gray">
              <a:xfrm flipH="1">
                <a:off x="12634896" y="3445828"/>
                <a:ext cx="1344423" cy="197548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144000" rIns="144000" bIns="36000" rtlCol="0" anchor="t">
                <a:noAutofit/>
              </a:bodyPr>
              <a:lstStyle/>
              <a:p>
                <a:pPr>
                  <a:lnSpc>
                    <a:spcPct val="80000"/>
                  </a:lnSpc>
                  <a:spcBef>
                    <a:spcPts val="400"/>
                  </a:spcBef>
                  <a:spcAft>
                    <a:spcPts val="400"/>
                  </a:spcAft>
                </a:pPr>
                <a:r>
                  <a:rPr lang="en-US" sz="1050" b="1" cap="all" dirty="0">
                    <a:solidFill>
                      <a:schemeClr val="bg1"/>
                    </a:solidFill>
                  </a:rPr>
                  <a:t>TEXT FORMATTING</a:t>
                </a:r>
              </a:p>
              <a:p>
                <a:pPr>
                  <a:lnSpc>
                    <a:spcPct val="80000"/>
                  </a:lnSpc>
                  <a:spcBef>
                    <a:spcPts val="400"/>
                  </a:spcBef>
                  <a:spcAft>
                    <a:spcPts val="400"/>
                  </a:spcAft>
                </a:pPr>
                <a:r>
                  <a:rPr lang="en-US" sz="1050" b="1" dirty="0">
                    <a:solidFill>
                      <a:schemeClr val="bg1"/>
                    </a:solidFill>
                  </a:rPr>
                  <a:t>Be sure to use the indent tool to format the text correctly!</a:t>
                </a:r>
              </a:p>
              <a:p>
                <a:pPr>
                  <a:lnSpc>
                    <a:spcPct val="80000"/>
                  </a:lnSpc>
                  <a:spcBef>
                    <a:spcPts val="400"/>
                  </a:spcBef>
                  <a:spcAft>
                    <a:spcPts val="400"/>
                  </a:spcAft>
                </a:pPr>
                <a:endParaRPr lang="en-US" sz="1050" b="1" dirty="0">
                  <a:solidFill>
                    <a:schemeClr val="bg1"/>
                  </a:solidFill>
                </a:endParaRPr>
              </a:p>
              <a:p>
                <a:pPr marL="0" indent="0">
                  <a:lnSpc>
                    <a:spcPct val="80000"/>
                  </a:lnSpc>
                  <a:spcBef>
                    <a:spcPts val="400"/>
                  </a:spcBef>
                  <a:spcAft>
                    <a:spcPts val="400"/>
                  </a:spcAft>
                </a:pPr>
                <a:br>
                  <a:rPr lang="en-US" sz="1050" b="1" dirty="0">
                    <a:solidFill>
                      <a:schemeClr val="bg1"/>
                    </a:solidFill>
                  </a:rPr>
                </a:br>
                <a:r>
                  <a:rPr lang="en-US" sz="1050" b="1" dirty="0">
                    <a:solidFill>
                      <a:schemeClr val="bg1"/>
                    </a:solidFill>
                  </a:rPr>
                  <a:t>&gt; right click on text</a:t>
                </a:r>
                <a:br>
                  <a:rPr lang="en-US" sz="1050" b="1" dirty="0">
                    <a:solidFill>
                      <a:schemeClr val="bg1"/>
                    </a:solidFill>
                  </a:rPr>
                </a:br>
                <a:r>
                  <a:rPr lang="en-US" sz="1050" b="1" dirty="0">
                    <a:solidFill>
                      <a:schemeClr val="bg1"/>
                    </a:solidFill>
                  </a:rPr>
                  <a:t>&gt; In-/ Decrease </a:t>
                </a:r>
                <a:br>
                  <a:rPr lang="en-US" sz="1050" b="1" dirty="0">
                    <a:solidFill>
                      <a:schemeClr val="bg1"/>
                    </a:solidFill>
                  </a:rPr>
                </a:br>
                <a:r>
                  <a:rPr lang="en-US" sz="1050" b="1" dirty="0">
                    <a:solidFill>
                      <a:schemeClr val="bg1"/>
                    </a:solidFill>
                  </a:rPr>
                  <a:t>   list level</a:t>
                </a:r>
                <a:endParaRPr lang="en-US" sz="1050" dirty="0">
                  <a:solidFill>
                    <a:schemeClr val="bg1"/>
                  </a:solidFill>
                </a:endParaRPr>
              </a:p>
            </p:txBody>
          </p:sp>
        </p:grpSp>
        <p:pic>
          <p:nvPicPr>
            <p:cNvPr id="15" name="info">
              <a:extLst>
                <a:ext uri="{FF2B5EF4-FFF2-40B4-BE49-F238E27FC236}">
                  <a16:creationId xmlns:a16="http://schemas.microsoft.com/office/drawing/2014/main" id="{69EB473D-48D0-5069-77DD-89F6F1D667E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2634912" y="5070474"/>
              <a:ext cx="485775" cy="238125"/>
            </a:xfrm>
            <a:prstGeom prst="rect">
              <a:avLst/>
            </a:prstGeom>
          </p:spPr>
        </p:pic>
      </p:grp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6802EB03-5ED3-CBE1-8CAA-9C225B58BDB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44692BAC-4628-BC52-0255-EACBA354E4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829449A-3FF3-45CE-9F4F-09BADC0910C6}" type="slidenum">
              <a:rPr lang="de-DE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3243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pos="3084">
          <p15:clr>
            <a:srgbClr val="FBAE40"/>
          </p15:clr>
        </p15:guide>
        <p15:guide id="2" pos="3174">
          <p15:clr>
            <a:srgbClr val="FBAE40"/>
          </p15:clr>
        </p15:guide>
        <p15:guide id="3" pos="4980">
          <p15:clr>
            <a:srgbClr val="FBAE40"/>
          </p15:clr>
        </p15:guide>
        <p15:guide id="4" pos="5069">
          <p15:clr>
            <a:srgbClr val="FBAE40"/>
          </p15:clr>
        </p15:guide>
        <p15:guide id="5" orient="horz" pos="731">
          <p15:clr>
            <a:srgbClr val="FBAE40"/>
          </p15:clr>
        </p15:guide>
        <p15:guide id="6" orient="horz" pos="595">
          <p15:clr>
            <a:srgbClr val="FBAE40"/>
          </p15:clr>
        </p15:guide>
        <p15:guide id="7" orient="horz" pos="1593">
          <p15:clr>
            <a:srgbClr val="FBAE40"/>
          </p15:clr>
        </p15:guide>
        <p15:guide id="8" orient="horz" pos="325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mess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logo drees&amp;sommer blue mask">
            <a:extLst>
              <a:ext uri="{FF2B5EF4-FFF2-40B4-BE49-F238E27FC236}">
                <a16:creationId xmlns:a16="http://schemas.microsoft.com/office/drawing/2014/main" id="{7DFCFBB7-6B39-4D0E-BE6B-B3B479E24FA2}"/>
              </a:ext>
            </a:extLst>
          </p:cNvPr>
          <p:cNvSpPr/>
          <p:nvPr/>
        </p:nvSpPr>
        <p:spPr bwMode="gray">
          <a:xfrm>
            <a:off x="10579100" y="6197600"/>
            <a:ext cx="1270000" cy="584200"/>
          </a:xfrm>
          <a:prstGeom prst="rect">
            <a:avLst/>
          </a:prstGeom>
          <a:solidFill>
            <a:srgbClr val="0029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de-DE" sz="1400" dirty="0"/>
          </a:p>
        </p:txBody>
      </p:sp>
      <p:sp>
        <p:nvSpPr>
          <p:cNvPr id="8" name="picture">
            <a:extLst>
              <a:ext uri="{FF2B5EF4-FFF2-40B4-BE49-F238E27FC236}">
                <a16:creationId xmlns:a16="http://schemas.microsoft.com/office/drawing/2014/main" id="{A602AD27-B02A-F535-EEF5-DF06E53DB57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10909343 w 12192000"/>
              <a:gd name="connsiteY0" fmla="*/ 6535879 h 6858000"/>
              <a:gd name="connsiteX1" fmla="*/ 10992168 w 12192000"/>
              <a:gd name="connsiteY1" fmla="*/ 6535879 h 6858000"/>
              <a:gd name="connsiteX2" fmla="*/ 10992168 w 12192000"/>
              <a:gd name="connsiteY2" fmla="*/ 6598745 h 6858000"/>
              <a:gd name="connsiteX3" fmla="*/ 10909343 w 12192000"/>
              <a:gd name="connsiteY3" fmla="*/ 6598745 h 6858000"/>
              <a:gd name="connsiteX4" fmla="*/ 11563256 w 12192000"/>
              <a:gd name="connsiteY4" fmla="*/ 6534690 h 6858000"/>
              <a:gd name="connsiteX5" fmla="*/ 11619215 w 12192000"/>
              <a:gd name="connsiteY5" fmla="*/ 6534690 h 6858000"/>
              <a:gd name="connsiteX6" fmla="*/ 11630409 w 12192000"/>
              <a:gd name="connsiteY6" fmla="*/ 6542786 h 6858000"/>
              <a:gd name="connsiteX7" fmla="*/ 11630409 w 12192000"/>
              <a:gd name="connsiteY7" fmla="*/ 6554455 h 6858000"/>
              <a:gd name="connsiteX8" fmla="*/ 11619215 w 12192000"/>
              <a:gd name="connsiteY8" fmla="*/ 6562550 h 6858000"/>
              <a:gd name="connsiteX9" fmla="*/ 11563256 w 12192000"/>
              <a:gd name="connsiteY9" fmla="*/ 6562550 h 6858000"/>
              <a:gd name="connsiteX10" fmla="*/ 10910306 w 12192000"/>
              <a:gd name="connsiteY10" fmla="*/ 6517318 h 6858000"/>
              <a:gd name="connsiteX11" fmla="*/ 10883590 w 12192000"/>
              <a:gd name="connsiteY11" fmla="*/ 6541122 h 6858000"/>
              <a:gd name="connsiteX12" fmla="*/ 10883590 w 12192000"/>
              <a:gd name="connsiteY12" fmla="*/ 6594223 h 6858000"/>
              <a:gd name="connsiteX13" fmla="*/ 10910306 w 12192000"/>
              <a:gd name="connsiteY13" fmla="*/ 6618042 h 6858000"/>
              <a:gd name="connsiteX14" fmla="*/ 10989730 w 12192000"/>
              <a:gd name="connsiteY14" fmla="*/ 6618042 h 6858000"/>
              <a:gd name="connsiteX15" fmla="*/ 11016446 w 12192000"/>
              <a:gd name="connsiteY15" fmla="*/ 6594223 h 6858000"/>
              <a:gd name="connsiteX16" fmla="*/ 11016446 w 12192000"/>
              <a:gd name="connsiteY16" fmla="*/ 6541122 h 6858000"/>
              <a:gd name="connsiteX17" fmla="*/ 10989730 w 12192000"/>
              <a:gd name="connsiteY17" fmla="*/ 6517318 h 6858000"/>
              <a:gd name="connsiteX18" fmla="*/ 11538985 w 12192000"/>
              <a:gd name="connsiteY18" fmla="*/ 6517311 h 6858000"/>
              <a:gd name="connsiteX19" fmla="*/ 11538985 w 12192000"/>
              <a:gd name="connsiteY19" fmla="*/ 6618035 h 6858000"/>
              <a:gd name="connsiteX20" fmla="*/ 11563263 w 12192000"/>
              <a:gd name="connsiteY20" fmla="*/ 6618035 h 6858000"/>
              <a:gd name="connsiteX21" fmla="*/ 11563263 w 12192000"/>
              <a:gd name="connsiteY21" fmla="*/ 6579929 h 6858000"/>
              <a:gd name="connsiteX22" fmla="*/ 11586360 w 12192000"/>
              <a:gd name="connsiteY22" fmla="*/ 6579929 h 6858000"/>
              <a:gd name="connsiteX23" fmla="*/ 11628506 w 12192000"/>
              <a:gd name="connsiteY23" fmla="*/ 6618035 h 6858000"/>
              <a:gd name="connsiteX24" fmla="*/ 11663753 w 12192000"/>
              <a:gd name="connsiteY24" fmla="*/ 6618035 h 6858000"/>
              <a:gd name="connsiteX25" fmla="*/ 11615897 w 12192000"/>
              <a:gd name="connsiteY25" fmla="*/ 6579929 h 6858000"/>
              <a:gd name="connsiteX26" fmla="*/ 11629710 w 12192000"/>
              <a:gd name="connsiteY26" fmla="*/ 6579929 h 6858000"/>
              <a:gd name="connsiteX27" fmla="*/ 11653280 w 12192000"/>
              <a:gd name="connsiteY27" fmla="*/ 6560639 h 6858000"/>
              <a:gd name="connsiteX28" fmla="*/ 11653280 w 12192000"/>
              <a:gd name="connsiteY28" fmla="*/ 6536835 h 6858000"/>
              <a:gd name="connsiteX29" fmla="*/ 11629710 w 12192000"/>
              <a:gd name="connsiteY29" fmla="*/ 6517311 h 6858000"/>
              <a:gd name="connsiteX30" fmla="*/ 11401645 w 12192000"/>
              <a:gd name="connsiteY30" fmla="*/ 6517311 h 6858000"/>
              <a:gd name="connsiteX31" fmla="*/ 11401645 w 12192000"/>
              <a:gd name="connsiteY31" fmla="*/ 6618035 h 6858000"/>
              <a:gd name="connsiteX32" fmla="*/ 11513119 w 12192000"/>
              <a:gd name="connsiteY32" fmla="*/ 6618035 h 6858000"/>
              <a:gd name="connsiteX33" fmla="*/ 11513119 w 12192000"/>
              <a:gd name="connsiteY33" fmla="*/ 6599219 h 6858000"/>
              <a:gd name="connsiteX34" fmla="*/ 11426909 w 12192000"/>
              <a:gd name="connsiteY34" fmla="*/ 6599219 h 6858000"/>
              <a:gd name="connsiteX35" fmla="*/ 11426909 w 12192000"/>
              <a:gd name="connsiteY35" fmla="*/ 6574452 h 6858000"/>
              <a:gd name="connsiteX36" fmla="*/ 11476458 w 12192000"/>
              <a:gd name="connsiteY36" fmla="*/ 6574452 h 6858000"/>
              <a:gd name="connsiteX37" fmla="*/ 11476458 w 12192000"/>
              <a:gd name="connsiteY37" fmla="*/ 6557073 h 6858000"/>
              <a:gd name="connsiteX38" fmla="*/ 11426909 w 12192000"/>
              <a:gd name="connsiteY38" fmla="*/ 6557073 h 6858000"/>
              <a:gd name="connsiteX39" fmla="*/ 11426909 w 12192000"/>
              <a:gd name="connsiteY39" fmla="*/ 6535179 h 6858000"/>
              <a:gd name="connsiteX40" fmla="*/ 11511908 w 12192000"/>
              <a:gd name="connsiteY40" fmla="*/ 6535179 h 6858000"/>
              <a:gd name="connsiteX41" fmla="*/ 11511908 w 12192000"/>
              <a:gd name="connsiteY41" fmla="*/ 6517311 h 6858000"/>
              <a:gd name="connsiteX42" fmla="*/ 11225454 w 12192000"/>
              <a:gd name="connsiteY42" fmla="*/ 6517311 h 6858000"/>
              <a:gd name="connsiteX43" fmla="*/ 11225454 w 12192000"/>
              <a:gd name="connsiteY43" fmla="*/ 6618035 h 6858000"/>
              <a:gd name="connsiteX44" fmla="*/ 11248423 w 12192000"/>
              <a:gd name="connsiteY44" fmla="*/ 6618035 h 6858000"/>
              <a:gd name="connsiteX45" fmla="*/ 11248423 w 12192000"/>
              <a:gd name="connsiteY45" fmla="*/ 6550414 h 6858000"/>
              <a:gd name="connsiteX46" fmla="*/ 11294805 w 12192000"/>
              <a:gd name="connsiteY46" fmla="*/ 6605892 h 6858000"/>
              <a:gd name="connsiteX47" fmla="*/ 11299665 w 12192000"/>
              <a:gd name="connsiteY47" fmla="*/ 6605892 h 6858000"/>
              <a:gd name="connsiteX48" fmla="*/ 11345558 w 12192000"/>
              <a:gd name="connsiteY48" fmla="*/ 6548737 h 6858000"/>
              <a:gd name="connsiteX49" fmla="*/ 11345558 w 12192000"/>
              <a:gd name="connsiteY49" fmla="*/ 6618035 h 6858000"/>
              <a:gd name="connsiteX50" fmla="*/ 11368873 w 12192000"/>
              <a:gd name="connsiteY50" fmla="*/ 6618035 h 6858000"/>
              <a:gd name="connsiteX51" fmla="*/ 11368873 w 12192000"/>
              <a:gd name="connsiteY51" fmla="*/ 6517311 h 6858000"/>
              <a:gd name="connsiteX52" fmla="*/ 11348725 w 12192000"/>
              <a:gd name="connsiteY52" fmla="*/ 6517311 h 6858000"/>
              <a:gd name="connsiteX53" fmla="*/ 11298687 w 12192000"/>
              <a:gd name="connsiteY53" fmla="*/ 6577070 h 6858000"/>
              <a:gd name="connsiteX54" fmla="*/ 11248423 w 12192000"/>
              <a:gd name="connsiteY54" fmla="*/ 6517311 h 6858000"/>
              <a:gd name="connsiteX55" fmla="*/ 11048135 w 12192000"/>
              <a:gd name="connsiteY55" fmla="*/ 6517311 h 6858000"/>
              <a:gd name="connsiteX56" fmla="*/ 11048135 w 12192000"/>
              <a:gd name="connsiteY56" fmla="*/ 6618035 h 6858000"/>
              <a:gd name="connsiteX57" fmla="*/ 11071096 w 12192000"/>
              <a:gd name="connsiteY57" fmla="*/ 6618035 h 6858000"/>
              <a:gd name="connsiteX58" fmla="*/ 11071096 w 12192000"/>
              <a:gd name="connsiteY58" fmla="*/ 6550414 h 6858000"/>
              <a:gd name="connsiteX59" fmla="*/ 11117478 w 12192000"/>
              <a:gd name="connsiteY59" fmla="*/ 6605892 h 6858000"/>
              <a:gd name="connsiteX60" fmla="*/ 11122331 w 12192000"/>
              <a:gd name="connsiteY60" fmla="*/ 6605892 h 6858000"/>
              <a:gd name="connsiteX61" fmla="*/ 11168239 w 12192000"/>
              <a:gd name="connsiteY61" fmla="*/ 6548737 h 6858000"/>
              <a:gd name="connsiteX62" fmla="*/ 11168239 w 12192000"/>
              <a:gd name="connsiteY62" fmla="*/ 6618035 h 6858000"/>
              <a:gd name="connsiteX63" fmla="*/ 11191554 w 12192000"/>
              <a:gd name="connsiteY63" fmla="*/ 6618035 h 6858000"/>
              <a:gd name="connsiteX64" fmla="*/ 11191554 w 12192000"/>
              <a:gd name="connsiteY64" fmla="*/ 6517311 h 6858000"/>
              <a:gd name="connsiteX65" fmla="*/ 11171399 w 12192000"/>
              <a:gd name="connsiteY65" fmla="*/ 6517311 h 6858000"/>
              <a:gd name="connsiteX66" fmla="*/ 11121368 w 12192000"/>
              <a:gd name="connsiteY66" fmla="*/ 6577070 h 6858000"/>
              <a:gd name="connsiteX67" fmla="*/ 11071096 w 12192000"/>
              <a:gd name="connsiteY67" fmla="*/ 6517311 h 6858000"/>
              <a:gd name="connsiteX68" fmla="*/ 10752277 w 12192000"/>
              <a:gd name="connsiteY68" fmla="*/ 6495162 h 6858000"/>
              <a:gd name="connsiteX69" fmla="*/ 10721799 w 12192000"/>
              <a:gd name="connsiteY69" fmla="*/ 6524218 h 6858000"/>
              <a:gd name="connsiteX70" fmla="*/ 10721799 w 12192000"/>
              <a:gd name="connsiteY70" fmla="*/ 6537775 h 6858000"/>
              <a:gd name="connsiteX71" fmla="*/ 10752277 w 12192000"/>
              <a:gd name="connsiteY71" fmla="*/ 6566830 h 6858000"/>
              <a:gd name="connsiteX72" fmla="*/ 10828955 w 12192000"/>
              <a:gd name="connsiteY72" fmla="*/ 6566830 h 6858000"/>
              <a:gd name="connsiteX73" fmla="*/ 10828955 w 12192000"/>
              <a:gd name="connsiteY73" fmla="*/ 6594930 h 6858000"/>
              <a:gd name="connsiteX74" fmla="*/ 10742052 w 12192000"/>
              <a:gd name="connsiteY74" fmla="*/ 6594930 h 6858000"/>
              <a:gd name="connsiteX75" fmla="*/ 10742052 w 12192000"/>
              <a:gd name="connsiteY75" fmla="*/ 6581704 h 6858000"/>
              <a:gd name="connsiteX76" fmla="*/ 10716796 w 12192000"/>
              <a:gd name="connsiteY76" fmla="*/ 6586948 h 6858000"/>
              <a:gd name="connsiteX77" fmla="*/ 10716796 w 12192000"/>
              <a:gd name="connsiteY77" fmla="*/ 6588979 h 6858000"/>
              <a:gd name="connsiteX78" fmla="*/ 10747514 w 12192000"/>
              <a:gd name="connsiteY78" fmla="*/ 6618027 h 6858000"/>
              <a:gd name="connsiteX79" fmla="*/ 10823486 w 12192000"/>
              <a:gd name="connsiteY79" fmla="*/ 6618027 h 6858000"/>
              <a:gd name="connsiteX80" fmla="*/ 10854204 w 12192000"/>
              <a:gd name="connsiteY80" fmla="*/ 6588979 h 6858000"/>
              <a:gd name="connsiteX81" fmla="*/ 10854204 w 12192000"/>
              <a:gd name="connsiteY81" fmla="*/ 6572074 h 6858000"/>
              <a:gd name="connsiteX82" fmla="*/ 10823486 w 12192000"/>
              <a:gd name="connsiteY82" fmla="*/ 6543019 h 6858000"/>
              <a:gd name="connsiteX83" fmla="*/ 10746799 w 12192000"/>
              <a:gd name="connsiteY83" fmla="*/ 6543019 h 6858000"/>
              <a:gd name="connsiteX84" fmla="*/ 10746799 w 12192000"/>
              <a:gd name="connsiteY84" fmla="*/ 6516596 h 6858000"/>
              <a:gd name="connsiteX85" fmla="*/ 10827285 w 12192000"/>
              <a:gd name="connsiteY85" fmla="*/ 6516596 h 6858000"/>
              <a:gd name="connsiteX86" fmla="*/ 10827285 w 12192000"/>
              <a:gd name="connsiteY86" fmla="*/ 6529905 h 6858000"/>
              <a:gd name="connsiteX87" fmla="*/ 10852526 w 12192000"/>
              <a:gd name="connsiteY87" fmla="*/ 6523954 h 6858000"/>
              <a:gd name="connsiteX88" fmla="*/ 10852526 w 12192000"/>
              <a:gd name="connsiteY88" fmla="*/ 6522074 h 6858000"/>
              <a:gd name="connsiteX89" fmla="*/ 10822049 w 12192000"/>
              <a:gd name="connsiteY89" fmla="*/ 6495162 h 6858000"/>
              <a:gd name="connsiteX90" fmla="*/ 11554221 w 12192000"/>
              <a:gd name="connsiteY90" fmla="*/ 6392873 h 6858000"/>
              <a:gd name="connsiteX91" fmla="*/ 11591123 w 12192000"/>
              <a:gd name="connsiteY91" fmla="*/ 6423591 h 6858000"/>
              <a:gd name="connsiteX92" fmla="*/ 11579695 w 12192000"/>
              <a:gd name="connsiteY92" fmla="*/ 6433349 h 6858000"/>
              <a:gd name="connsiteX93" fmla="*/ 11522795 w 12192000"/>
              <a:gd name="connsiteY93" fmla="*/ 6433349 h 6858000"/>
              <a:gd name="connsiteX94" fmla="*/ 11522795 w 12192000"/>
              <a:gd name="connsiteY94" fmla="*/ 6433342 h 6858000"/>
              <a:gd name="connsiteX95" fmla="*/ 11522795 w 12192000"/>
              <a:gd name="connsiteY95" fmla="*/ 6412396 h 6858000"/>
              <a:gd name="connsiteX96" fmla="*/ 10923532 w 12192000"/>
              <a:gd name="connsiteY96" fmla="*/ 6371439 h 6858000"/>
              <a:gd name="connsiteX97" fmla="*/ 10979491 w 12192000"/>
              <a:gd name="connsiteY97" fmla="*/ 6371439 h 6858000"/>
              <a:gd name="connsiteX98" fmla="*/ 10990685 w 12192000"/>
              <a:gd name="connsiteY98" fmla="*/ 6379534 h 6858000"/>
              <a:gd name="connsiteX99" fmla="*/ 10990685 w 12192000"/>
              <a:gd name="connsiteY99" fmla="*/ 6391203 h 6858000"/>
              <a:gd name="connsiteX100" fmla="*/ 10979491 w 12192000"/>
              <a:gd name="connsiteY100" fmla="*/ 6399298 h 6858000"/>
              <a:gd name="connsiteX101" fmla="*/ 10923532 w 12192000"/>
              <a:gd name="connsiteY101" fmla="*/ 6399298 h 6858000"/>
              <a:gd name="connsiteX102" fmla="*/ 11349305 w 12192000"/>
              <a:gd name="connsiteY102" fmla="*/ 6354060 h 6858000"/>
              <a:gd name="connsiteX103" fmla="*/ 11322868 w 12192000"/>
              <a:gd name="connsiteY103" fmla="*/ 6377879 h 6858000"/>
              <a:gd name="connsiteX104" fmla="*/ 11322868 w 12192000"/>
              <a:gd name="connsiteY104" fmla="*/ 6389074 h 6858000"/>
              <a:gd name="connsiteX105" fmla="*/ 11349305 w 12192000"/>
              <a:gd name="connsiteY105" fmla="*/ 6412878 h 6858000"/>
              <a:gd name="connsiteX106" fmla="*/ 11414541 w 12192000"/>
              <a:gd name="connsiteY106" fmla="*/ 6412878 h 6858000"/>
              <a:gd name="connsiteX107" fmla="*/ 11414541 w 12192000"/>
              <a:gd name="connsiteY107" fmla="*/ 6435983 h 6858000"/>
              <a:gd name="connsiteX108" fmla="*/ 11340480 w 12192000"/>
              <a:gd name="connsiteY108" fmla="*/ 6435983 h 6858000"/>
              <a:gd name="connsiteX109" fmla="*/ 11340480 w 12192000"/>
              <a:gd name="connsiteY109" fmla="*/ 6425375 h 6858000"/>
              <a:gd name="connsiteX110" fmla="*/ 11318587 w 12192000"/>
              <a:gd name="connsiteY110" fmla="*/ 6429430 h 6858000"/>
              <a:gd name="connsiteX111" fmla="*/ 11318587 w 12192000"/>
              <a:gd name="connsiteY111" fmla="*/ 6430980 h 6858000"/>
              <a:gd name="connsiteX112" fmla="*/ 11345009 w 12192000"/>
              <a:gd name="connsiteY112" fmla="*/ 6454784 h 6858000"/>
              <a:gd name="connsiteX113" fmla="*/ 11410501 w 12192000"/>
              <a:gd name="connsiteY113" fmla="*/ 6454784 h 6858000"/>
              <a:gd name="connsiteX114" fmla="*/ 11436690 w 12192000"/>
              <a:gd name="connsiteY114" fmla="*/ 6430980 h 6858000"/>
              <a:gd name="connsiteX115" fmla="*/ 11436690 w 12192000"/>
              <a:gd name="connsiteY115" fmla="*/ 6417166 h 6858000"/>
              <a:gd name="connsiteX116" fmla="*/ 11410501 w 12192000"/>
              <a:gd name="connsiteY116" fmla="*/ 6393362 h 6858000"/>
              <a:gd name="connsiteX117" fmla="*/ 11345009 w 12192000"/>
              <a:gd name="connsiteY117" fmla="*/ 6393362 h 6858000"/>
              <a:gd name="connsiteX118" fmla="*/ 11345009 w 12192000"/>
              <a:gd name="connsiteY118" fmla="*/ 6372154 h 6858000"/>
              <a:gd name="connsiteX119" fmla="*/ 11414300 w 12192000"/>
              <a:gd name="connsiteY119" fmla="*/ 6372154 h 6858000"/>
              <a:gd name="connsiteX120" fmla="*/ 11414300 w 12192000"/>
              <a:gd name="connsiteY120" fmla="*/ 6381565 h 6858000"/>
              <a:gd name="connsiteX121" fmla="*/ 11435486 w 12192000"/>
              <a:gd name="connsiteY121" fmla="*/ 6377051 h 6858000"/>
              <a:gd name="connsiteX122" fmla="*/ 11435486 w 12192000"/>
              <a:gd name="connsiteY122" fmla="*/ 6375968 h 6858000"/>
              <a:gd name="connsiteX123" fmla="*/ 11409064 w 12192000"/>
              <a:gd name="connsiteY123" fmla="*/ 6354060 h 6858000"/>
              <a:gd name="connsiteX124" fmla="*/ 11184971 w 12192000"/>
              <a:gd name="connsiteY124" fmla="*/ 6354060 h 6858000"/>
              <a:gd name="connsiteX125" fmla="*/ 11184971 w 12192000"/>
              <a:gd name="connsiteY125" fmla="*/ 6454776 h 6858000"/>
              <a:gd name="connsiteX126" fmla="*/ 11294264 w 12192000"/>
              <a:gd name="connsiteY126" fmla="*/ 6454776 h 6858000"/>
              <a:gd name="connsiteX127" fmla="*/ 11294264 w 12192000"/>
              <a:gd name="connsiteY127" fmla="*/ 6435967 h 6858000"/>
              <a:gd name="connsiteX128" fmla="*/ 11209738 w 12192000"/>
              <a:gd name="connsiteY128" fmla="*/ 6435967 h 6858000"/>
              <a:gd name="connsiteX129" fmla="*/ 11209738 w 12192000"/>
              <a:gd name="connsiteY129" fmla="*/ 6411200 h 6858000"/>
              <a:gd name="connsiteX130" fmla="*/ 11258310 w 12192000"/>
              <a:gd name="connsiteY130" fmla="*/ 6411200 h 6858000"/>
              <a:gd name="connsiteX131" fmla="*/ 11258310 w 12192000"/>
              <a:gd name="connsiteY131" fmla="*/ 6393821 h 6858000"/>
              <a:gd name="connsiteX132" fmla="*/ 11209738 w 12192000"/>
              <a:gd name="connsiteY132" fmla="*/ 6393821 h 6858000"/>
              <a:gd name="connsiteX133" fmla="*/ 11209738 w 12192000"/>
              <a:gd name="connsiteY133" fmla="*/ 6371913 h 6858000"/>
              <a:gd name="connsiteX134" fmla="*/ 11293083 w 12192000"/>
              <a:gd name="connsiteY134" fmla="*/ 6371913 h 6858000"/>
              <a:gd name="connsiteX135" fmla="*/ 11293083 w 12192000"/>
              <a:gd name="connsiteY135" fmla="*/ 6354060 h 6858000"/>
              <a:gd name="connsiteX136" fmla="*/ 11047262 w 12192000"/>
              <a:gd name="connsiteY136" fmla="*/ 6354060 h 6858000"/>
              <a:gd name="connsiteX137" fmla="*/ 11047262 w 12192000"/>
              <a:gd name="connsiteY137" fmla="*/ 6454776 h 6858000"/>
              <a:gd name="connsiteX138" fmla="*/ 11156555 w 12192000"/>
              <a:gd name="connsiteY138" fmla="*/ 6454776 h 6858000"/>
              <a:gd name="connsiteX139" fmla="*/ 11156555 w 12192000"/>
              <a:gd name="connsiteY139" fmla="*/ 6435967 h 6858000"/>
              <a:gd name="connsiteX140" fmla="*/ 11072029 w 12192000"/>
              <a:gd name="connsiteY140" fmla="*/ 6435967 h 6858000"/>
              <a:gd name="connsiteX141" fmla="*/ 11072029 w 12192000"/>
              <a:gd name="connsiteY141" fmla="*/ 6411200 h 6858000"/>
              <a:gd name="connsiteX142" fmla="*/ 11120601 w 12192000"/>
              <a:gd name="connsiteY142" fmla="*/ 6411200 h 6858000"/>
              <a:gd name="connsiteX143" fmla="*/ 11120601 w 12192000"/>
              <a:gd name="connsiteY143" fmla="*/ 6393821 h 6858000"/>
              <a:gd name="connsiteX144" fmla="*/ 11072029 w 12192000"/>
              <a:gd name="connsiteY144" fmla="*/ 6393821 h 6858000"/>
              <a:gd name="connsiteX145" fmla="*/ 11072029 w 12192000"/>
              <a:gd name="connsiteY145" fmla="*/ 6371913 h 6858000"/>
              <a:gd name="connsiteX146" fmla="*/ 11155374 w 12192000"/>
              <a:gd name="connsiteY146" fmla="*/ 6371913 h 6858000"/>
              <a:gd name="connsiteX147" fmla="*/ 11155374 w 12192000"/>
              <a:gd name="connsiteY147" fmla="*/ 6354060 h 6858000"/>
              <a:gd name="connsiteX148" fmla="*/ 10899246 w 12192000"/>
              <a:gd name="connsiteY148" fmla="*/ 6354060 h 6858000"/>
              <a:gd name="connsiteX149" fmla="*/ 10899246 w 12192000"/>
              <a:gd name="connsiteY149" fmla="*/ 6454776 h 6858000"/>
              <a:gd name="connsiteX150" fmla="*/ 10923539 w 12192000"/>
              <a:gd name="connsiteY150" fmla="*/ 6454776 h 6858000"/>
              <a:gd name="connsiteX151" fmla="*/ 10923539 w 12192000"/>
              <a:gd name="connsiteY151" fmla="*/ 6416670 h 6858000"/>
              <a:gd name="connsiteX152" fmla="*/ 10946636 w 12192000"/>
              <a:gd name="connsiteY152" fmla="*/ 6416670 h 6858000"/>
              <a:gd name="connsiteX153" fmla="*/ 10988782 w 12192000"/>
              <a:gd name="connsiteY153" fmla="*/ 6454776 h 6858000"/>
              <a:gd name="connsiteX154" fmla="*/ 11024029 w 12192000"/>
              <a:gd name="connsiteY154" fmla="*/ 6454776 h 6858000"/>
              <a:gd name="connsiteX155" fmla="*/ 10976158 w 12192000"/>
              <a:gd name="connsiteY155" fmla="*/ 6416670 h 6858000"/>
              <a:gd name="connsiteX156" fmla="*/ 10989971 w 12192000"/>
              <a:gd name="connsiteY156" fmla="*/ 6416670 h 6858000"/>
              <a:gd name="connsiteX157" fmla="*/ 11013549 w 12192000"/>
              <a:gd name="connsiteY157" fmla="*/ 6397395 h 6858000"/>
              <a:gd name="connsiteX158" fmla="*/ 11013549 w 12192000"/>
              <a:gd name="connsiteY158" fmla="*/ 6373583 h 6858000"/>
              <a:gd name="connsiteX159" fmla="*/ 10989971 w 12192000"/>
              <a:gd name="connsiteY159" fmla="*/ 6354060 h 6858000"/>
              <a:gd name="connsiteX160" fmla="*/ 10749425 w 12192000"/>
              <a:gd name="connsiteY160" fmla="*/ 6353819 h 6858000"/>
              <a:gd name="connsiteX161" fmla="*/ 10800140 w 12192000"/>
              <a:gd name="connsiteY161" fmla="*/ 6353819 h 6858000"/>
              <a:gd name="connsiteX162" fmla="*/ 10840624 w 12192000"/>
              <a:gd name="connsiteY162" fmla="*/ 6392158 h 6858000"/>
              <a:gd name="connsiteX163" fmla="*/ 10786327 w 12192000"/>
              <a:gd name="connsiteY163" fmla="*/ 6431686 h 6858000"/>
              <a:gd name="connsiteX164" fmla="*/ 10749425 w 12192000"/>
              <a:gd name="connsiteY164" fmla="*/ 6431686 h 6858000"/>
              <a:gd name="connsiteX165" fmla="*/ 11558990 w 12192000"/>
              <a:gd name="connsiteY165" fmla="*/ 6331911 h 6858000"/>
              <a:gd name="connsiteX166" fmla="*/ 11528513 w 12192000"/>
              <a:gd name="connsiteY166" fmla="*/ 6354293 h 6858000"/>
              <a:gd name="connsiteX167" fmla="*/ 11528513 w 12192000"/>
              <a:gd name="connsiteY167" fmla="*/ 6361192 h 6858000"/>
              <a:gd name="connsiteX168" fmla="*/ 11538993 w 12192000"/>
              <a:gd name="connsiteY168" fmla="*/ 6379767 h 6858000"/>
              <a:gd name="connsiteX169" fmla="*/ 11513978 w 12192000"/>
              <a:gd name="connsiteY169" fmla="*/ 6394776 h 6858000"/>
              <a:gd name="connsiteX170" fmla="*/ 11498743 w 12192000"/>
              <a:gd name="connsiteY170" fmla="*/ 6417633 h 6858000"/>
              <a:gd name="connsiteX171" fmla="*/ 11498743 w 12192000"/>
              <a:gd name="connsiteY171" fmla="*/ 6425728 h 6858000"/>
              <a:gd name="connsiteX172" fmla="*/ 11529454 w 12192000"/>
              <a:gd name="connsiteY172" fmla="*/ 6454776 h 6858000"/>
              <a:gd name="connsiteX173" fmla="*/ 11573270 w 12192000"/>
              <a:gd name="connsiteY173" fmla="*/ 6454776 h 6858000"/>
              <a:gd name="connsiteX174" fmla="*/ 11596367 w 12192000"/>
              <a:gd name="connsiteY174" fmla="*/ 6447388 h 6858000"/>
              <a:gd name="connsiteX175" fmla="*/ 11607321 w 12192000"/>
              <a:gd name="connsiteY175" fmla="*/ 6437630 h 6858000"/>
              <a:gd name="connsiteX176" fmla="*/ 11627559 w 12192000"/>
              <a:gd name="connsiteY176" fmla="*/ 6454776 h 6858000"/>
              <a:gd name="connsiteX177" fmla="*/ 11664950 w 12192000"/>
              <a:gd name="connsiteY177" fmla="*/ 6454776 h 6858000"/>
              <a:gd name="connsiteX178" fmla="*/ 11626137 w 12192000"/>
              <a:gd name="connsiteY178" fmla="*/ 6422147 h 6858000"/>
              <a:gd name="connsiteX179" fmla="*/ 11654470 w 12192000"/>
              <a:gd name="connsiteY179" fmla="*/ 6398583 h 6858000"/>
              <a:gd name="connsiteX180" fmla="*/ 11638272 w 12192000"/>
              <a:gd name="connsiteY180" fmla="*/ 6384537 h 6858000"/>
              <a:gd name="connsiteX181" fmla="*/ 11609698 w 12192000"/>
              <a:gd name="connsiteY181" fmla="*/ 6408341 h 6858000"/>
              <a:gd name="connsiteX182" fmla="*/ 11551836 w 12192000"/>
              <a:gd name="connsiteY182" fmla="*/ 6360244 h 6858000"/>
              <a:gd name="connsiteX183" fmla="*/ 11551836 w 12192000"/>
              <a:gd name="connsiteY183" fmla="*/ 6351434 h 6858000"/>
              <a:gd name="connsiteX184" fmla="*/ 11592086 w 12192000"/>
              <a:gd name="connsiteY184" fmla="*/ 6351434 h 6858000"/>
              <a:gd name="connsiteX185" fmla="*/ 11592086 w 12192000"/>
              <a:gd name="connsiteY185" fmla="*/ 6367873 h 6858000"/>
              <a:gd name="connsiteX186" fmla="*/ 11614220 w 12192000"/>
              <a:gd name="connsiteY186" fmla="*/ 6364066 h 6858000"/>
              <a:gd name="connsiteX187" fmla="*/ 11614220 w 12192000"/>
              <a:gd name="connsiteY187" fmla="*/ 6356678 h 6858000"/>
              <a:gd name="connsiteX188" fmla="*/ 11583742 w 12192000"/>
              <a:gd name="connsiteY188" fmla="*/ 6331911 h 6858000"/>
              <a:gd name="connsiteX189" fmla="*/ 10720851 w 12192000"/>
              <a:gd name="connsiteY189" fmla="*/ 6331911 h 6858000"/>
              <a:gd name="connsiteX190" fmla="*/ 10720851 w 12192000"/>
              <a:gd name="connsiteY190" fmla="*/ 6454776 h 6858000"/>
              <a:gd name="connsiteX191" fmla="*/ 10792527 w 12192000"/>
              <a:gd name="connsiteY191" fmla="*/ 6454776 h 6858000"/>
              <a:gd name="connsiteX192" fmla="*/ 10843009 w 12192000"/>
              <a:gd name="connsiteY192" fmla="*/ 6445259 h 6858000"/>
              <a:gd name="connsiteX193" fmla="*/ 10870146 w 12192000"/>
              <a:gd name="connsiteY193" fmla="*/ 6392632 h 6858000"/>
              <a:gd name="connsiteX194" fmla="*/ 10799900 w 12192000"/>
              <a:gd name="connsiteY194" fmla="*/ 6331911 h 6858000"/>
              <a:gd name="connsiteX195" fmla="*/ 0 w 12192000"/>
              <a:gd name="connsiteY195" fmla="*/ 0 h 6858000"/>
              <a:gd name="connsiteX196" fmla="*/ 378052 w 12192000"/>
              <a:gd name="connsiteY196" fmla="*/ 0 h 6858000"/>
              <a:gd name="connsiteX197" fmla="*/ 524400 w 12192000"/>
              <a:gd name="connsiteY197" fmla="*/ 0 h 6858000"/>
              <a:gd name="connsiteX198" fmla="*/ 6097201 w 12192000"/>
              <a:gd name="connsiteY198" fmla="*/ 0 h 6858000"/>
              <a:gd name="connsiteX199" fmla="*/ 7053943 w 12192000"/>
              <a:gd name="connsiteY199" fmla="*/ 0 h 6858000"/>
              <a:gd name="connsiteX200" fmla="*/ 12192000 w 12192000"/>
              <a:gd name="connsiteY200" fmla="*/ 0 h 6858000"/>
              <a:gd name="connsiteX201" fmla="*/ 12192000 w 12192000"/>
              <a:gd name="connsiteY201" fmla="*/ 6858000 h 6858000"/>
              <a:gd name="connsiteX202" fmla="*/ 0 w 12192000"/>
              <a:gd name="connsiteY20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</a:cxnLst>
            <a:rect l="l" t="t" r="r" b="b"/>
            <a:pathLst>
              <a:path w="12192000" h="6858000">
                <a:moveTo>
                  <a:pt x="10909343" y="6535879"/>
                </a:moveTo>
                <a:lnTo>
                  <a:pt x="10992168" y="6535879"/>
                </a:lnTo>
                <a:lnTo>
                  <a:pt x="10992168" y="6598745"/>
                </a:lnTo>
                <a:lnTo>
                  <a:pt x="10909343" y="6598745"/>
                </a:lnTo>
                <a:close/>
                <a:moveTo>
                  <a:pt x="11563256" y="6534690"/>
                </a:moveTo>
                <a:lnTo>
                  <a:pt x="11619215" y="6534690"/>
                </a:lnTo>
                <a:cubicBezTo>
                  <a:pt x="11626587" y="6534690"/>
                  <a:pt x="11630409" y="6536127"/>
                  <a:pt x="11630409" y="6542786"/>
                </a:cubicBezTo>
                <a:lnTo>
                  <a:pt x="11630409" y="6554455"/>
                </a:lnTo>
                <a:cubicBezTo>
                  <a:pt x="11630409" y="6561128"/>
                  <a:pt x="11626587" y="6562550"/>
                  <a:pt x="11619215" y="6562550"/>
                </a:cubicBezTo>
                <a:lnTo>
                  <a:pt x="11563256" y="6562550"/>
                </a:lnTo>
                <a:close/>
                <a:moveTo>
                  <a:pt x="10910306" y="6517318"/>
                </a:moveTo>
                <a:cubicBezTo>
                  <a:pt x="10890158" y="6517318"/>
                  <a:pt x="10883590" y="6521832"/>
                  <a:pt x="10883590" y="6541122"/>
                </a:cubicBezTo>
                <a:lnTo>
                  <a:pt x="10883590" y="6594223"/>
                </a:lnTo>
                <a:cubicBezTo>
                  <a:pt x="10883590" y="6613272"/>
                  <a:pt x="10889902" y="6618042"/>
                  <a:pt x="10910306" y="6618042"/>
                </a:cubicBezTo>
                <a:lnTo>
                  <a:pt x="10989730" y="6618042"/>
                </a:lnTo>
                <a:cubicBezTo>
                  <a:pt x="11009886" y="6618042"/>
                  <a:pt x="11016446" y="6613272"/>
                  <a:pt x="11016446" y="6594223"/>
                </a:cubicBezTo>
                <a:lnTo>
                  <a:pt x="11016446" y="6541122"/>
                </a:lnTo>
                <a:cubicBezTo>
                  <a:pt x="11016446" y="6521832"/>
                  <a:pt x="11009878" y="6517318"/>
                  <a:pt x="10989730" y="6517318"/>
                </a:cubicBezTo>
                <a:close/>
                <a:moveTo>
                  <a:pt x="11538985" y="6517311"/>
                </a:moveTo>
                <a:lnTo>
                  <a:pt x="11538985" y="6618035"/>
                </a:lnTo>
                <a:lnTo>
                  <a:pt x="11563263" y="6618035"/>
                </a:lnTo>
                <a:lnTo>
                  <a:pt x="11563263" y="6579929"/>
                </a:lnTo>
                <a:lnTo>
                  <a:pt x="11586360" y="6579929"/>
                </a:lnTo>
                <a:lnTo>
                  <a:pt x="11628506" y="6618035"/>
                </a:lnTo>
                <a:lnTo>
                  <a:pt x="11663753" y="6618035"/>
                </a:lnTo>
                <a:lnTo>
                  <a:pt x="11615897" y="6579929"/>
                </a:lnTo>
                <a:lnTo>
                  <a:pt x="11629710" y="6579929"/>
                </a:lnTo>
                <a:cubicBezTo>
                  <a:pt x="11645892" y="6579929"/>
                  <a:pt x="11653280" y="6574452"/>
                  <a:pt x="11653280" y="6560639"/>
                </a:cubicBezTo>
                <a:lnTo>
                  <a:pt x="11653280" y="6536835"/>
                </a:lnTo>
                <a:cubicBezTo>
                  <a:pt x="11653280" y="6522788"/>
                  <a:pt x="11645892" y="6517311"/>
                  <a:pt x="11629710" y="6517311"/>
                </a:cubicBezTo>
                <a:close/>
                <a:moveTo>
                  <a:pt x="11401645" y="6517311"/>
                </a:moveTo>
                <a:lnTo>
                  <a:pt x="11401645" y="6618035"/>
                </a:lnTo>
                <a:lnTo>
                  <a:pt x="11513119" y="6618035"/>
                </a:lnTo>
                <a:lnTo>
                  <a:pt x="11513119" y="6599219"/>
                </a:lnTo>
                <a:lnTo>
                  <a:pt x="11426909" y="6599219"/>
                </a:lnTo>
                <a:lnTo>
                  <a:pt x="11426909" y="6574452"/>
                </a:lnTo>
                <a:lnTo>
                  <a:pt x="11476458" y="6574452"/>
                </a:lnTo>
                <a:lnTo>
                  <a:pt x="11476458" y="6557073"/>
                </a:lnTo>
                <a:lnTo>
                  <a:pt x="11426909" y="6557073"/>
                </a:lnTo>
                <a:lnTo>
                  <a:pt x="11426909" y="6535179"/>
                </a:lnTo>
                <a:lnTo>
                  <a:pt x="11511908" y="6535179"/>
                </a:lnTo>
                <a:lnTo>
                  <a:pt x="11511908" y="6517311"/>
                </a:lnTo>
                <a:close/>
                <a:moveTo>
                  <a:pt x="11225454" y="6517311"/>
                </a:moveTo>
                <a:lnTo>
                  <a:pt x="11225454" y="6618035"/>
                </a:lnTo>
                <a:lnTo>
                  <a:pt x="11248423" y="6618035"/>
                </a:lnTo>
                <a:lnTo>
                  <a:pt x="11248423" y="6550414"/>
                </a:lnTo>
                <a:lnTo>
                  <a:pt x="11294805" y="6605892"/>
                </a:lnTo>
                <a:lnTo>
                  <a:pt x="11299665" y="6605892"/>
                </a:lnTo>
                <a:lnTo>
                  <a:pt x="11345558" y="6548737"/>
                </a:lnTo>
                <a:lnTo>
                  <a:pt x="11345558" y="6618035"/>
                </a:lnTo>
                <a:lnTo>
                  <a:pt x="11368873" y="6618035"/>
                </a:lnTo>
                <a:lnTo>
                  <a:pt x="11368873" y="6517311"/>
                </a:lnTo>
                <a:lnTo>
                  <a:pt x="11348725" y="6517311"/>
                </a:lnTo>
                <a:lnTo>
                  <a:pt x="11298687" y="6577070"/>
                </a:lnTo>
                <a:lnTo>
                  <a:pt x="11248423" y="6517311"/>
                </a:lnTo>
                <a:close/>
                <a:moveTo>
                  <a:pt x="11048135" y="6517311"/>
                </a:moveTo>
                <a:lnTo>
                  <a:pt x="11048135" y="6618035"/>
                </a:lnTo>
                <a:lnTo>
                  <a:pt x="11071096" y="6618035"/>
                </a:lnTo>
                <a:lnTo>
                  <a:pt x="11071096" y="6550414"/>
                </a:lnTo>
                <a:lnTo>
                  <a:pt x="11117478" y="6605892"/>
                </a:lnTo>
                <a:lnTo>
                  <a:pt x="11122331" y="6605892"/>
                </a:lnTo>
                <a:lnTo>
                  <a:pt x="11168239" y="6548737"/>
                </a:lnTo>
                <a:lnTo>
                  <a:pt x="11168239" y="6618035"/>
                </a:lnTo>
                <a:lnTo>
                  <a:pt x="11191554" y="6618035"/>
                </a:lnTo>
                <a:lnTo>
                  <a:pt x="11191554" y="6517311"/>
                </a:lnTo>
                <a:lnTo>
                  <a:pt x="11171399" y="6517311"/>
                </a:lnTo>
                <a:lnTo>
                  <a:pt x="11121368" y="6577070"/>
                </a:lnTo>
                <a:lnTo>
                  <a:pt x="11071096" y="6517311"/>
                </a:lnTo>
                <a:close/>
                <a:moveTo>
                  <a:pt x="10752277" y="6495162"/>
                </a:moveTo>
                <a:cubicBezTo>
                  <a:pt x="10729180" y="6495162"/>
                  <a:pt x="10721799" y="6501113"/>
                  <a:pt x="10721799" y="6524218"/>
                </a:cubicBezTo>
                <a:lnTo>
                  <a:pt x="10721799" y="6537775"/>
                </a:lnTo>
                <a:cubicBezTo>
                  <a:pt x="10721799" y="6560879"/>
                  <a:pt x="10729187" y="6566830"/>
                  <a:pt x="10752277" y="6566830"/>
                </a:cubicBezTo>
                <a:lnTo>
                  <a:pt x="10828955" y="6566830"/>
                </a:lnTo>
                <a:lnTo>
                  <a:pt x="10828955" y="6594930"/>
                </a:lnTo>
                <a:lnTo>
                  <a:pt x="10742052" y="6594930"/>
                </a:lnTo>
                <a:lnTo>
                  <a:pt x="10742052" y="6581704"/>
                </a:lnTo>
                <a:lnTo>
                  <a:pt x="10716796" y="6586948"/>
                </a:lnTo>
                <a:lnTo>
                  <a:pt x="10716796" y="6588979"/>
                </a:lnTo>
                <a:cubicBezTo>
                  <a:pt x="10716796" y="6612076"/>
                  <a:pt x="10724417" y="6618027"/>
                  <a:pt x="10747514" y="6618027"/>
                </a:cubicBezTo>
                <a:lnTo>
                  <a:pt x="10823486" y="6618027"/>
                </a:lnTo>
                <a:cubicBezTo>
                  <a:pt x="10846583" y="6618027"/>
                  <a:pt x="10854204" y="6612076"/>
                  <a:pt x="10854204" y="6588979"/>
                </a:cubicBezTo>
                <a:lnTo>
                  <a:pt x="10854204" y="6572074"/>
                </a:lnTo>
                <a:cubicBezTo>
                  <a:pt x="10854204" y="6548970"/>
                  <a:pt x="10846583" y="6543019"/>
                  <a:pt x="10823486" y="6543019"/>
                </a:cubicBezTo>
                <a:lnTo>
                  <a:pt x="10746799" y="6543019"/>
                </a:lnTo>
                <a:lnTo>
                  <a:pt x="10746799" y="6516596"/>
                </a:lnTo>
                <a:lnTo>
                  <a:pt x="10827285" y="6516596"/>
                </a:lnTo>
                <a:lnTo>
                  <a:pt x="10827285" y="6529905"/>
                </a:lnTo>
                <a:lnTo>
                  <a:pt x="10852526" y="6523954"/>
                </a:lnTo>
                <a:lnTo>
                  <a:pt x="10852526" y="6522074"/>
                </a:lnTo>
                <a:cubicBezTo>
                  <a:pt x="10852526" y="6500872"/>
                  <a:pt x="10843957" y="6495162"/>
                  <a:pt x="10822049" y="6495162"/>
                </a:cubicBezTo>
                <a:close/>
                <a:moveTo>
                  <a:pt x="11554221" y="6392873"/>
                </a:moveTo>
                <a:lnTo>
                  <a:pt x="11591123" y="6423591"/>
                </a:lnTo>
                <a:lnTo>
                  <a:pt x="11579695" y="6433349"/>
                </a:lnTo>
                <a:lnTo>
                  <a:pt x="11522795" y="6433349"/>
                </a:lnTo>
                <a:lnTo>
                  <a:pt x="11522795" y="6433342"/>
                </a:lnTo>
                <a:lnTo>
                  <a:pt x="11522795" y="6412396"/>
                </a:lnTo>
                <a:close/>
                <a:moveTo>
                  <a:pt x="10923532" y="6371439"/>
                </a:moveTo>
                <a:lnTo>
                  <a:pt x="10979491" y="6371439"/>
                </a:lnTo>
                <a:cubicBezTo>
                  <a:pt x="10986864" y="6371439"/>
                  <a:pt x="10990685" y="6372876"/>
                  <a:pt x="10990685" y="6379534"/>
                </a:cubicBezTo>
                <a:lnTo>
                  <a:pt x="10990685" y="6391203"/>
                </a:lnTo>
                <a:cubicBezTo>
                  <a:pt x="10990685" y="6397876"/>
                  <a:pt x="10986864" y="6399298"/>
                  <a:pt x="10979491" y="6399298"/>
                </a:cubicBezTo>
                <a:lnTo>
                  <a:pt x="10923532" y="6399298"/>
                </a:lnTo>
                <a:close/>
                <a:moveTo>
                  <a:pt x="11349305" y="6354060"/>
                </a:moveTo>
                <a:cubicBezTo>
                  <a:pt x="11329541" y="6354060"/>
                  <a:pt x="11322868" y="6358830"/>
                  <a:pt x="11322868" y="6377879"/>
                </a:cubicBezTo>
                <a:lnTo>
                  <a:pt x="11322868" y="6389074"/>
                </a:lnTo>
                <a:cubicBezTo>
                  <a:pt x="11322868" y="6408123"/>
                  <a:pt x="11329541" y="6412878"/>
                  <a:pt x="11349305" y="6412878"/>
                </a:cubicBezTo>
                <a:lnTo>
                  <a:pt x="11414541" y="6412878"/>
                </a:lnTo>
                <a:lnTo>
                  <a:pt x="11414541" y="6435983"/>
                </a:lnTo>
                <a:lnTo>
                  <a:pt x="11340480" y="6435983"/>
                </a:lnTo>
                <a:lnTo>
                  <a:pt x="11340480" y="6425375"/>
                </a:lnTo>
                <a:lnTo>
                  <a:pt x="11318587" y="6429430"/>
                </a:lnTo>
                <a:lnTo>
                  <a:pt x="11318587" y="6430980"/>
                </a:lnTo>
                <a:cubicBezTo>
                  <a:pt x="11318587" y="6449796"/>
                  <a:pt x="11325012" y="6454784"/>
                  <a:pt x="11345009" y="6454784"/>
                </a:cubicBezTo>
                <a:lnTo>
                  <a:pt x="11410501" y="6454784"/>
                </a:lnTo>
                <a:cubicBezTo>
                  <a:pt x="11430498" y="6454784"/>
                  <a:pt x="11436690" y="6449796"/>
                  <a:pt x="11436690" y="6430980"/>
                </a:cubicBezTo>
                <a:lnTo>
                  <a:pt x="11436690" y="6417166"/>
                </a:lnTo>
                <a:cubicBezTo>
                  <a:pt x="11436690" y="6398117"/>
                  <a:pt x="11430506" y="6393362"/>
                  <a:pt x="11410501" y="6393362"/>
                </a:cubicBezTo>
                <a:lnTo>
                  <a:pt x="11345009" y="6393362"/>
                </a:lnTo>
                <a:lnTo>
                  <a:pt x="11345009" y="6372154"/>
                </a:lnTo>
                <a:lnTo>
                  <a:pt x="11414300" y="6372154"/>
                </a:lnTo>
                <a:lnTo>
                  <a:pt x="11414300" y="6381565"/>
                </a:lnTo>
                <a:lnTo>
                  <a:pt x="11435486" y="6377051"/>
                </a:lnTo>
                <a:lnTo>
                  <a:pt x="11435486" y="6375968"/>
                </a:lnTo>
                <a:cubicBezTo>
                  <a:pt x="11435486" y="6358356"/>
                  <a:pt x="11427639" y="6354060"/>
                  <a:pt x="11409064" y="6354060"/>
                </a:cubicBezTo>
                <a:close/>
                <a:moveTo>
                  <a:pt x="11184971" y="6354060"/>
                </a:moveTo>
                <a:lnTo>
                  <a:pt x="11184971" y="6454776"/>
                </a:lnTo>
                <a:lnTo>
                  <a:pt x="11294264" y="6454776"/>
                </a:lnTo>
                <a:lnTo>
                  <a:pt x="11294264" y="6435967"/>
                </a:lnTo>
                <a:lnTo>
                  <a:pt x="11209738" y="6435967"/>
                </a:lnTo>
                <a:lnTo>
                  <a:pt x="11209738" y="6411200"/>
                </a:lnTo>
                <a:lnTo>
                  <a:pt x="11258310" y="6411200"/>
                </a:lnTo>
                <a:lnTo>
                  <a:pt x="11258310" y="6393821"/>
                </a:lnTo>
                <a:lnTo>
                  <a:pt x="11209738" y="6393821"/>
                </a:lnTo>
                <a:lnTo>
                  <a:pt x="11209738" y="6371913"/>
                </a:lnTo>
                <a:lnTo>
                  <a:pt x="11293083" y="6371913"/>
                </a:lnTo>
                <a:lnTo>
                  <a:pt x="11293083" y="6354060"/>
                </a:lnTo>
                <a:close/>
                <a:moveTo>
                  <a:pt x="11047262" y="6354060"/>
                </a:moveTo>
                <a:lnTo>
                  <a:pt x="11047262" y="6454776"/>
                </a:lnTo>
                <a:lnTo>
                  <a:pt x="11156555" y="6454776"/>
                </a:lnTo>
                <a:lnTo>
                  <a:pt x="11156555" y="6435967"/>
                </a:lnTo>
                <a:lnTo>
                  <a:pt x="11072029" y="6435967"/>
                </a:lnTo>
                <a:lnTo>
                  <a:pt x="11072029" y="6411200"/>
                </a:lnTo>
                <a:lnTo>
                  <a:pt x="11120601" y="6411200"/>
                </a:lnTo>
                <a:lnTo>
                  <a:pt x="11120601" y="6393821"/>
                </a:lnTo>
                <a:lnTo>
                  <a:pt x="11072029" y="6393821"/>
                </a:lnTo>
                <a:lnTo>
                  <a:pt x="11072029" y="6371913"/>
                </a:lnTo>
                <a:lnTo>
                  <a:pt x="11155374" y="6371913"/>
                </a:lnTo>
                <a:lnTo>
                  <a:pt x="11155374" y="6354060"/>
                </a:lnTo>
                <a:close/>
                <a:moveTo>
                  <a:pt x="10899246" y="6354060"/>
                </a:moveTo>
                <a:lnTo>
                  <a:pt x="10899246" y="6454776"/>
                </a:lnTo>
                <a:lnTo>
                  <a:pt x="10923539" y="6454776"/>
                </a:lnTo>
                <a:lnTo>
                  <a:pt x="10923539" y="6416670"/>
                </a:lnTo>
                <a:lnTo>
                  <a:pt x="10946636" y="6416670"/>
                </a:lnTo>
                <a:lnTo>
                  <a:pt x="10988782" y="6454776"/>
                </a:lnTo>
                <a:lnTo>
                  <a:pt x="11024029" y="6454776"/>
                </a:lnTo>
                <a:lnTo>
                  <a:pt x="10976158" y="6416670"/>
                </a:lnTo>
                <a:lnTo>
                  <a:pt x="10989971" y="6416670"/>
                </a:lnTo>
                <a:cubicBezTo>
                  <a:pt x="11006169" y="6416670"/>
                  <a:pt x="11013549" y="6411193"/>
                  <a:pt x="11013549" y="6397395"/>
                </a:cubicBezTo>
                <a:lnTo>
                  <a:pt x="11013549" y="6373583"/>
                </a:lnTo>
                <a:cubicBezTo>
                  <a:pt x="11013549" y="6359537"/>
                  <a:pt x="11006161" y="6354060"/>
                  <a:pt x="10989971" y="6354060"/>
                </a:cubicBezTo>
                <a:close/>
                <a:moveTo>
                  <a:pt x="10749425" y="6353819"/>
                </a:moveTo>
                <a:lnTo>
                  <a:pt x="10800140" y="6353819"/>
                </a:lnTo>
                <a:cubicBezTo>
                  <a:pt x="10827052" y="6353819"/>
                  <a:pt x="10840624" y="6367158"/>
                  <a:pt x="10840624" y="6392158"/>
                </a:cubicBezTo>
                <a:cubicBezTo>
                  <a:pt x="10840624" y="6422636"/>
                  <a:pt x="10822523" y="6431686"/>
                  <a:pt x="10786327" y="6431686"/>
                </a:cubicBezTo>
                <a:lnTo>
                  <a:pt x="10749425" y="6431686"/>
                </a:lnTo>
                <a:close/>
                <a:moveTo>
                  <a:pt x="11558990" y="6331911"/>
                </a:moveTo>
                <a:cubicBezTo>
                  <a:pt x="11538030" y="6331911"/>
                  <a:pt x="11528513" y="6336681"/>
                  <a:pt x="11528513" y="6354293"/>
                </a:cubicBezTo>
                <a:lnTo>
                  <a:pt x="11528513" y="6361192"/>
                </a:lnTo>
                <a:cubicBezTo>
                  <a:pt x="11528513" y="6368339"/>
                  <a:pt x="11531846" y="6373816"/>
                  <a:pt x="11538993" y="6379767"/>
                </a:cubicBezTo>
                <a:lnTo>
                  <a:pt x="11513978" y="6394776"/>
                </a:lnTo>
                <a:cubicBezTo>
                  <a:pt x="11503272" y="6401202"/>
                  <a:pt x="11498743" y="6405008"/>
                  <a:pt x="11498743" y="6417633"/>
                </a:cubicBezTo>
                <a:lnTo>
                  <a:pt x="11498743" y="6425728"/>
                </a:lnTo>
                <a:cubicBezTo>
                  <a:pt x="11498743" y="6448825"/>
                  <a:pt x="11506364" y="6454776"/>
                  <a:pt x="11529454" y="6454776"/>
                </a:cubicBezTo>
                <a:lnTo>
                  <a:pt x="11573270" y="6454776"/>
                </a:lnTo>
                <a:cubicBezTo>
                  <a:pt x="11583502" y="6454776"/>
                  <a:pt x="11588505" y="6454302"/>
                  <a:pt x="11596367" y="6447388"/>
                </a:cubicBezTo>
                <a:lnTo>
                  <a:pt x="11607321" y="6437630"/>
                </a:lnTo>
                <a:lnTo>
                  <a:pt x="11627559" y="6454776"/>
                </a:lnTo>
                <a:lnTo>
                  <a:pt x="11664950" y="6454776"/>
                </a:lnTo>
                <a:lnTo>
                  <a:pt x="11626137" y="6422147"/>
                </a:lnTo>
                <a:lnTo>
                  <a:pt x="11654470" y="6398583"/>
                </a:lnTo>
                <a:lnTo>
                  <a:pt x="11638272" y="6384537"/>
                </a:lnTo>
                <a:lnTo>
                  <a:pt x="11609698" y="6408341"/>
                </a:lnTo>
                <a:lnTo>
                  <a:pt x="11551836" y="6360244"/>
                </a:lnTo>
                <a:lnTo>
                  <a:pt x="11551836" y="6351434"/>
                </a:lnTo>
                <a:lnTo>
                  <a:pt x="11592086" y="6351434"/>
                </a:lnTo>
                <a:lnTo>
                  <a:pt x="11592086" y="6367873"/>
                </a:lnTo>
                <a:lnTo>
                  <a:pt x="11614220" y="6364066"/>
                </a:lnTo>
                <a:lnTo>
                  <a:pt x="11614220" y="6356678"/>
                </a:lnTo>
                <a:cubicBezTo>
                  <a:pt x="11614220" y="6336681"/>
                  <a:pt x="11605884" y="6331911"/>
                  <a:pt x="11583742" y="6331911"/>
                </a:cubicBezTo>
                <a:close/>
                <a:moveTo>
                  <a:pt x="10720851" y="6331911"/>
                </a:moveTo>
                <a:lnTo>
                  <a:pt x="10720851" y="6454776"/>
                </a:lnTo>
                <a:lnTo>
                  <a:pt x="10792527" y="6454776"/>
                </a:lnTo>
                <a:cubicBezTo>
                  <a:pt x="10814420" y="6454776"/>
                  <a:pt x="10831092" y="6452632"/>
                  <a:pt x="10843009" y="6445259"/>
                </a:cubicBezTo>
                <a:cubicBezTo>
                  <a:pt x="10860155" y="6434779"/>
                  <a:pt x="10870146" y="6415729"/>
                  <a:pt x="10870146" y="6392632"/>
                </a:cubicBezTo>
                <a:cubicBezTo>
                  <a:pt x="10870146" y="6354534"/>
                  <a:pt x="10845868" y="6331911"/>
                  <a:pt x="10799900" y="6331911"/>
                </a:cubicBezTo>
                <a:close/>
                <a:moveTo>
                  <a:pt x="0" y="0"/>
                </a:moveTo>
                <a:lnTo>
                  <a:pt x="378052" y="0"/>
                </a:lnTo>
                <a:lnTo>
                  <a:pt x="524400" y="0"/>
                </a:lnTo>
                <a:lnTo>
                  <a:pt x="6097201" y="0"/>
                </a:lnTo>
                <a:lnTo>
                  <a:pt x="7053943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FFCB50B-5503-4467-8A0F-9FBB8B48B97D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25600" y="0"/>
            <a:ext cx="5572800" cy="1735120"/>
          </a:xfrm>
          <a:solidFill>
            <a:schemeClr val="bg1"/>
          </a:solidFill>
        </p:spPr>
        <p:txBody>
          <a:bodyPr wrap="square" lIns="288000" tIns="669600" rIns="288000" bIns="216000" anchor="t">
            <a:spAutoFit/>
          </a:bodyPr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6" name="logo drees&amp;sommer white">
            <a:extLst>
              <a:ext uri="{FF2B5EF4-FFF2-40B4-BE49-F238E27FC236}">
                <a16:creationId xmlns:a16="http://schemas.microsoft.com/office/drawing/2014/main" id="{C5A4F7E3-6A86-447A-9CFF-A1484D8D1910}"/>
              </a:ext>
            </a:extLst>
          </p:cNvPr>
          <p:cNvSpPr>
            <a:spLocks noGrp="1"/>
          </p:cNvSpPr>
          <p:nvPr>
            <p:ph type="media" sz="quarter" idx="20"/>
          </p:nvPr>
        </p:nvSpPr>
        <p:spPr bwMode="gray">
          <a:xfrm>
            <a:off x="10716797" y="6330042"/>
            <a:ext cx="946800" cy="2880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15875" cap="flat">
            <a:noFill/>
            <a:prstDash val="lgDash"/>
          </a:ln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de-DE"/>
              <a:t>Mediaclip durch Klicken auf Symbol hinzufügen</a:t>
            </a:r>
            <a:endParaRPr lang="de-DE" dirty="0"/>
          </a:p>
        </p:txBody>
      </p:sp>
      <p:sp>
        <p:nvSpPr>
          <p:cNvPr id="15" name="info">
            <a:extLst>
              <a:ext uri="{FF2B5EF4-FFF2-40B4-BE49-F238E27FC236}">
                <a16:creationId xmlns:a16="http://schemas.microsoft.com/office/drawing/2014/main" id="{8266E65B-4E20-41D2-B318-F27AD513E19C}"/>
              </a:ext>
            </a:extLst>
          </p:cNvPr>
          <p:cNvSpPr/>
          <p:nvPr/>
        </p:nvSpPr>
        <p:spPr bwMode="gray">
          <a:xfrm flipH="1">
            <a:off x="12247320" y="6288645"/>
            <a:ext cx="1579616" cy="370793"/>
          </a:xfrm>
          <a:prstGeom prst="homePlate">
            <a:avLst/>
          </a:prstGeom>
          <a:solidFill>
            <a:srgbClr val="0029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36000" rtlCol="0" anchor="ctr">
            <a:spAutoFit/>
          </a:bodyPr>
          <a:lstStyle/>
          <a:p>
            <a:pPr algn="ctr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sz="1050" dirty="0">
                <a:solidFill>
                  <a:schemeClr val="bg1"/>
                </a:solidFill>
              </a:rPr>
              <a:t>delete the white logo </a:t>
            </a:r>
            <a:br>
              <a:rPr lang="en-US" sz="1050" dirty="0">
                <a:solidFill>
                  <a:schemeClr val="bg1"/>
                </a:solidFill>
              </a:rPr>
            </a:br>
            <a:r>
              <a:rPr lang="en-US" sz="1050" dirty="0">
                <a:solidFill>
                  <a:schemeClr val="bg1"/>
                </a:solidFill>
              </a:rPr>
              <a:t>to get the BLUE LOGO</a:t>
            </a:r>
            <a:endParaRPr lang="de-DE" sz="1050" dirty="0">
              <a:solidFill>
                <a:schemeClr val="bg1"/>
              </a:solidFill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90B54C2D-8235-4852-8EB7-5E05529B24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525600" y="7200000"/>
            <a:ext cx="234000" cy="180000"/>
          </a:xfrm>
        </p:spPr>
        <p:txBody>
          <a:bodyPr lIns="0" tIns="0" rIns="0" bIns="0"/>
          <a:lstStyle/>
          <a:p>
            <a:fld id="{9829449A-3FF3-45CE-9F4F-09BADC0910C6}" type="slidenum">
              <a:rPr lang="de-DE" noProof="0"/>
              <a:t>‹Nr.›</a:t>
            </a:fld>
            <a:endParaRPr lang="de-DE" noProof="0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A4534FC4-D037-44B0-B266-D9E820FC1D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763200" y="7200000"/>
            <a:ext cx="7880400" cy="180000"/>
          </a:xfrm>
        </p:spPr>
        <p:txBody>
          <a:bodyPr lIns="0" tIns="0" rIns="0" bIns="0"/>
          <a:lstStyle/>
          <a:p>
            <a:endParaRPr lang="de-DE" noProof="0" dirty="0"/>
          </a:p>
        </p:txBody>
      </p:sp>
      <p:grpSp>
        <p:nvGrpSpPr>
          <p:cNvPr id="3" name="info">
            <a:extLst>
              <a:ext uri="{FF2B5EF4-FFF2-40B4-BE49-F238E27FC236}">
                <a16:creationId xmlns:a16="http://schemas.microsoft.com/office/drawing/2014/main" id="{BED77624-F7E5-814D-8D51-6C4D63F11139}"/>
              </a:ext>
            </a:extLst>
          </p:cNvPr>
          <p:cNvGrpSpPr/>
          <p:nvPr/>
        </p:nvGrpSpPr>
        <p:grpSpPr>
          <a:xfrm>
            <a:off x="12247320" y="3143250"/>
            <a:ext cx="1579616" cy="2823211"/>
            <a:chOff x="12399720" y="2598103"/>
            <a:chExt cx="1579616" cy="2823211"/>
          </a:xfrm>
          <a:solidFill>
            <a:srgbClr val="002965"/>
          </a:solidFill>
        </p:grpSpPr>
        <p:sp>
          <p:nvSpPr>
            <p:cNvPr id="7" name="info">
              <a:extLst>
                <a:ext uri="{FF2B5EF4-FFF2-40B4-BE49-F238E27FC236}">
                  <a16:creationId xmlns:a16="http://schemas.microsoft.com/office/drawing/2014/main" id="{4573D568-0ED1-2D01-C448-255C926C9DEB}"/>
                </a:ext>
              </a:extLst>
            </p:cNvPr>
            <p:cNvSpPr/>
            <p:nvPr userDrawn="1"/>
          </p:nvSpPr>
          <p:spPr bwMode="gray">
            <a:xfrm flipH="1">
              <a:off x="12399720" y="4947928"/>
              <a:ext cx="1579616" cy="473385"/>
            </a:xfrm>
            <a:prstGeom prst="homePlat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36000" rtlCol="0" anchor="ctr">
              <a:spAutoFit/>
            </a:bodyPr>
            <a:lstStyle/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 dirty="0">
                <a:solidFill>
                  <a:schemeClr val="tx2"/>
                </a:solidFill>
              </a:endParaRPr>
            </a:p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 dirty="0">
                <a:solidFill>
                  <a:schemeClr val="tx2"/>
                </a:solidFill>
              </a:endParaRPr>
            </a:p>
          </p:txBody>
        </p:sp>
        <p:sp>
          <p:nvSpPr>
            <p:cNvPr id="9" name="info">
              <a:extLst>
                <a:ext uri="{FF2B5EF4-FFF2-40B4-BE49-F238E27FC236}">
                  <a16:creationId xmlns:a16="http://schemas.microsoft.com/office/drawing/2014/main" id="{623451A6-7109-84DB-9922-139A9A3FC8E3}"/>
                </a:ext>
              </a:extLst>
            </p:cNvPr>
            <p:cNvSpPr/>
            <p:nvPr userDrawn="1"/>
          </p:nvSpPr>
          <p:spPr bwMode="gray">
            <a:xfrm flipH="1">
              <a:off x="12634899" y="2598103"/>
              <a:ext cx="1344423" cy="28232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36000" rtlCol="0" anchor="t">
              <a:noAutofit/>
            </a:bodyPr>
            <a:lstStyle/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b="1" cap="all" dirty="0">
                  <a:solidFill>
                    <a:schemeClr val="bg1"/>
                  </a:solidFill>
                </a:rPr>
                <a:t>image credit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b="1" dirty="0">
                  <a:solidFill>
                    <a:schemeClr val="bg1"/>
                  </a:solidFill>
                </a:rPr>
                <a:t>Always include</a:t>
              </a:r>
              <a:br>
                <a:rPr lang="en-US" sz="1050" b="1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redit!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How to get 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redit </a:t>
              </a:r>
              <a:r>
                <a:rPr lang="en-US" sz="1050" b="1" dirty="0">
                  <a:solidFill>
                    <a:schemeClr val="bg1"/>
                  </a:solidFill>
                </a:rPr>
                <a:t>placeholder</a:t>
              </a:r>
              <a:r>
                <a:rPr lang="en-US" sz="1050" dirty="0">
                  <a:solidFill>
                    <a:schemeClr val="bg1"/>
                  </a:solidFill>
                </a:rPr>
                <a:t>: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&gt; empower menu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&gt; text elements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&gt; depending on 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hoose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“</a:t>
              </a:r>
              <a:r>
                <a:rPr lang="en-US" sz="1050" b="1" dirty="0">
                  <a:solidFill>
                    <a:schemeClr val="bg1"/>
                  </a:solidFill>
                </a:rPr>
                <a:t>Copyright right/left grey</a:t>
              </a:r>
              <a:r>
                <a:rPr lang="en-US" sz="1050" dirty="0">
                  <a:solidFill>
                    <a:schemeClr val="bg1"/>
                  </a:solidFill>
                </a:rPr>
                <a:t>” 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or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“</a:t>
              </a:r>
              <a:r>
                <a:rPr lang="en-US" sz="1050" b="1" dirty="0">
                  <a:solidFill>
                    <a:schemeClr val="bg1"/>
                  </a:solidFill>
                </a:rPr>
                <a:t>Copyright right/left white</a:t>
              </a:r>
              <a:r>
                <a:rPr lang="en-US" sz="1050" dirty="0">
                  <a:solidFill>
                    <a:schemeClr val="bg1"/>
                  </a:solidFill>
                </a:rPr>
                <a:t>”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99556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mess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logo drees&amp;sommer blue mask">
            <a:extLst>
              <a:ext uri="{FF2B5EF4-FFF2-40B4-BE49-F238E27FC236}">
                <a16:creationId xmlns:a16="http://schemas.microsoft.com/office/drawing/2014/main" id="{7DFCFBB7-6B39-4D0E-BE6B-B3B479E24FA2}"/>
              </a:ext>
            </a:extLst>
          </p:cNvPr>
          <p:cNvSpPr/>
          <p:nvPr/>
        </p:nvSpPr>
        <p:spPr bwMode="gray">
          <a:xfrm>
            <a:off x="10579100" y="6197600"/>
            <a:ext cx="1270000" cy="584200"/>
          </a:xfrm>
          <a:prstGeom prst="rect">
            <a:avLst/>
          </a:prstGeom>
          <a:solidFill>
            <a:srgbClr val="0029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de-DE" sz="1400" dirty="0"/>
          </a:p>
        </p:txBody>
      </p:sp>
      <p:sp>
        <p:nvSpPr>
          <p:cNvPr id="7" name="picture">
            <a:extLst>
              <a:ext uri="{FF2B5EF4-FFF2-40B4-BE49-F238E27FC236}">
                <a16:creationId xmlns:a16="http://schemas.microsoft.com/office/drawing/2014/main" id="{C408B2F1-5704-DF64-B276-7089319F9E6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10909343 w 12192000"/>
              <a:gd name="connsiteY0" fmla="*/ 6535879 h 6858000"/>
              <a:gd name="connsiteX1" fmla="*/ 10992168 w 12192000"/>
              <a:gd name="connsiteY1" fmla="*/ 6535879 h 6858000"/>
              <a:gd name="connsiteX2" fmla="*/ 10992168 w 12192000"/>
              <a:gd name="connsiteY2" fmla="*/ 6598745 h 6858000"/>
              <a:gd name="connsiteX3" fmla="*/ 10909343 w 12192000"/>
              <a:gd name="connsiteY3" fmla="*/ 6598745 h 6858000"/>
              <a:gd name="connsiteX4" fmla="*/ 11563256 w 12192000"/>
              <a:gd name="connsiteY4" fmla="*/ 6534690 h 6858000"/>
              <a:gd name="connsiteX5" fmla="*/ 11619215 w 12192000"/>
              <a:gd name="connsiteY5" fmla="*/ 6534690 h 6858000"/>
              <a:gd name="connsiteX6" fmla="*/ 11630409 w 12192000"/>
              <a:gd name="connsiteY6" fmla="*/ 6542786 h 6858000"/>
              <a:gd name="connsiteX7" fmla="*/ 11630409 w 12192000"/>
              <a:gd name="connsiteY7" fmla="*/ 6554455 h 6858000"/>
              <a:gd name="connsiteX8" fmla="*/ 11619215 w 12192000"/>
              <a:gd name="connsiteY8" fmla="*/ 6562550 h 6858000"/>
              <a:gd name="connsiteX9" fmla="*/ 11563256 w 12192000"/>
              <a:gd name="connsiteY9" fmla="*/ 6562550 h 6858000"/>
              <a:gd name="connsiteX10" fmla="*/ 10910306 w 12192000"/>
              <a:gd name="connsiteY10" fmla="*/ 6517318 h 6858000"/>
              <a:gd name="connsiteX11" fmla="*/ 10883590 w 12192000"/>
              <a:gd name="connsiteY11" fmla="*/ 6541122 h 6858000"/>
              <a:gd name="connsiteX12" fmla="*/ 10883590 w 12192000"/>
              <a:gd name="connsiteY12" fmla="*/ 6594223 h 6858000"/>
              <a:gd name="connsiteX13" fmla="*/ 10910306 w 12192000"/>
              <a:gd name="connsiteY13" fmla="*/ 6618042 h 6858000"/>
              <a:gd name="connsiteX14" fmla="*/ 10989730 w 12192000"/>
              <a:gd name="connsiteY14" fmla="*/ 6618042 h 6858000"/>
              <a:gd name="connsiteX15" fmla="*/ 11016446 w 12192000"/>
              <a:gd name="connsiteY15" fmla="*/ 6594223 h 6858000"/>
              <a:gd name="connsiteX16" fmla="*/ 11016446 w 12192000"/>
              <a:gd name="connsiteY16" fmla="*/ 6541122 h 6858000"/>
              <a:gd name="connsiteX17" fmla="*/ 10989730 w 12192000"/>
              <a:gd name="connsiteY17" fmla="*/ 6517318 h 6858000"/>
              <a:gd name="connsiteX18" fmla="*/ 11538985 w 12192000"/>
              <a:gd name="connsiteY18" fmla="*/ 6517311 h 6858000"/>
              <a:gd name="connsiteX19" fmla="*/ 11538985 w 12192000"/>
              <a:gd name="connsiteY19" fmla="*/ 6618035 h 6858000"/>
              <a:gd name="connsiteX20" fmla="*/ 11563263 w 12192000"/>
              <a:gd name="connsiteY20" fmla="*/ 6618035 h 6858000"/>
              <a:gd name="connsiteX21" fmla="*/ 11563263 w 12192000"/>
              <a:gd name="connsiteY21" fmla="*/ 6579929 h 6858000"/>
              <a:gd name="connsiteX22" fmla="*/ 11586360 w 12192000"/>
              <a:gd name="connsiteY22" fmla="*/ 6579929 h 6858000"/>
              <a:gd name="connsiteX23" fmla="*/ 11628506 w 12192000"/>
              <a:gd name="connsiteY23" fmla="*/ 6618035 h 6858000"/>
              <a:gd name="connsiteX24" fmla="*/ 11663753 w 12192000"/>
              <a:gd name="connsiteY24" fmla="*/ 6618035 h 6858000"/>
              <a:gd name="connsiteX25" fmla="*/ 11615897 w 12192000"/>
              <a:gd name="connsiteY25" fmla="*/ 6579929 h 6858000"/>
              <a:gd name="connsiteX26" fmla="*/ 11629710 w 12192000"/>
              <a:gd name="connsiteY26" fmla="*/ 6579929 h 6858000"/>
              <a:gd name="connsiteX27" fmla="*/ 11653280 w 12192000"/>
              <a:gd name="connsiteY27" fmla="*/ 6560639 h 6858000"/>
              <a:gd name="connsiteX28" fmla="*/ 11653280 w 12192000"/>
              <a:gd name="connsiteY28" fmla="*/ 6536835 h 6858000"/>
              <a:gd name="connsiteX29" fmla="*/ 11629710 w 12192000"/>
              <a:gd name="connsiteY29" fmla="*/ 6517311 h 6858000"/>
              <a:gd name="connsiteX30" fmla="*/ 11401645 w 12192000"/>
              <a:gd name="connsiteY30" fmla="*/ 6517311 h 6858000"/>
              <a:gd name="connsiteX31" fmla="*/ 11401645 w 12192000"/>
              <a:gd name="connsiteY31" fmla="*/ 6618035 h 6858000"/>
              <a:gd name="connsiteX32" fmla="*/ 11513119 w 12192000"/>
              <a:gd name="connsiteY32" fmla="*/ 6618035 h 6858000"/>
              <a:gd name="connsiteX33" fmla="*/ 11513119 w 12192000"/>
              <a:gd name="connsiteY33" fmla="*/ 6599219 h 6858000"/>
              <a:gd name="connsiteX34" fmla="*/ 11426909 w 12192000"/>
              <a:gd name="connsiteY34" fmla="*/ 6599219 h 6858000"/>
              <a:gd name="connsiteX35" fmla="*/ 11426909 w 12192000"/>
              <a:gd name="connsiteY35" fmla="*/ 6574452 h 6858000"/>
              <a:gd name="connsiteX36" fmla="*/ 11476458 w 12192000"/>
              <a:gd name="connsiteY36" fmla="*/ 6574452 h 6858000"/>
              <a:gd name="connsiteX37" fmla="*/ 11476458 w 12192000"/>
              <a:gd name="connsiteY37" fmla="*/ 6557073 h 6858000"/>
              <a:gd name="connsiteX38" fmla="*/ 11426909 w 12192000"/>
              <a:gd name="connsiteY38" fmla="*/ 6557073 h 6858000"/>
              <a:gd name="connsiteX39" fmla="*/ 11426909 w 12192000"/>
              <a:gd name="connsiteY39" fmla="*/ 6535179 h 6858000"/>
              <a:gd name="connsiteX40" fmla="*/ 11511908 w 12192000"/>
              <a:gd name="connsiteY40" fmla="*/ 6535179 h 6858000"/>
              <a:gd name="connsiteX41" fmla="*/ 11511908 w 12192000"/>
              <a:gd name="connsiteY41" fmla="*/ 6517311 h 6858000"/>
              <a:gd name="connsiteX42" fmla="*/ 11225454 w 12192000"/>
              <a:gd name="connsiteY42" fmla="*/ 6517311 h 6858000"/>
              <a:gd name="connsiteX43" fmla="*/ 11225454 w 12192000"/>
              <a:gd name="connsiteY43" fmla="*/ 6618035 h 6858000"/>
              <a:gd name="connsiteX44" fmla="*/ 11248423 w 12192000"/>
              <a:gd name="connsiteY44" fmla="*/ 6618035 h 6858000"/>
              <a:gd name="connsiteX45" fmla="*/ 11248423 w 12192000"/>
              <a:gd name="connsiteY45" fmla="*/ 6550414 h 6858000"/>
              <a:gd name="connsiteX46" fmla="*/ 11294805 w 12192000"/>
              <a:gd name="connsiteY46" fmla="*/ 6605892 h 6858000"/>
              <a:gd name="connsiteX47" fmla="*/ 11299665 w 12192000"/>
              <a:gd name="connsiteY47" fmla="*/ 6605892 h 6858000"/>
              <a:gd name="connsiteX48" fmla="*/ 11345558 w 12192000"/>
              <a:gd name="connsiteY48" fmla="*/ 6548737 h 6858000"/>
              <a:gd name="connsiteX49" fmla="*/ 11345558 w 12192000"/>
              <a:gd name="connsiteY49" fmla="*/ 6618035 h 6858000"/>
              <a:gd name="connsiteX50" fmla="*/ 11368873 w 12192000"/>
              <a:gd name="connsiteY50" fmla="*/ 6618035 h 6858000"/>
              <a:gd name="connsiteX51" fmla="*/ 11368873 w 12192000"/>
              <a:gd name="connsiteY51" fmla="*/ 6517311 h 6858000"/>
              <a:gd name="connsiteX52" fmla="*/ 11348725 w 12192000"/>
              <a:gd name="connsiteY52" fmla="*/ 6517311 h 6858000"/>
              <a:gd name="connsiteX53" fmla="*/ 11298687 w 12192000"/>
              <a:gd name="connsiteY53" fmla="*/ 6577070 h 6858000"/>
              <a:gd name="connsiteX54" fmla="*/ 11248423 w 12192000"/>
              <a:gd name="connsiteY54" fmla="*/ 6517311 h 6858000"/>
              <a:gd name="connsiteX55" fmla="*/ 11048135 w 12192000"/>
              <a:gd name="connsiteY55" fmla="*/ 6517311 h 6858000"/>
              <a:gd name="connsiteX56" fmla="*/ 11048135 w 12192000"/>
              <a:gd name="connsiteY56" fmla="*/ 6618035 h 6858000"/>
              <a:gd name="connsiteX57" fmla="*/ 11071096 w 12192000"/>
              <a:gd name="connsiteY57" fmla="*/ 6618035 h 6858000"/>
              <a:gd name="connsiteX58" fmla="*/ 11071096 w 12192000"/>
              <a:gd name="connsiteY58" fmla="*/ 6550414 h 6858000"/>
              <a:gd name="connsiteX59" fmla="*/ 11117478 w 12192000"/>
              <a:gd name="connsiteY59" fmla="*/ 6605892 h 6858000"/>
              <a:gd name="connsiteX60" fmla="*/ 11122331 w 12192000"/>
              <a:gd name="connsiteY60" fmla="*/ 6605892 h 6858000"/>
              <a:gd name="connsiteX61" fmla="*/ 11168239 w 12192000"/>
              <a:gd name="connsiteY61" fmla="*/ 6548737 h 6858000"/>
              <a:gd name="connsiteX62" fmla="*/ 11168239 w 12192000"/>
              <a:gd name="connsiteY62" fmla="*/ 6618035 h 6858000"/>
              <a:gd name="connsiteX63" fmla="*/ 11191554 w 12192000"/>
              <a:gd name="connsiteY63" fmla="*/ 6618035 h 6858000"/>
              <a:gd name="connsiteX64" fmla="*/ 11191554 w 12192000"/>
              <a:gd name="connsiteY64" fmla="*/ 6517311 h 6858000"/>
              <a:gd name="connsiteX65" fmla="*/ 11171399 w 12192000"/>
              <a:gd name="connsiteY65" fmla="*/ 6517311 h 6858000"/>
              <a:gd name="connsiteX66" fmla="*/ 11121368 w 12192000"/>
              <a:gd name="connsiteY66" fmla="*/ 6577070 h 6858000"/>
              <a:gd name="connsiteX67" fmla="*/ 11071096 w 12192000"/>
              <a:gd name="connsiteY67" fmla="*/ 6517311 h 6858000"/>
              <a:gd name="connsiteX68" fmla="*/ 10752277 w 12192000"/>
              <a:gd name="connsiteY68" fmla="*/ 6495162 h 6858000"/>
              <a:gd name="connsiteX69" fmla="*/ 10721799 w 12192000"/>
              <a:gd name="connsiteY69" fmla="*/ 6524218 h 6858000"/>
              <a:gd name="connsiteX70" fmla="*/ 10721799 w 12192000"/>
              <a:gd name="connsiteY70" fmla="*/ 6537775 h 6858000"/>
              <a:gd name="connsiteX71" fmla="*/ 10752277 w 12192000"/>
              <a:gd name="connsiteY71" fmla="*/ 6566830 h 6858000"/>
              <a:gd name="connsiteX72" fmla="*/ 10828955 w 12192000"/>
              <a:gd name="connsiteY72" fmla="*/ 6566830 h 6858000"/>
              <a:gd name="connsiteX73" fmla="*/ 10828955 w 12192000"/>
              <a:gd name="connsiteY73" fmla="*/ 6594930 h 6858000"/>
              <a:gd name="connsiteX74" fmla="*/ 10742052 w 12192000"/>
              <a:gd name="connsiteY74" fmla="*/ 6594930 h 6858000"/>
              <a:gd name="connsiteX75" fmla="*/ 10742052 w 12192000"/>
              <a:gd name="connsiteY75" fmla="*/ 6581704 h 6858000"/>
              <a:gd name="connsiteX76" fmla="*/ 10716796 w 12192000"/>
              <a:gd name="connsiteY76" fmla="*/ 6586948 h 6858000"/>
              <a:gd name="connsiteX77" fmla="*/ 10716796 w 12192000"/>
              <a:gd name="connsiteY77" fmla="*/ 6588979 h 6858000"/>
              <a:gd name="connsiteX78" fmla="*/ 10747514 w 12192000"/>
              <a:gd name="connsiteY78" fmla="*/ 6618027 h 6858000"/>
              <a:gd name="connsiteX79" fmla="*/ 10823486 w 12192000"/>
              <a:gd name="connsiteY79" fmla="*/ 6618027 h 6858000"/>
              <a:gd name="connsiteX80" fmla="*/ 10854204 w 12192000"/>
              <a:gd name="connsiteY80" fmla="*/ 6588979 h 6858000"/>
              <a:gd name="connsiteX81" fmla="*/ 10854204 w 12192000"/>
              <a:gd name="connsiteY81" fmla="*/ 6572074 h 6858000"/>
              <a:gd name="connsiteX82" fmla="*/ 10823486 w 12192000"/>
              <a:gd name="connsiteY82" fmla="*/ 6543019 h 6858000"/>
              <a:gd name="connsiteX83" fmla="*/ 10746799 w 12192000"/>
              <a:gd name="connsiteY83" fmla="*/ 6543019 h 6858000"/>
              <a:gd name="connsiteX84" fmla="*/ 10746799 w 12192000"/>
              <a:gd name="connsiteY84" fmla="*/ 6516596 h 6858000"/>
              <a:gd name="connsiteX85" fmla="*/ 10827285 w 12192000"/>
              <a:gd name="connsiteY85" fmla="*/ 6516596 h 6858000"/>
              <a:gd name="connsiteX86" fmla="*/ 10827285 w 12192000"/>
              <a:gd name="connsiteY86" fmla="*/ 6529905 h 6858000"/>
              <a:gd name="connsiteX87" fmla="*/ 10852526 w 12192000"/>
              <a:gd name="connsiteY87" fmla="*/ 6523954 h 6858000"/>
              <a:gd name="connsiteX88" fmla="*/ 10852526 w 12192000"/>
              <a:gd name="connsiteY88" fmla="*/ 6522074 h 6858000"/>
              <a:gd name="connsiteX89" fmla="*/ 10822049 w 12192000"/>
              <a:gd name="connsiteY89" fmla="*/ 6495162 h 6858000"/>
              <a:gd name="connsiteX90" fmla="*/ 11554221 w 12192000"/>
              <a:gd name="connsiteY90" fmla="*/ 6392873 h 6858000"/>
              <a:gd name="connsiteX91" fmla="*/ 11591123 w 12192000"/>
              <a:gd name="connsiteY91" fmla="*/ 6423591 h 6858000"/>
              <a:gd name="connsiteX92" fmla="*/ 11579695 w 12192000"/>
              <a:gd name="connsiteY92" fmla="*/ 6433349 h 6858000"/>
              <a:gd name="connsiteX93" fmla="*/ 11522795 w 12192000"/>
              <a:gd name="connsiteY93" fmla="*/ 6433349 h 6858000"/>
              <a:gd name="connsiteX94" fmla="*/ 11522795 w 12192000"/>
              <a:gd name="connsiteY94" fmla="*/ 6433342 h 6858000"/>
              <a:gd name="connsiteX95" fmla="*/ 11522795 w 12192000"/>
              <a:gd name="connsiteY95" fmla="*/ 6412396 h 6858000"/>
              <a:gd name="connsiteX96" fmla="*/ 10923532 w 12192000"/>
              <a:gd name="connsiteY96" fmla="*/ 6371439 h 6858000"/>
              <a:gd name="connsiteX97" fmla="*/ 10979491 w 12192000"/>
              <a:gd name="connsiteY97" fmla="*/ 6371439 h 6858000"/>
              <a:gd name="connsiteX98" fmla="*/ 10990685 w 12192000"/>
              <a:gd name="connsiteY98" fmla="*/ 6379534 h 6858000"/>
              <a:gd name="connsiteX99" fmla="*/ 10990685 w 12192000"/>
              <a:gd name="connsiteY99" fmla="*/ 6391203 h 6858000"/>
              <a:gd name="connsiteX100" fmla="*/ 10979491 w 12192000"/>
              <a:gd name="connsiteY100" fmla="*/ 6399298 h 6858000"/>
              <a:gd name="connsiteX101" fmla="*/ 10923532 w 12192000"/>
              <a:gd name="connsiteY101" fmla="*/ 6399298 h 6858000"/>
              <a:gd name="connsiteX102" fmla="*/ 11349305 w 12192000"/>
              <a:gd name="connsiteY102" fmla="*/ 6354060 h 6858000"/>
              <a:gd name="connsiteX103" fmla="*/ 11322868 w 12192000"/>
              <a:gd name="connsiteY103" fmla="*/ 6377879 h 6858000"/>
              <a:gd name="connsiteX104" fmla="*/ 11322868 w 12192000"/>
              <a:gd name="connsiteY104" fmla="*/ 6389074 h 6858000"/>
              <a:gd name="connsiteX105" fmla="*/ 11349305 w 12192000"/>
              <a:gd name="connsiteY105" fmla="*/ 6412878 h 6858000"/>
              <a:gd name="connsiteX106" fmla="*/ 11414541 w 12192000"/>
              <a:gd name="connsiteY106" fmla="*/ 6412878 h 6858000"/>
              <a:gd name="connsiteX107" fmla="*/ 11414541 w 12192000"/>
              <a:gd name="connsiteY107" fmla="*/ 6435983 h 6858000"/>
              <a:gd name="connsiteX108" fmla="*/ 11340480 w 12192000"/>
              <a:gd name="connsiteY108" fmla="*/ 6435983 h 6858000"/>
              <a:gd name="connsiteX109" fmla="*/ 11340480 w 12192000"/>
              <a:gd name="connsiteY109" fmla="*/ 6425375 h 6858000"/>
              <a:gd name="connsiteX110" fmla="*/ 11318587 w 12192000"/>
              <a:gd name="connsiteY110" fmla="*/ 6429430 h 6858000"/>
              <a:gd name="connsiteX111" fmla="*/ 11318587 w 12192000"/>
              <a:gd name="connsiteY111" fmla="*/ 6430980 h 6858000"/>
              <a:gd name="connsiteX112" fmla="*/ 11345009 w 12192000"/>
              <a:gd name="connsiteY112" fmla="*/ 6454784 h 6858000"/>
              <a:gd name="connsiteX113" fmla="*/ 11410501 w 12192000"/>
              <a:gd name="connsiteY113" fmla="*/ 6454784 h 6858000"/>
              <a:gd name="connsiteX114" fmla="*/ 11436690 w 12192000"/>
              <a:gd name="connsiteY114" fmla="*/ 6430980 h 6858000"/>
              <a:gd name="connsiteX115" fmla="*/ 11436690 w 12192000"/>
              <a:gd name="connsiteY115" fmla="*/ 6417166 h 6858000"/>
              <a:gd name="connsiteX116" fmla="*/ 11410501 w 12192000"/>
              <a:gd name="connsiteY116" fmla="*/ 6393362 h 6858000"/>
              <a:gd name="connsiteX117" fmla="*/ 11345009 w 12192000"/>
              <a:gd name="connsiteY117" fmla="*/ 6393362 h 6858000"/>
              <a:gd name="connsiteX118" fmla="*/ 11345009 w 12192000"/>
              <a:gd name="connsiteY118" fmla="*/ 6372154 h 6858000"/>
              <a:gd name="connsiteX119" fmla="*/ 11414300 w 12192000"/>
              <a:gd name="connsiteY119" fmla="*/ 6372154 h 6858000"/>
              <a:gd name="connsiteX120" fmla="*/ 11414300 w 12192000"/>
              <a:gd name="connsiteY120" fmla="*/ 6381565 h 6858000"/>
              <a:gd name="connsiteX121" fmla="*/ 11435486 w 12192000"/>
              <a:gd name="connsiteY121" fmla="*/ 6377051 h 6858000"/>
              <a:gd name="connsiteX122" fmla="*/ 11435486 w 12192000"/>
              <a:gd name="connsiteY122" fmla="*/ 6375968 h 6858000"/>
              <a:gd name="connsiteX123" fmla="*/ 11409064 w 12192000"/>
              <a:gd name="connsiteY123" fmla="*/ 6354060 h 6858000"/>
              <a:gd name="connsiteX124" fmla="*/ 11184971 w 12192000"/>
              <a:gd name="connsiteY124" fmla="*/ 6354060 h 6858000"/>
              <a:gd name="connsiteX125" fmla="*/ 11184971 w 12192000"/>
              <a:gd name="connsiteY125" fmla="*/ 6454776 h 6858000"/>
              <a:gd name="connsiteX126" fmla="*/ 11294264 w 12192000"/>
              <a:gd name="connsiteY126" fmla="*/ 6454776 h 6858000"/>
              <a:gd name="connsiteX127" fmla="*/ 11294264 w 12192000"/>
              <a:gd name="connsiteY127" fmla="*/ 6435967 h 6858000"/>
              <a:gd name="connsiteX128" fmla="*/ 11209738 w 12192000"/>
              <a:gd name="connsiteY128" fmla="*/ 6435967 h 6858000"/>
              <a:gd name="connsiteX129" fmla="*/ 11209738 w 12192000"/>
              <a:gd name="connsiteY129" fmla="*/ 6411200 h 6858000"/>
              <a:gd name="connsiteX130" fmla="*/ 11258310 w 12192000"/>
              <a:gd name="connsiteY130" fmla="*/ 6411200 h 6858000"/>
              <a:gd name="connsiteX131" fmla="*/ 11258310 w 12192000"/>
              <a:gd name="connsiteY131" fmla="*/ 6393821 h 6858000"/>
              <a:gd name="connsiteX132" fmla="*/ 11209738 w 12192000"/>
              <a:gd name="connsiteY132" fmla="*/ 6393821 h 6858000"/>
              <a:gd name="connsiteX133" fmla="*/ 11209738 w 12192000"/>
              <a:gd name="connsiteY133" fmla="*/ 6371913 h 6858000"/>
              <a:gd name="connsiteX134" fmla="*/ 11293083 w 12192000"/>
              <a:gd name="connsiteY134" fmla="*/ 6371913 h 6858000"/>
              <a:gd name="connsiteX135" fmla="*/ 11293083 w 12192000"/>
              <a:gd name="connsiteY135" fmla="*/ 6354060 h 6858000"/>
              <a:gd name="connsiteX136" fmla="*/ 11047262 w 12192000"/>
              <a:gd name="connsiteY136" fmla="*/ 6354060 h 6858000"/>
              <a:gd name="connsiteX137" fmla="*/ 11047262 w 12192000"/>
              <a:gd name="connsiteY137" fmla="*/ 6454776 h 6858000"/>
              <a:gd name="connsiteX138" fmla="*/ 11156555 w 12192000"/>
              <a:gd name="connsiteY138" fmla="*/ 6454776 h 6858000"/>
              <a:gd name="connsiteX139" fmla="*/ 11156555 w 12192000"/>
              <a:gd name="connsiteY139" fmla="*/ 6435967 h 6858000"/>
              <a:gd name="connsiteX140" fmla="*/ 11072029 w 12192000"/>
              <a:gd name="connsiteY140" fmla="*/ 6435967 h 6858000"/>
              <a:gd name="connsiteX141" fmla="*/ 11072029 w 12192000"/>
              <a:gd name="connsiteY141" fmla="*/ 6411200 h 6858000"/>
              <a:gd name="connsiteX142" fmla="*/ 11120601 w 12192000"/>
              <a:gd name="connsiteY142" fmla="*/ 6411200 h 6858000"/>
              <a:gd name="connsiteX143" fmla="*/ 11120601 w 12192000"/>
              <a:gd name="connsiteY143" fmla="*/ 6393821 h 6858000"/>
              <a:gd name="connsiteX144" fmla="*/ 11072029 w 12192000"/>
              <a:gd name="connsiteY144" fmla="*/ 6393821 h 6858000"/>
              <a:gd name="connsiteX145" fmla="*/ 11072029 w 12192000"/>
              <a:gd name="connsiteY145" fmla="*/ 6371913 h 6858000"/>
              <a:gd name="connsiteX146" fmla="*/ 11155374 w 12192000"/>
              <a:gd name="connsiteY146" fmla="*/ 6371913 h 6858000"/>
              <a:gd name="connsiteX147" fmla="*/ 11155374 w 12192000"/>
              <a:gd name="connsiteY147" fmla="*/ 6354060 h 6858000"/>
              <a:gd name="connsiteX148" fmla="*/ 10899246 w 12192000"/>
              <a:gd name="connsiteY148" fmla="*/ 6354060 h 6858000"/>
              <a:gd name="connsiteX149" fmla="*/ 10899246 w 12192000"/>
              <a:gd name="connsiteY149" fmla="*/ 6454776 h 6858000"/>
              <a:gd name="connsiteX150" fmla="*/ 10923539 w 12192000"/>
              <a:gd name="connsiteY150" fmla="*/ 6454776 h 6858000"/>
              <a:gd name="connsiteX151" fmla="*/ 10923539 w 12192000"/>
              <a:gd name="connsiteY151" fmla="*/ 6416670 h 6858000"/>
              <a:gd name="connsiteX152" fmla="*/ 10946636 w 12192000"/>
              <a:gd name="connsiteY152" fmla="*/ 6416670 h 6858000"/>
              <a:gd name="connsiteX153" fmla="*/ 10988782 w 12192000"/>
              <a:gd name="connsiteY153" fmla="*/ 6454776 h 6858000"/>
              <a:gd name="connsiteX154" fmla="*/ 11024029 w 12192000"/>
              <a:gd name="connsiteY154" fmla="*/ 6454776 h 6858000"/>
              <a:gd name="connsiteX155" fmla="*/ 10976158 w 12192000"/>
              <a:gd name="connsiteY155" fmla="*/ 6416670 h 6858000"/>
              <a:gd name="connsiteX156" fmla="*/ 10989971 w 12192000"/>
              <a:gd name="connsiteY156" fmla="*/ 6416670 h 6858000"/>
              <a:gd name="connsiteX157" fmla="*/ 11013549 w 12192000"/>
              <a:gd name="connsiteY157" fmla="*/ 6397395 h 6858000"/>
              <a:gd name="connsiteX158" fmla="*/ 11013549 w 12192000"/>
              <a:gd name="connsiteY158" fmla="*/ 6373583 h 6858000"/>
              <a:gd name="connsiteX159" fmla="*/ 10989971 w 12192000"/>
              <a:gd name="connsiteY159" fmla="*/ 6354060 h 6858000"/>
              <a:gd name="connsiteX160" fmla="*/ 10749425 w 12192000"/>
              <a:gd name="connsiteY160" fmla="*/ 6353819 h 6858000"/>
              <a:gd name="connsiteX161" fmla="*/ 10800140 w 12192000"/>
              <a:gd name="connsiteY161" fmla="*/ 6353819 h 6858000"/>
              <a:gd name="connsiteX162" fmla="*/ 10840624 w 12192000"/>
              <a:gd name="connsiteY162" fmla="*/ 6392158 h 6858000"/>
              <a:gd name="connsiteX163" fmla="*/ 10786327 w 12192000"/>
              <a:gd name="connsiteY163" fmla="*/ 6431686 h 6858000"/>
              <a:gd name="connsiteX164" fmla="*/ 10749425 w 12192000"/>
              <a:gd name="connsiteY164" fmla="*/ 6431686 h 6858000"/>
              <a:gd name="connsiteX165" fmla="*/ 11558990 w 12192000"/>
              <a:gd name="connsiteY165" fmla="*/ 6331911 h 6858000"/>
              <a:gd name="connsiteX166" fmla="*/ 11528513 w 12192000"/>
              <a:gd name="connsiteY166" fmla="*/ 6354293 h 6858000"/>
              <a:gd name="connsiteX167" fmla="*/ 11528513 w 12192000"/>
              <a:gd name="connsiteY167" fmla="*/ 6361192 h 6858000"/>
              <a:gd name="connsiteX168" fmla="*/ 11538993 w 12192000"/>
              <a:gd name="connsiteY168" fmla="*/ 6379767 h 6858000"/>
              <a:gd name="connsiteX169" fmla="*/ 11513978 w 12192000"/>
              <a:gd name="connsiteY169" fmla="*/ 6394776 h 6858000"/>
              <a:gd name="connsiteX170" fmla="*/ 11498743 w 12192000"/>
              <a:gd name="connsiteY170" fmla="*/ 6417633 h 6858000"/>
              <a:gd name="connsiteX171" fmla="*/ 11498743 w 12192000"/>
              <a:gd name="connsiteY171" fmla="*/ 6425728 h 6858000"/>
              <a:gd name="connsiteX172" fmla="*/ 11529454 w 12192000"/>
              <a:gd name="connsiteY172" fmla="*/ 6454776 h 6858000"/>
              <a:gd name="connsiteX173" fmla="*/ 11573270 w 12192000"/>
              <a:gd name="connsiteY173" fmla="*/ 6454776 h 6858000"/>
              <a:gd name="connsiteX174" fmla="*/ 11596367 w 12192000"/>
              <a:gd name="connsiteY174" fmla="*/ 6447388 h 6858000"/>
              <a:gd name="connsiteX175" fmla="*/ 11607321 w 12192000"/>
              <a:gd name="connsiteY175" fmla="*/ 6437630 h 6858000"/>
              <a:gd name="connsiteX176" fmla="*/ 11627559 w 12192000"/>
              <a:gd name="connsiteY176" fmla="*/ 6454776 h 6858000"/>
              <a:gd name="connsiteX177" fmla="*/ 11664950 w 12192000"/>
              <a:gd name="connsiteY177" fmla="*/ 6454776 h 6858000"/>
              <a:gd name="connsiteX178" fmla="*/ 11626137 w 12192000"/>
              <a:gd name="connsiteY178" fmla="*/ 6422147 h 6858000"/>
              <a:gd name="connsiteX179" fmla="*/ 11654470 w 12192000"/>
              <a:gd name="connsiteY179" fmla="*/ 6398583 h 6858000"/>
              <a:gd name="connsiteX180" fmla="*/ 11638272 w 12192000"/>
              <a:gd name="connsiteY180" fmla="*/ 6384537 h 6858000"/>
              <a:gd name="connsiteX181" fmla="*/ 11609698 w 12192000"/>
              <a:gd name="connsiteY181" fmla="*/ 6408341 h 6858000"/>
              <a:gd name="connsiteX182" fmla="*/ 11551836 w 12192000"/>
              <a:gd name="connsiteY182" fmla="*/ 6360244 h 6858000"/>
              <a:gd name="connsiteX183" fmla="*/ 11551836 w 12192000"/>
              <a:gd name="connsiteY183" fmla="*/ 6351434 h 6858000"/>
              <a:gd name="connsiteX184" fmla="*/ 11592086 w 12192000"/>
              <a:gd name="connsiteY184" fmla="*/ 6351434 h 6858000"/>
              <a:gd name="connsiteX185" fmla="*/ 11592086 w 12192000"/>
              <a:gd name="connsiteY185" fmla="*/ 6367873 h 6858000"/>
              <a:gd name="connsiteX186" fmla="*/ 11614220 w 12192000"/>
              <a:gd name="connsiteY186" fmla="*/ 6364066 h 6858000"/>
              <a:gd name="connsiteX187" fmla="*/ 11614220 w 12192000"/>
              <a:gd name="connsiteY187" fmla="*/ 6356678 h 6858000"/>
              <a:gd name="connsiteX188" fmla="*/ 11583742 w 12192000"/>
              <a:gd name="connsiteY188" fmla="*/ 6331911 h 6858000"/>
              <a:gd name="connsiteX189" fmla="*/ 10720851 w 12192000"/>
              <a:gd name="connsiteY189" fmla="*/ 6331911 h 6858000"/>
              <a:gd name="connsiteX190" fmla="*/ 10720851 w 12192000"/>
              <a:gd name="connsiteY190" fmla="*/ 6454776 h 6858000"/>
              <a:gd name="connsiteX191" fmla="*/ 10792527 w 12192000"/>
              <a:gd name="connsiteY191" fmla="*/ 6454776 h 6858000"/>
              <a:gd name="connsiteX192" fmla="*/ 10843009 w 12192000"/>
              <a:gd name="connsiteY192" fmla="*/ 6445259 h 6858000"/>
              <a:gd name="connsiteX193" fmla="*/ 10870146 w 12192000"/>
              <a:gd name="connsiteY193" fmla="*/ 6392632 h 6858000"/>
              <a:gd name="connsiteX194" fmla="*/ 10799900 w 12192000"/>
              <a:gd name="connsiteY194" fmla="*/ 6331911 h 6858000"/>
              <a:gd name="connsiteX195" fmla="*/ 0 w 12192000"/>
              <a:gd name="connsiteY195" fmla="*/ 0 h 6858000"/>
              <a:gd name="connsiteX196" fmla="*/ 4267200 w 12192000"/>
              <a:gd name="connsiteY196" fmla="*/ 0 h 6858000"/>
              <a:gd name="connsiteX197" fmla="*/ 6096000 w 12192000"/>
              <a:gd name="connsiteY197" fmla="*/ 0 h 6858000"/>
              <a:gd name="connsiteX198" fmla="*/ 11668801 w 12192000"/>
              <a:gd name="connsiteY198" fmla="*/ 0 h 6858000"/>
              <a:gd name="connsiteX199" fmla="*/ 11963400 w 12192000"/>
              <a:gd name="connsiteY199" fmla="*/ 0 h 6858000"/>
              <a:gd name="connsiteX200" fmla="*/ 12192000 w 12192000"/>
              <a:gd name="connsiteY200" fmla="*/ 0 h 6858000"/>
              <a:gd name="connsiteX201" fmla="*/ 12192000 w 12192000"/>
              <a:gd name="connsiteY201" fmla="*/ 6858000 h 6858000"/>
              <a:gd name="connsiteX202" fmla="*/ 0 w 12192000"/>
              <a:gd name="connsiteY20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</a:cxnLst>
            <a:rect l="l" t="t" r="r" b="b"/>
            <a:pathLst>
              <a:path w="12192000" h="6858000">
                <a:moveTo>
                  <a:pt x="10909343" y="6535879"/>
                </a:moveTo>
                <a:lnTo>
                  <a:pt x="10992168" y="6535879"/>
                </a:lnTo>
                <a:lnTo>
                  <a:pt x="10992168" y="6598745"/>
                </a:lnTo>
                <a:lnTo>
                  <a:pt x="10909343" y="6598745"/>
                </a:lnTo>
                <a:close/>
                <a:moveTo>
                  <a:pt x="11563256" y="6534690"/>
                </a:moveTo>
                <a:lnTo>
                  <a:pt x="11619215" y="6534690"/>
                </a:lnTo>
                <a:cubicBezTo>
                  <a:pt x="11626587" y="6534690"/>
                  <a:pt x="11630409" y="6536127"/>
                  <a:pt x="11630409" y="6542786"/>
                </a:cubicBezTo>
                <a:lnTo>
                  <a:pt x="11630409" y="6554455"/>
                </a:lnTo>
                <a:cubicBezTo>
                  <a:pt x="11630409" y="6561128"/>
                  <a:pt x="11626587" y="6562550"/>
                  <a:pt x="11619215" y="6562550"/>
                </a:cubicBezTo>
                <a:lnTo>
                  <a:pt x="11563256" y="6562550"/>
                </a:lnTo>
                <a:close/>
                <a:moveTo>
                  <a:pt x="10910306" y="6517318"/>
                </a:moveTo>
                <a:cubicBezTo>
                  <a:pt x="10890158" y="6517318"/>
                  <a:pt x="10883590" y="6521832"/>
                  <a:pt x="10883590" y="6541122"/>
                </a:cubicBezTo>
                <a:lnTo>
                  <a:pt x="10883590" y="6594223"/>
                </a:lnTo>
                <a:cubicBezTo>
                  <a:pt x="10883590" y="6613272"/>
                  <a:pt x="10889902" y="6618042"/>
                  <a:pt x="10910306" y="6618042"/>
                </a:cubicBezTo>
                <a:lnTo>
                  <a:pt x="10989730" y="6618042"/>
                </a:lnTo>
                <a:cubicBezTo>
                  <a:pt x="11009886" y="6618042"/>
                  <a:pt x="11016446" y="6613272"/>
                  <a:pt x="11016446" y="6594223"/>
                </a:cubicBezTo>
                <a:lnTo>
                  <a:pt x="11016446" y="6541122"/>
                </a:lnTo>
                <a:cubicBezTo>
                  <a:pt x="11016446" y="6521832"/>
                  <a:pt x="11009878" y="6517318"/>
                  <a:pt x="10989730" y="6517318"/>
                </a:cubicBezTo>
                <a:close/>
                <a:moveTo>
                  <a:pt x="11538985" y="6517311"/>
                </a:moveTo>
                <a:lnTo>
                  <a:pt x="11538985" y="6618035"/>
                </a:lnTo>
                <a:lnTo>
                  <a:pt x="11563263" y="6618035"/>
                </a:lnTo>
                <a:lnTo>
                  <a:pt x="11563263" y="6579929"/>
                </a:lnTo>
                <a:lnTo>
                  <a:pt x="11586360" y="6579929"/>
                </a:lnTo>
                <a:lnTo>
                  <a:pt x="11628506" y="6618035"/>
                </a:lnTo>
                <a:lnTo>
                  <a:pt x="11663753" y="6618035"/>
                </a:lnTo>
                <a:lnTo>
                  <a:pt x="11615897" y="6579929"/>
                </a:lnTo>
                <a:lnTo>
                  <a:pt x="11629710" y="6579929"/>
                </a:lnTo>
                <a:cubicBezTo>
                  <a:pt x="11645892" y="6579929"/>
                  <a:pt x="11653280" y="6574452"/>
                  <a:pt x="11653280" y="6560639"/>
                </a:cubicBezTo>
                <a:lnTo>
                  <a:pt x="11653280" y="6536835"/>
                </a:lnTo>
                <a:cubicBezTo>
                  <a:pt x="11653280" y="6522788"/>
                  <a:pt x="11645892" y="6517311"/>
                  <a:pt x="11629710" y="6517311"/>
                </a:cubicBezTo>
                <a:close/>
                <a:moveTo>
                  <a:pt x="11401645" y="6517311"/>
                </a:moveTo>
                <a:lnTo>
                  <a:pt x="11401645" y="6618035"/>
                </a:lnTo>
                <a:lnTo>
                  <a:pt x="11513119" y="6618035"/>
                </a:lnTo>
                <a:lnTo>
                  <a:pt x="11513119" y="6599219"/>
                </a:lnTo>
                <a:lnTo>
                  <a:pt x="11426909" y="6599219"/>
                </a:lnTo>
                <a:lnTo>
                  <a:pt x="11426909" y="6574452"/>
                </a:lnTo>
                <a:lnTo>
                  <a:pt x="11476458" y="6574452"/>
                </a:lnTo>
                <a:lnTo>
                  <a:pt x="11476458" y="6557073"/>
                </a:lnTo>
                <a:lnTo>
                  <a:pt x="11426909" y="6557073"/>
                </a:lnTo>
                <a:lnTo>
                  <a:pt x="11426909" y="6535179"/>
                </a:lnTo>
                <a:lnTo>
                  <a:pt x="11511908" y="6535179"/>
                </a:lnTo>
                <a:lnTo>
                  <a:pt x="11511908" y="6517311"/>
                </a:lnTo>
                <a:close/>
                <a:moveTo>
                  <a:pt x="11225454" y="6517311"/>
                </a:moveTo>
                <a:lnTo>
                  <a:pt x="11225454" y="6618035"/>
                </a:lnTo>
                <a:lnTo>
                  <a:pt x="11248423" y="6618035"/>
                </a:lnTo>
                <a:lnTo>
                  <a:pt x="11248423" y="6550414"/>
                </a:lnTo>
                <a:lnTo>
                  <a:pt x="11294805" y="6605892"/>
                </a:lnTo>
                <a:lnTo>
                  <a:pt x="11299665" y="6605892"/>
                </a:lnTo>
                <a:lnTo>
                  <a:pt x="11345558" y="6548737"/>
                </a:lnTo>
                <a:lnTo>
                  <a:pt x="11345558" y="6618035"/>
                </a:lnTo>
                <a:lnTo>
                  <a:pt x="11368873" y="6618035"/>
                </a:lnTo>
                <a:lnTo>
                  <a:pt x="11368873" y="6517311"/>
                </a:lnTo>
                <a:lnTo>
                  <a:pt x="11348725" y="6517311"/>
                </a:lnTo>
                <a:lnTo>
                  <a:pt x="11298687" y="6577070"/>
                </a:lnTo>
                <a:lnTo>
                  <a:pt x="11248423" y="6517311"/>
                </a:lnTo>
                <a:close/>
                <a:moveTo>
                  <a:pt x="11048135" y="6517311"/>
                </a:moveTo>
                <a:lnTo>
                  <a:pt x="11048135" y="6618035"/>
                </a:lnTo>
                <a:lnTo>
                  <a:pt x="11071096" y="6618035"/>
                </a:lnTo>
                <a:lnTo>
                  <a:pt x="11071096" y="6550414"/>
                </a:lnTo>
                <a:lnTo>
                  <a:pt x="11117478" y="6605892"/>
                </a:lnTo>
                <a:lnTo>
                  <a:pt x="11122331" y="6605892"/>
                </a:lnTo>
                <a:lnTo>
                  <a:pt x="11168239" y="6548737"/>
                </a:lnTo>
                <a:lnTo>
                  <a:pt x="11168239" y="6618035"/>
                </a:lnTo>
                <a:lnTo>
                  <a:pt x="11191554" y="6618035"/>
                </a:lnTo>
                <a:lnTo>
                  <a:pt x="11191554" y="6517311"/>
                </a:lnTo>
                <a:lnTo>
                  <a:pt x="11171399" y="6517311"/>
                </a:lnTo>
                <a:lnTo>
                  <a:pt x="11121368" y="6577070"/>
                </a:lnTo>
                <a:lnTo>
                  <a:pt x="11071096" y="6517311"/>
                </a:lnTo>
                <a:close/>
                <a:moveTo>
                  <a:pt x="10752277" y="6495162"/>
                </a:moveTo>
                <a:cubicBezTo>
                  <a:pt x="10729180" y="6495162"/>
                  <a:pt x="10721799" y="6501113"/>
                  <a:pt x="10721799" y="6524218"/>
                </a:cubicBezTo>
                <a:lnTo>
                  <a:pt x="10721799" y="6537775"/>
                </a:lnTo>
                <a:cubicBezTo>
                  <a:pt x="10721799" y="6560879"/>
                  <a:pt x="10729187" y="6566830"/>
                  <a:pt x="10752277" y="6566830"/>
                </a:cubicBezTo>
                <a:lnTo>
                  <a:pt x="10828955" y="6566830"/>
                </a:lnTo>
                <a:lnTo>
                  <a:pt x="10828955" y="6594930"/>
                </a:lnTo>
                <a:lnTo>
                  <a:pt x="10742052" y="6594930"/>
                </a:lnTo>
                <a:lnTo>
                  <a:pt x="10742052" y="6581704"/>
                </a:lnTo>
                <a:lnTo>
                  <a:pt x="10716796" y="6586948"/>
                </a:lnTo>
                <a:lnTo>
                  <a:pt x="10716796" y="6588979"/>
                </a:lnTo>
                <a:cubicBezTo>
                  <a:pt x="10716796" y="6612076"/>
                  <a:pt x="10724417" y="6618027"/>
                  <a:pt x="10747514" y="6618027"/>
                </a:cubicBezTo>
                <a:lnTo>
                  <a:pt x="10823486" y="6618027"/>
                </a:lnTo>
                <a:cubicBezTo>
                  <a:pt x="10846583" y="6618027"/>
                  <a:pt x="10854204" y="6612076"/>
                  <a:pt x="10854204" y="6588979"/>
                </a:cubicBezTo>
                <a:lnTo>
                  <a:pt x="10854204" y="6572074"/>
                </a:lnTo>
                <a:cubicBezTo>
                  <a:pt x="10854204" y="6548970"/>
                  <a:pt x="10846583" y="6543019"/>
                  <a:pt x="10823486" y="6543019"/>
                </a:cubicBezTo>
                <a:lnTo>
                  <a:pt x="10746799" y="6543019"/>
                </a:lnTo>
                <a:lnTo>
                  <a:pt x="10746799" y="6516596"/>
                </a:lnTo>
                <a:lnTo>
                  <a:pt x="10827285" y="6516596"/>
                </a:lnTo>
                <a:lnTo>
                  <a:pt x="10827285" y="6529905"/>
                </a:lnTo>
                <a:lnTo>
                  <a:pt x="10852526" y="6523954"/>
                </a:lnTo>
                <a:lnTo>
                  <a:pt x="10852526" y="6522074"/>
                </a:lnTo>
                <a:cubicBezTo>
                  <a:pt x="10852526" y="6500872"/>
                  <a:pt x="10843957" y="6495162"/>
                  <a:pt x="10822049" y="6495162"/>
                </a:cubicBezTo>
                <a:close/>
                <a:moveTo>
                  <a:pt x="11554221" y="6392873"/>
                </a:moveTo>
                <a:lnTo>
                  <a:pt x="11591123" y="6423591"/>
                </a:lnTo>
                <a:lnTo>
                  <a:pt x="11579695" y="6433349"/>
                </a:lnTo>
                <a:lnTo>
                  <a:pt x="11522795" y="6433349"/>
                </a:lnTo>
                <a:lnTo>
                  <a:pt x="11522795" y="6433342"/>
                </a:lnTo>
                <a:lnTo>
                  <a:pt x="11522795" y="6412396"/>
                </a:lnTo>
                <a:close/>
                <a:moveTo>
                  <a:pt x="10923532" y="6371439"/>
                </a:moveTo>
                <a:lnTo>
                  <a:pt x="10979491" y="6371439"/>
                </a:lnTo>
                <a:cubicBezTo>
                  <a:pt x="10986864" y="6371439"/>
                  <a:pt x="10990685" y="6372876"/>
                  <a:pt x="10990685" y="6379534"/>
                </a:cubicBezTo>
                <a:lnTo>
                  <a:pt x="10990685" y="6391203"/>
                </a:lnTo>
                <a:cubicBezTo>
                  <a:pt x="10990685" y="6397876"/>
                  <a:pt x="10986864" y="6399298"/>
                  <a:pt x="10979491" y="6399298"/>
                </a:cubicBezTo>
                <a:lnTo>
                  <a:pt x="10923532" y="6399298"/>
                </a:lnTo>
                <a:close/>
                <a:moveTo>
                  <a:pt x="11349305" y="6354060"/>
                </a:moveTo>
                <a:cubicBezTo>
                  <a:pt x="11329541" y="6354060"/>
                  <a:pt x="11322868" y="6358830"/>
                  <a:pt x="11322868" y="6377879"/>
                </a:cubicBezTo>
                <a:lnTo>
                  <a:pt x="11322868" y="6389074"/>
                </a:lnTo>
                <a:cubicBezTo>
                  <a:pt x="11322868" y="6408123"/>
                  <a:pt x="11329541" y="6412878"/>
                  <a:pt x="11349305" y="6412878"/>
                </a:cubicBezTo>
                <a:lnTo>
                  <a:pt x="11414541" y="6412878"/>
                </a:lnTo>
                <a:lnTo>
                  <a:pt x="11414541" y="6435983"/>
                </a:lnTo>
                <a:lnTo>
                  <a:pt x="11340480" y="6435983"/>
                </a:lnTo>
                <a:lnTo>
                  <a:pt x="11340480" y="6425375"/>
                </a:lnTo>
                <a:lnTo>
                  <a:pt x="11318587" y="6429430"/>
                </a:lnTo>
                <a:lnTo>
                  <a:pt x="11318587" y="6430980"/>
                </a:lnTo>
                <a:cubicBezTo>
                  <a:pt x="11318587" y="6449796"/>
                  <a:pt x="11325012" y="6454784"/>
                  <a:pt x="11345009" y="6454784"/>
                </a:cubicBezTo>
                <a:lnTo>
                  <a:pt x="11410501" y="6454784"/>
                </a:lnTo>
                <a:cubicBezTo>
                  <a:pt x="11430498" y="6454784"/>
                  <a:pt x="11436690" y="6449796"/>
                  <a:pt x="11436690" y="6430980"/>
                </a:cubicBezTo>
                <a:lnTo>
                  <a:pt x="11436690" y="6417166"/>
                </a:lnTo>
                <a:cubicBezTo>
                  <a:pt x="11436690" y="6398117"/>
                  <a:pt x="11430506" y="6393362"/>
                  <a:pt x="11410501" y="6393362"/>
                </a:cubicBezTo>
                <a:lnTo>
                  <a:pt x="11345009" y="6393362"/>
                </a:lnTo>
                <a:lnTo>
                  <a:pt x="11345009" y="6372154"/>
                </a:lnTo>
                <a:lnTo>
                  <a:pt x="11414300" y="6372154"/>
                </a:lnTo>
                <a:lnTo>
                  <a:pt x="11414300" y="6381565"/>
                </a:lnTo>
                <a:lnTo>
                  <a:pt x="11435486" y="6377051"/>
                </a:lnTo>
                <a:lnTo>
                  <a:pt x="11435486" y="6375968"/>
                </a:lnTo>
                <a:cubicBezTo>
                  <a:pt x="11435486" y="6358356"/>
                  <a:pt x="11427639" y="6354060"/>
                  <a:pt x="11409064" y="6354060"/>
                </a:cubicBezTo>
                <a:close/>
                <a:moveTo>
                  <a:pt x="11184971" y="6354060"/>
                </a:moveTo>
                <a:lnTo>
                  <a:pt x="11184971" y="6454776"/>
                </a:lnTo>
                <a:lnTo>
                  <a:pt x="11294264" y="6454776"/>
                </a:lnTo>
                <a:lnTo>
                  <a:pt x="11294264" y="6435967"/>
                </a:lnTo>
                <a:lnTo>
                  <a:pt x="11209738" y="6435967"/>
                </a:lnTo>
                <a:lnTo>
                  <a:pt x="11209738" y="6411200"/>
                </a:lnTo>
                <a:lnTo>
                  <a:pt x="11258310" y="6411200"/>
                </a:lnTo>
                <a:lnTo>
                  <a:pt x="11258310" y="6393821"/>
                </a:lnTo>
                <a:lnTo>
                  <a:pt x="11209738" y="6393821"/>
                </a:lnTo>
                <a:lnTo>
                  <a:pt x="11209738" y="6371913"/>
                </a:lnTo>
                <a:lnTo>
                  <a:pt x="11293083" y="6371913"/>
                </a:lnTo>
                <a:lnTo>
                  <a:pt x="11293083" y="6354060"/>
                </a:lnTo>
                <a:close/>
                <a:moveTo>
                  <a:pt x="11047262" y="6354060"/>
                </a:moveTo>
                <a:lnTo>
                  <a:pt x="11047262" y="6454776"/>
                </a:lnTo>
                <a:lnTo>
                  <a:pt x="11156555" y="6454776"/>
                </a:lnTo>
                <a:lnTo>
                  <a:pt x="11156555" y="6435967"/>
                </a:lnTo>
                <a:lnTo>
                  <a:pt x="11072029" y="6435967"/>
                </a:lnTo>
                <a:lnTo>
                  <a:pt x="11072029" y="6411200"/>
                </a:lnTo>
                <a:lnTo>
                  <a:pt x="11120601" y="6411200"/>
                </a:lnTo>
                <a:lnTo>
                  <a:pt x="11120601" y="6393821"/>
                </a:lnTo>
                <a:lnTo>
                  <a:pt x="11072029" y="6393821"/>
                </a:lnTo>
                <a:lnTo>
                  <a:pt x="11072029" y="6371913"/>
                </a:lnTo>
                <a:lnTo>
                  <a:pt x="11155374" y="6371913"/>
                </a:lnTo>
                <a:lnTo>
                  <a:pt x="11155374" y="6354060"/>
                </a:lnTo>
                <a:close/>
                <a:moveTo>
                  <a:pt x="10899246" y="6354060"/>
                </a:moveTo>
                <a:lnTo>
                  <a:pt x="10899246" y="6454776"/>
                </a:lnTo>
                <a:lnTo>
                  <a:pt x="10923539" y="6454776"/>
                </a:lnTo>
                <a:lnTo>
                  <a:pt x="10923539" y="6416670"/>
                </a:lnTo>
                <a:lnTo>
                  <a:pt x="10946636" y="6416670"/>
                </a:lnTo>
                <a:lnTo>
                  <a:pt x="10988782" y="6454776"/>
                </a:lnTo>
                <a:lnTo>
                  <a:pt x="11024029" y="6454776"/>
                </a:lnTo>
                <a:lnTo>
                  <a:pt x="10976158" y="6416670"/>
                </a:lnTo>
                <a:lnTo>
                  <a:pt x="10989971" y="6416670"/>
                </a:lnTo>
                <a:cubicBezTo>
                  <a:pt x="11006169" y="6416670"/>
                  <a:pt x="11013549" y="6411193"/>
                  <a:pt x="11013549" y="6397395"/>
                </a:cubicBezTo>
                <a:lnTo>
                  <a:pt x="11013549" y="6373583"/>
                </a:lnTo>
                <a:cubicBezTo>
                  <a:pt x="11013549" y="6359537"/>
                  <a:pt x="11006161" y="6354060"/>
                  <a:pt x="10989971" y="6354060"/>
                </a:cubicBezTo>
                <a:close/>
                <a:moveTo>
                  <a:pt x="10749425" y="6353819"/>
                </a:moveTo>
                <a:lnTo>
                  <a:pt x="10800140" y="6353819"/>
                </a:lnTo>
                <a:cubicBezTo>
                  <a:pt x="10827052" y="6353819"/>
                  <a:pt x="10840624" y="6367158"/>
                  <a:pt x="10840624" y="6392158"/>
                </a:cubicBezTo>
                <a:cubicBezTo>
                  <a:pt x="10840624" y="6422636"/>
                  <a:pt x="10822523" y="6431686"/>
                  <a:pt x="10786327" y="6431686"/>
                </a:cubicBezTo>
                <a:lnTo>
                  <a:pt x="10749425" y="6431686"/>
                </a:lnTo>
                <a:close/>
                <a:moveTo>
                  <a:pt x="11558990" y="6331911"/>
                </a:moveTo>
                <a:cubicBezTo>
                  <a:pt x="11538030" y="6331911"/>
                  <a:pt x="11528513" y="6336681"/>
                  <a:pt x="11528513" y="6354293"/>
                </a:cubicBezTo>
                <a:lnTo>
                  <a:pt x="11528513" y="6361192"/>
                </a:lnTo>
                <a:cubicBezTo>
                  <a:pt x="11528513" y="6368339"/>
                  <a:pt x="11531846" y="6373816"/>
                  <a:pt x="11538993" y="6379767"/>
                </a:cubicBezTo>
                <a:lnTo>
                  <a:pt x="11513978" y="6394776"/>
                </a:lnTo>
                <a:cubicBezTo>
                  <a:pt x="11503272" y="6401202"/>
                  <a:pt x="11498743" y="6405008"/>
                  <a:pt x="11498743" y="6417633"/>
                </a:cubicBezTo>
                <a:lnTo>
                  <a:pt x="11498743" y="6425728"/>
                </a:lnTo>
                <a:cubicBezTo>
                  <a:pt x="11498743" y="6448825"/>
                  <a:pt x="11506364" y="6454776"/>
                  <a:pt x="11529454" y="6454776"/>
                </a:cubicBezTo>
                <a:lnTo>
                  <a:pt x="11573270" y="6454776"/>
                </a:lnTo>
                <a:cubicBezTo>
                  <a:pt x="11583502" y="6454776"/>
                  <a:pt x="11588505" y="6454302"/>
                  <a:pt x="11596367" y="6447388"/>
                </a:cubicBezTo>
                <a:lnTo>
                  <a:pt x="11607321" y="6437630"/>
                </a:lnTo>
                <a:lnTo>
                  <a:pt x="11627559" y="6454776"/>
                </a:lnTo>
                <a:lnTo>
                  <a:pt x="11664950" y="6454776"/>
                </a:lnTo>
                <a:lnTo>
                  <a:pt x="11626137" y="6422147"/>
                </a:lnTo>
                <a:lnTo>
                  <a:pt x="11654470" y="6398583"/>
                </a:lnTo>
                <a:lnTo>
                  <a:pt x="11638272" y="6384537"/>
                </a:lnTo>
                <a:lnTo>
                  <a:pt x="11609698" y="6408341"/>
                </a:lnTo>
                <a:lnTo>
                  <a:pt x="11551836" y="6360244"/>
                </a:lnTo>
                <a:lnTo>
                  <a:pt x="11551836" y="6351434"/>
                </a:lnTo>
                <a:lnTo>
                  <a:pt x="11592086" y="6351434"/>
                </a:lnTo>
                <a:lnTo>
                  <a:pt x="11592086" y="6367873"/>
                </a:lnTo>
                <a:lnTo>
                  <a:pt x="11614220" y="6364066"/>
                </a:lnTo>
                <a:lnTo>
                  <a:pt x="11614220" y="6356678"/>
                </a:lnTo>
                <a:cubicBezTo>
                  <a:pt x="11614220" y="6336681"/>
                  <a:pt x="11605884" y="6331911"/>
                  <a:pt x="11583742" y="6331911"/>
                </a:cubicBezTo>
                <a:close/>
                <a:moveTo>
                  <a:pt x="10720851" y="6331911"/>
                </a:moveTo>
                <a:lnTo>
                  <a:pt x="10720851" y="6454776"/>
                </a:lnTo>
                <a:lnTo>
                  <a:pt x="10792527" y="6454776"/>
                </a:lnTo>
                <a:cubicBezTo>
                  <a:pt x="10814420" y="6454776"/>
                  <a:pt x="10831092" y="6452632"/>
                  <a:pt x="10843009" y="6445259"/>
                </a:cubicBezTo>
                <a:cubicBezTo>
                  <a:pt x="10860155" y="6434779"/>
                  <a:pt x="10870146" y="6415729"/>
                  <a:pt x="10870146" y="6392632"/>
                </a:cubicBezTo>
                <a:cubicBezTo>
                  <a:pt x="10870146" y="6354534"/>
                  <a:pt x="10845868" y="6331911"/>
                  <a:pt x="10799900" y="6331911"/>
                </a:cubicBezTo>
                <a:close/>
                <a:moveTo>
                  <a:pt x="0" y="0"/>
                </a:moveTo>
                <a:lnTo>
                  <a:pt x="4267200" y="0"/>
                </a:lnTo>
                <a:lnTo>
                  <a:pt x="6096000" y="0"/>
                </a:lnTo>
                <a:lnTo>
                  <a:pt x="11668801" y="0"/>
                </a:lnTo>
                <a:lnTo>
                  <a:pt x="11963400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FFCB50B-5503-4467-8A0F-9FBB8B48B97D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096000" y="0"/>
            <a:ext cx="5572801" cy="1735120"/>
          </a:xfrm>
          <a:solidFill>
            <a:schemeClr val="bg1"/>
          </a:solidFill>
        </p:spPr>
        <p:txBody>
          <a:bodyPr wrap="square" lIns="288000" tIns="669600" rIns="288000" bIns="216000" anchor="t">
            <a:spAutoFit/>
          </a:bodyPr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6" name="logo drees&amp;sommer white">
            <a:extLst>
              <a:ext uri="{FF2B5EF4-FFF2-40B4-BE49-F238E27FC236}">
                <a16:creationId xmlns:a16="http://schemas.microsoft.com/office/drawing/2014/main" id="{C5A4F7E3-6A86-447A-9CFF-A1484D8D1910}"/>
              </a:ext>
            </a:extLst>
          </p:cNvPr>
          <p:cNvSpPr>
            <a:spLocks noGrp="1"/>
          </p:cNvSpPr>
          <p:nvPr>
            <p:ph type="media" sz="quarter" idx="20"/>
          </p:nvPr>
        </p:nvSpPr>
        <p:spPr bwMode="gray">
          <a:xfrm>
            <a:off x="10716797" y="6330042"/>
            <a:ext cx="946800" cy="2880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15875" cap="flat">
            <a:noFill/>
            <a:prstDash val="lgDash"/>
          </a:ln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de-DE"/>
              <a:t>Mediaclip durch Klicken auf Symbol hinzufügen</a:t>
            </a:r>
            <a:endParaRPr lang="de-DE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90B54C2D-8235-4852-8EB7-5E05529B24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525600" y="7200000"/>
            <a:ext cx="234000" cy="180000"/>
          </a:xfrm>
        </p:spPr>
        <p:txBody>
          <a:bodyPr lIns="0" tIns="0" rIns="0" bIns="0"/>
          <a:lstStyle/>
          <a:p>
            <a:fld id="{9829449A-3FF3-45CE-9F4F-09BADC0910C6}" type="slidenum">
              <a:rPr lang="de-DE" noProof="0"/>
              <a:t>‹Nr.›</a:t>
            </a:fld>
            <a:endParaRPr lang="de-DE" noProof="0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A4534FC4-D037-44B0-B266-D9E820FC1D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763200" y="7200000"/>
            <a:ext cx="7880400" cy="180000"/>
          </a:xfrm>
        </p:spPr>
        <p:txBody>
          <a:bodyPr lIns="0" tIns="0" rIns="0" bIns="0"/>
          <a:lstStyle/>
          <a:p>
            <a:endParaRPr lang="de-DE" noProof="0" dirty="0"/>
          </a:p>
        </p:txBody>
      </p:sp>
      <p:sp>
        <p:nvSpPr>
          <p:cNvPr id="17" name="info">
            <a:extLst>
              <a:ext uri="{FF2B5EF4-FFF2-40B4-BE49-F238E27FC236}">
                <a16:creationId xmlns:a16="http://schemas.microsoft.com/office/drawing/2014/main" id="{027ABA06-B9A1-4909-844B-552763C797C1}"/>
              </a:ext>
            </a:extLst>
          </p:cNvPr>
          <p:cNvSpPr/>
          <p:nvPr/>
        </p:nvSpPr>
        <p:spPr bwMode="gray">
          <a:xfrm flipH="1">
            <a:off x="12247320" y="6288645"/>
            <a:ext cx="1579616" cy="370793"/>
          </a:xfrm>
          <a:prstGeom prst="homePlate">
            <a:avLst/>
          </a:prstGeom>
          <a:solidFill>
            <a:srgbClr val="0029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36000" rtlCol="0" anchor="ctr">
            <a:spAutoFit/>
          </a:bodyPr>
          <a:lstStyle/>
          <a:p>
            <a:pPr algn="ctr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sz="1050" dirty="0">
                <a:solidFill>
                  <a:schemeClr val="bg1"/>
                </a:solidFill>
              </a:rPr>
              <a:t>delete the white logo </a:t>
            </a:r>
            <a:br>
              <a:rPr lang="en-US" sz="1050" dirty="0">
                <a:solidFill>
                  <a:schemeClr val="bg1"/>
                </a:solidFill>
              </a:rPr>
            </a:br>
            <a:r>
              <a:rPr lang="en-US" sz="1050" dirty="0">
                <a:solidFill>
                  <a:schemeClr val="bg1"/>
                </a:solidFill>
              </a:rPr>
              <a:t>to get the BLUE LOGO</a:t>
            </a:r>
            <a:endParaRPr lang="de-DE" sz="1050" dirty="0">
              <a:solidFill>
                <a:schemeClr val="bg1"/>
              </a:solidFill>
            </a:endParaRPr>
          </a:p>
        </p:txBody>
      </p:sp>
      <p:grpSp>
        <p:nvGrpSpPr>
          <p:cNvPr id="10" name="info">
            <a:extLst>
              <a:ext uri="{FF2B5EF4-FFF2-40B4-BE49-F238E27FC236}">
                <a16:creationId xmlns:a16="http://schemas.microsoft.com/office/drawing/2014/main" id="{A8B14796-0A2E-84EE-B86C-3C2813462D8F}"/>
              </a:ext>
            </a:extLst>
          </p:cNvPr>
          <p:cNvGrpSpPr/>
          <p:nvPr/>
        </p:nvGrpSpPr>
        <p:grpSpPr>
          <a:xfrm>
            <a:off x="12247320" y="3143250"/>
            <a:ext cx="1579616" cy="2823211"/>
            <a:chOff x="12399720" y="2598103"/>
            <a:chExt cx="1579616" cy="2823211"/>
          </a:xfrm>
          <a:solidFill>
            <a:srgbClr val="002965"/>
          </a:solidFill>
        </p:grpSpPr>
        <p:sp>
          <p:nvSpPr>
            <p:cNvPr id="11" name="info">
              <a:extLst>
                <a:ext uri="{FF2B5EF4-FFF2-40B4-BE49-F238E27FC236}">
                  <a16:creationId xmlns:a16="http://schemas.microsoft.com/office/drawing/2014/main" id="{DB729E5C-6C73-3949-5E62-92CFD6344ED7}"/>
                </a:ext>
              </a:extLst>
            </p:cNvPr>
            <p:cNvSpPr/>
            <p:nvPr userDrawn="1"/>
          </p:nvSpPr>
          <p:spPr bwMode="gray">
            <a:xfrm flipH="1">
              <a:off x="12399720" y="4947928"/>
              <a:ext cx="1579616" cy="473385"/>
            </a:xfrm>
            <a:prstGeom prst="homePlat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36000" rtlCol="0" anchor="ctr">
              <a:spAutoFit/>
            </a:bodyPr>
            <a:lstStyle/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 dirty="0">
                <a:solidFill>
                  <a:schemeClr val="tx2"/>
                </a:solidFill>
              </a:endParaRPr>
            </a:p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 dirty="0">
                <a:solidFill>
                  <a:schemeClr val="tx2"/>
                </a:solidFill>
              </a:endParaRPr>
            </a:p>
          </p:txBody>
        </p:sp>
        <p:sp>
          <p:nvSpPr>
            <p:cNvPr id="12" name="info">
              <a:extLst>
                <a:ext uri="{FF2B5EF4-FFF2-40B4-BE49-F238E27FC236}">
                  <a16:creationId xmlns:a16="http://schemas.microsoft.com/office/drawing/2014/main" id="{02A0FDBE-D3FE-5830-C2E1-E698E3CEA014}"/>
                </a:ext>
              </a:extLst>
            </p:cNvPr>
            <p:cNvSpPr/>
            <p:nvPr userDrawn="1"/>
          </p:nvSpPr>
          <p:spPr bwMode="gray">
            <a:xfrm flipH="1">
              <a:off x="12634899" y="2598103"/>
              <a:ext cx="1344423" cy="28232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36000" rtlCol="0" anchor="t">
              <a:noAutofit/>
            </a:bodyPr>
            <a:lstStyle/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b="1" cap="all" dirty="0">
                  <a:solidFill>
                    <a:schemeClr val="bg1"/>
                  </a:solidFill>
                </a:rPr>
                <a:t>image credit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b="1" dirty="0">
                  <a:solidFill>
                    <a:schemeClr val="bg1"/>
                  </a:solidFill>
                </a:rPr>
                <a:t>Always include</a:t>
              </a:r>
              <a:br>
                <a:rPr lang="en-US" sz="1050" b="1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redit!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How to get 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redit </a:t>
              </a:r>
              <a:r>
                <a:rPr lang="en-US" sz="1050" b="1" dirty="0">
                  <a:solidFill>
                    <a:schemeClr val="bg1"/>
                  </a:solidFill>
                </a:rPr>
                <a:t>placeholder</a:t>
              </a:r>
              <a:r>
                <a:rPr lang="en-US" sz="1050" dirty="0">
                  <a:solidFill>
                    <a:schemeClr val="bg1"/>
                  </a:solidFill>
                </a:rPr>
                <a:t>: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&gt; empower menu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&gt; text elements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&gt; depending on 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hoose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“</a:t>
              </a:r>
              <a:r>
                <a:rPr lang="en-US" sz="1050" b="1" dirty="0">
                  <a:solidFill>
                    <a:schemeClr val="bg1"/>
                  </a:solidFill>
                </a:rPr>
                <a:t>Copyright right/left grey</a:t>
              </a:r>
              <a:r>
                <a:rPr lang="en-US" sz="1050" dirty="0">
                  <a:solidFill>
                    <a:schemeClr val="bg1"/>
                  </a:solidFill>
                </a:rPr>
                <a:t>” 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or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“</a:t>
              </a:r>
              <a:r>
                <a:rPr lang="en-US" sz="1050" b="1" dirty="0">
                  <a:solidFill>
                    <a:schemeClr val="bg1"/>
                  </a:solidFill>
                </a:rPr>
                <a:t>Copyright right/left white</a:t>
              </a:r>
              <a:r>
                <a:rPr lang="en-US" sz="1050" dirty="0">
                  <a:solidFill>
                    <a:schemeClr val="bg1"/>
                  </a:solidFill>
                </a:rPr>
                <a:t>”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4316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nk without ba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logo drees&amp;sommer blue mask">
            <a:extLst>
              <a:ext uri="{FF2B5EF4-FFF2-40B4-BE49-F238E27FC236}">
                <a16:creationId xmlns:a16="http://schemas.microsoft.com/office/drawing/2014/main" id="{7DFCFBB7-6B39-4D0E-BE6B-B3B479E24FA2}"/>
              </a:ext>
            </a:extLst>
          </p:cNvPr>
          <p:cNvSpPr/>
          <p:nvPr/>
        </p:nvSpPr>
        <p:spPr>
          <a:xfrm>
            <a:off x="10579100" y="6197600"/>
            <a:ext cx="1270000" cy="584200"/>
          </a:xfrm>
          <a:prstGeom prst="rect">
            <a:avLst/>
          </a:prstGeom>
          <a:solidFill>
            <a:srgbClr val="0029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de-DE" sz="1400" dirty="0" err="1"/>
          </a:p>
        </p:txBody>
      </p:sp>
      <p:sp>
        <p:nvSpPr>
          <p:cNvPr id="8" name="picture">
            <a:extLst>
              <a:ext uri="{FF2B5EF4-FFF2-40B4-BE49-F238E27FC236}">
                <a16:creationId xmlns:a16="http://schemas.microsoft.com/office/drawing/2014/main" id="{6707D371-3415-428D-904A-4D82FA14AD5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909343 w 12192000"/>
              <a:gd name="connsiteY0" fmla="*/ 6535879 h 6858000"/>
              <a:gd name="connsiteX1" fmla="*/ 10992168 w 12192000"/>
              <a:gd name="connsiteY1" fmla="*/ 6535879 h 6858000"/>
              <a:gd name="connsiteX2" fmla="*/ 10992168 w 12192000"/>
              <a:gd name="connsiteY2" fmla="*/ 6598745 h 6858000"/>
              <a:gd name="connsiteX3" fmla="*/ 10909343 w 12192000"/>
              <a:gd name="connsiteY3" fmla="*/ 6598745 h 6858000"/>
              <a:gd name="connsiteX4" fmla="*/ 11563256 w 12192000"/>
              <a:gd name="connsiteY4" fmla="*/ 6534690 h 6858000"/>
              <a:gd name="connsiteX5" fmla="*/ 11619215 w 12192000"/>
              <a:gd name="connsiteY5" fmla="*/ 6534690 h 6858000"/>
              <a:gd name="connsiteX6" fmla="*/ 11630409 w 12192000"/>
              <a:gd name="connsiteY6" fmla="*/ 6542786 h 6858000"/>
              <a:gd name="connsiteX7" fmla="*/ 11630409 w 12192000"/>
              <a:gd name="connsiteY7" fmla="*/ 6554455 h 6858000"/>
              <a:gd name="connsiteX8" fmla="*/ 11619215 w 12192000"/>
              <a:gd name="connsiteY8" fmla="*/ 6562550 h 6858000"/>
              <a:gd name="connsiteX9" fmla="*/ 11563256 w 12192000"/>
              <a:gd name="connsiteY9" fmla="*/ 6562550 h 6858000"/>
              <a:gd name="connsiteX10" fmla="*/ 10910306 w 12192000"/>
              <a:gd name="connsiteY10" fmla="*/ 6517318 h 6858000"/>
              <a:gd name="connsiteX11" fmla="*/ 10883590 w 12192000"/>
              <a:gd name="connsiteY11" fmla="*/ 6541122 h 6858000"/>
              <a:gd name="connsiteX12" fmla="*/ 10883590 w 12192000"/>
              <a:gd name="connsiteY12" fmla="*/ 6594223 h 6858000"/>
              <a:gd name="connsiteX13" fmla="*/ 10910306 w 12192000"/>
              <a:gd name="connsiteY13" fmla="*/ 6618042 h 6858000"/>
              <a:gd name="connsiteX14" fmla="*/ 10989730 w 12192000"/>
              <a:gd name="connsiteY14" fmla="*/ 6618042 h 6858000"/>
              <a:gd name="connsiteX15" fmla="*/ 11016446 w 12192000"/>
              <a:gd name="connsiteY15" fmla="*/ 6594223 h 6858000"/>
              <a:gd name="connsiteX16" fmla="*/ 11016446 w 12192000"/>
              <a:gd name="connsiteY16" fmla="*/ 6541122 h 6858000"/>
              <a:gd name="connsiteX17" fmla="*/ 10989730 w 12192000"/>
              <a:gd name="connsiteY17" fmla="*/ 6517318 h 6858000"/>
              <a:gd name="connsiteX18" fmla="*/ 11538985 w 12192000"/>
              <a:gd name="connsiteY18" fmla="*/ 6517311 h 6858000"/>
              <a:gd name="connsiteX19" fmla="*/ 11538985 w 12192000"/>
              <a:gd name="connsiteY19" fmla="*/ 6618035 h 6858000"/>
              <a:gd name="connsiteX20" fmla="*/ 11563263 w 12192000"/>
              <a:gd name="connsiteY20" fmla="*/ 6618035 h 6858000"/>
              <a:gd name="connsiteX21" fmla="*/ 11563263 w 12192000"/>
              <a:gd name="connsiteY21" fmla="*/ 6579929 h 6858000"/>
              <a:gd name="connsiteX22" fmla="*/ 11586360 w 12192000"/>
              <a:gd name="connsiteY22" fmla="*/ 6579929 h 6858000"/>
              <a:gd name="connsiteX23" fmla="*/ 11628506 w 12192000"/>
              <a:gd name="connsiteY23" fmla="*/ 6618035 h 6858000"/>
              <a:gd name="connsiteX24" fmla="*/ 11663753 w 12192000"/>
              <a:gd name="connsiteY24" fmla="*/ 6618035 h 6858000"/>
              <a:gd name="connsiteX25" fmla="*/ 11615897 w 12192000"/>
              <a:gd name="connsiteY25" fmla="*/ 6579929 h 6858000"/>
              <a:gd name="connsiteX26" fmla="*/ 11629710 w 12192000"/>
              <a:gd name="connsiteY26" fmla="*/ 6579929 h 6858000"/>
              <a:gd name="connsiteX27" fmla="*/ 11653280 w 12192000"/>
              <a:gd name="connsiteY27" fmla="*/ 6560639 h 6858000"/>
              <a:gd name="connsiteX28" fmla="*/ 11653280 w 12192000"/>
              <a:gd name="connsiteY28" fmla="*/ 6536835 h 6858000"/>
              <a:gd name="connsiteX29" fmla="*/ 11629710 w 12192000"/>
              <a:gd name="connsiteY29" fmla="*/ 6517311 h 6858000"/>
              <a:gd name="connsiteX30" fmla="*/ 11401645 w 12192000"/>
              <a:gd name="connsiteY30" fmla="*/ 6517311 h 6858000"/>
              <a:gd name="connsiteX31" fmla="*/ 11401645 w 12192000"/>
              <a:gd name="connsiteY31" fmla="*/ 6618035 h 6858000"/>
              <a:gd name="connsiteX32" fmla="*/ 11513119 w 12192000"/>
              <a:gd name="connsiteY32" fmla="*/ 6618035 h 6858000"/>
              <a:gd name="connsiteX33" fmla="*/ 11513119 w 12192000"/>
              <a:gd name="connsiteY33" fmla="*/ 6599219 h 6858000"/>
              <a:gd name="connsiteX34" fmla="*/ 11426909 w 12192000"/>
              <a:gd name="connsiteY34" fmla="*/ 6599219 h 6858000"/>
              <a:gd name="connsiteX35" fmla="*/ 11426909 w 12192000"/>
              <a:gd name="connsiteY35" fmla="*/ 6574452 h 6858000"/>
              <a:gd name="connsiteX36" fmla="*/ 11476458 w 12192000"/>
              <a:gd name="connsiteY36" fmla="*/ 6574452 h 6858000"/>
              <a:gd name="connsiteX37" fmla="*/ 11476458 w 12192000"/>
              <a:gd name="connsiteY37" fmla="*/ 6557073 h 6858000"/>
              <a:gd name="connsiteX38" fmla="*/ 11426909 w 12192000"/>
              <a:gd name="connsiteY38" fmla="*/ 6557073 h 6858000"/>
              <a:gd name="connsiteX39" fmla="*/ 11426909 w 12192000"/>
              <a:gd name="connsiteY39" fmla="*/ 6535179 h 6858000"/>
              <a:gd name="connsiteX40" fmla="*/ 11511908 w 12192000"/>
              <a:gd name="connsiteY40" fmla="*/ 6535179 h 6858000"/>
              <a:gd name="connsiteX41" fmla="*/ 11511908 w 12192000"/>
              <a:gd name="connsiteY41" fmla="*/ 6517311 h 6858000"/>
              <a:gd name="connsiteX42" fmla="*/ 11225454 w 12192000"/>
              <a:gd name="connsiteY42" fmla="*/ 6517311 h 6858000"/>
              <a:gd name="connsiteX43" fmla="*/ 11225454 w 12192000"/>
              <a:gd name="connsiteY43" fmla="*/ 6618035 h 6858000"/>
              <a:gd name="connsiteX44" fmla="*/ 11248423 w 12192000"/>
              <a:gd name="connsiteY44" fmla="*/ 6618035 h 6858000"/>
              <a:gd name="connsiteX45" fmla="*/ 11248423 w 12192000"/>
              <a:gd name="connsiteY45" fmla="*/ 6550414 h 6858000"/>
              <a:gd name="connsiteX46" fmla="*/ 11294805 w 12192000"/>
              <a:gd name="connsiteY46" fmla="*/ 6605892 h 6858000"/>
              <a:gd name="connsiteX47" fmla="*/ 11299665 w 12192000"/>
              <a:gd name="connsiteY47" fmla="*/ 6605892 h 6858000"/>
              <a:gd name="connsiteX48" fmla="*/ 11345558 w 12192000"/>
              <a:gd name="connsiteY48" fmla="*/ 6548737 h 6858000"/>
              <a:gd name="connsiteX49" fmla="*/ 11345558 w 12192000"/>
              <a:gd name="connsiteY49" fmla="*/ 6618035 h 6858000"/>
              <a:gd name="connsiteX50" fmla="*/ 11368873 w 12192000"/>
              <a:gd name="connsiteY50" fmla="*/ 6618035 h 6858000"/>
              <a:gd name="connsiteX51" fmla="*/ 11368873 w 12192000"/>
              <a:gd name="connsiteY51" fmla="*/ 6517311 h 6858000"/>
              <a:gd name="connsiteX52" fmla="*/ 11348725 w 12192000"/>
              <a:gd name="connsiteY52" fmla="*/ 6517311 h 6858000"/>
              <a:gd name="connsiteX53" fmla="*/ 11298687 w 12192000"/>
              <a:gd name="connsiteY53" fmla="*/ 6577070 h 6858000"/>
              <a:gd name="connsiteX54" fmla="*/ 11248423 w 12192000"/>
              <a:gd name="connsiteY54" fmla="*/ 6517311 h 6858000"/>
              <a:gd name="connsiteX55" fmla="*/ 11048135 w 12192000"/>
              <a:gd name="connsiteY55" fmla="*/ 6517311 h 6858000"/>
              <a:gd name="connsiteX56" fmla="*/ 11048135 w 12192000"/>
              <a:gd name="connsiteY56" fmla="*/ 6618035 h 6858000"/>
              <a:gd name="connsiteX57" fmla="*/ 11071096 w 12192000"/>
              <a:gd name="connsiteY57" fmla="*/ 6618035 h 6858000"/>
              <a:gd name="connsiteX58" fmla="*/ 11071096 w 12192000"/>
              <a:gd name="connsiteY58" fmla="*/ 6550414 h 6858000"/>
              <a:gd name="connsiteX59" fmla="*/ 11117478 w 12192000"/>
              <a:gd name="connsiteY59" fmla="*/ 6605892 h 6858000"/>
              <a:gd name="connsiteX60" fmla="*/ 11122331 w 12192000"/>
              <a:gd name="connsiteY60" fmla="*/ 6605892 h 6858000"/>
              <a:gd name="connsiteX61" fmla="*/ 11168239 w 12192000"/>
              <a:gd name="connsiteY61" fmla="*/ 6548737 h 6858000"/>
              <a:gd name="connsiteX62" fmla="*/ 11168239 w 12192000"/>
              <a:gd name="connsiteY62" fmla="*/ 6618035 h 6858000"/>
              <a:gd name="connsiteX63" fmla="*/ 11191554 w 12192000"/>
              <a:gd name="connsiteY63" fmla="*/ 6618035 h 6858000"/>
              <a:gd name="connsiteX64" fmla="*/ 11191554 w 12192000"/>
              <a:gd name="connsiteY64" fmla="*/ 6517311 h 6858000"/>
              <a:gd name="connsiteX65" fmla="*/ 11171399 w 12192000"/>
              <a:gd name="connsiteY65" fmla="*/ 6517311 h 6858000"/>
              <a:gd name="connsiteX66" fmla="*/ 11121368 w 12192000"/>
              <a:gd name="connsiteY66" fmla="*/ 6577070 h 6858000"/>
              <a:gd name="connsiteX67" fmla="*/ 11071096 w 12192000"/>
              <a:gd name="connsiteY67" fmla="*/ 6517311 h 6858000"/>
              <a:gd name="connsiteX68" fmla="*/ 10752277 w 12192000"/>
              <a:gd name="connsiteY68" fmla="*/ 6495162 h 6858000"/>
              <a:gd name="connsiteX69" fmla="*/ 10721799 w 12192000"/>
              <a:gd name="connsiteY69" fmla="*/ 6524218 h 6858000"/>
              <a:gd name="connsiteX70" fmla="*/ 10721799 w 12192000"/>
              <a:gd name="connsiteY70" fmla="*/ 6537775 h 6858000"/>
              <a:gd name="connsiteX71" fmla="*/ 10752277 w 12192000"/>
              <a:gd name="connsiteY71" fmla="*/ 6566830 h 6858000"/>
              <a:gd name="connsiteX72" fmla="*/ 10828955 w 12192000"/>
              <a:gd name="connsiteY72" fmla="*/ 6566830 h 6858000"/>
              <a:gd name="connsiteX73" fmla="*/ 10828955 w 12192000"/>
              <a:gd name="connsiteY73" fmla="*/ 6594930 h 6858000"/>
              <a:gd name="connsiteX74" fmla="*/ 10742052 w 12192000"/>
              <a:gd name="connsiteY74" fmla="*/ 6594930 h 6858000"/>
              <a:gd name="connsiteX75" fmla="*/ 10742052 w 12192000"/>
              <a:gd name="connsiteY75" fmla="*/ 6581704 h 6858000"/>
              <a:gd name="connsiteX76" fmla="*/ 10716796 w 12192000"/>
              <a:gd name="connsiteY76" fmla="*/ 6586948 h 6858000"/>
              <a:gd name="connsiteX77" fmla="*/ 10716796 w 12192000"/>
              <a:gd name="connsiteY77" fmla="*/ 6588979 h 6858000"/>
              <a:gd name="connsiteX78" fmla="*/ 10747514 w 12192000"/>
              <a:gd name="connsiteY78" fmla="*/ 6618027 h 6858000"/>
              <a:gd name="connsiteX79" fmla="*/ 10823486 w 12192000"/>
              <a:gd name="connsiteY79" fmla="*/ 6618027 h 6858000"/>
              <a:gd name="connsiteX80" fmla="*/ 10854204 w 12192000"/>
              <a:gd name="connsiteY80" fmla="*/ 6588979 h 6858000"/>
              <a:gd name="connsiteX81" fmla="*/ 10854204 w 12192000"/>
              <a:gd name="connsiteY81" fmla="*/ 6572074 h 6858000"/>
              <a:gd name="connsiteX82" fmla="*/ 10823486 w 12192000"/>
              <a:gd name="connsiteY82" fmla="*/ 6543019 h 6858000"/>
              <a:gd name="connsiteX83" fmla="*/ 10746799 w 12192000"/>
              <a:gd name="connsiteY83" fmla="*/ 6543019 h 6858000"/>
              <a:gd name="connsiteX84" fmla="*/ 10746799 w 12192000"/>
              <a:gd name="connsiteY84" fmla="*/ 6516596 h 6858000"/>
              <a:gd name="connsiteX85" fmla="*/ 10827285 w 12192000"/>
              <a:gd name="connsiteY85" fmla="*/ 6516596 h 6858000"/>
              <a:gd name="connsiteX86" fmla="*/ 10827285 w 12192000"/>
              <a:gd name="connsiteY86" fmla="*/ 6529905 h 6858000"/>
              <a:gd name="connsiteX87" fmla="*/ 10852526 w 12192000"/>
              <a:gd name="connsiteY87" fmla="*/ 6523954 h 6858000"/>
              <a:gd name="connsiteX88" fmla="*/ 10852526 w 12192000"/>
              <a:gd name="connsiteY88" fmla="*/ 6522074 h 6858000"/>
              <a:gd name="connsiteX89" fmla="*/ 10822049 w 12192000"/>
              <a:gd name="connsiteY89" fmla="*/ 6495162 h 6858000"/>
              <a:gd name="connsiteX90" fmla="*/ 11554221 w 12192000"/>
              <a:gd name="connsiteY90" fmla="*/ 6392873 h 6858000"/>
              <a:gd name="connsiteX91" fmla="*/ 11591123 w 12192000"/>
              <a:gd name="connsiteY91" fmla="*/ 6423591 h 6858000"/>
              <a:gd name="connsiteX92" fmla="*/ 11579695 w 12192000"/>
              <a:gd name="connsiteY92" fmla="*/ 6433349 h 6858000"/>
              <a:gd name="connsiteX93" fmla="*/ 11522795 w 12192000"/>
              <a:gd name="connsiteY93" fmla="*/ 6433349 h 6858000"/>
              <a:gd name="connsiteX94" fmla="*/ 11522795 w 12192000"/>
              <a:gd name="connsiteY94" fmla="*/ 6433342 h 6858000"/>
              <a:gd name="connsiteX95" fmla="*/ 11522795 w 12192000"/>
              <a:gd name="connsiteY95" fmla="*/ 6412396 h 6858000"/>
              <a:gd name="connsiteX96" fmla="*/ 10923532 w 12192000"/>
              <a:gd name="connsiteY96" fmla="*/ 6371439 h 6858000"/>
              <a:gd name="connsiteX97" fmla="*/ 10979491 w 12192000"/>
              <a:gd name="connsiteY97" fmla="*/ 6371439 h 6858000"/>
              <a:gd name="connsiteX98" fmla="*/ 10990685 w 12192000"/>
              <a:gd name="connsiteY98" fmla="*/ 6379534 h 6858000"/>
              <a:gd name="connsiteX99" fmla="*/ 10990685 w 12192000"/>
              <a:gd name="connsiteY99" fmla="*/ 6391203 h 6858000"/>
              <a:gd name="connsiteX100" fmla="*/ 10979491 w 12192000"/>
              <a:gd name="connsiteY100" fmla="*/ 6399298 h 6858000"/>
              <a:gd name="connsiteX101" fmla="*/ 10923532 w 12192000"/>
              <a:gd name="connsiteY101" fmla="*/ 6399298 h 6858000"/>
              <a:gd name="connsiteX102" fmla="*/ 11349305 w 12192000"/>
              <a:gd name="connsiteY102" fmla="*/ 6354060 h 6858000"/>
              <a:gd name="connsiteX103" fmla="*/ 11322868 w 12192000"/>
              <a:gd name="connsiteY103" fmla="*/ 6377879 h 6858000"/>
              <a:gd name="connsiteX104" fmla="*/ 11322868 w 12192000"/>
              <a:gd name="connsiteY104" fmla="*/ 6389074 h 6858000"/>
              <a:gd name="connsiteX105" fmla="*/ 11349305 w 12192000"/>
              <a:gd name="connsiteY105" fmla="*/ 6412878 h 6858000"/>
              <a:gd name="connsiteX106" fmla="*/ 11414541 w 12192000"/>
              <a:gd name="connsiteY106" fmla="*/ 6412878 h 6858000"/>
              <a:gd name="connsiteX107" fmla="*/ 11414541 w 12192000"/>
              <a:gd name="connsiteY107" fmla="*/ 6435983 h 6858000"/>
              <a:gd name="connsiteX108" fmla="*/ 11340480 w 12192000"/>
              <a:gd name="connsiteY108" fmla="*/ 6435983 h 6858000"/>
              <a:gd name="connsiteX109" fmla="*/ 11340480 w 12192000"/>
              <a:gd name="connsiteY109" fmla="*/ 6425375 h 6858000"/>
              <a:gd name="connsiteX110" fmla="*/ 11318587 w 12192000"/>
              <a:gd name="connsiteY110" fmla="*/ 6429430 h 6858000"/>
              <a:gd name="connsiteX111" fmla="*/ 11318587 w 12192000"/>
              <a:gd name="connsiteY111" fmla="*/ 6430980 h 6858000"/>
              <a:gd name="connsiteX112" fmla="*/ 11345009 w 12192000"/>
              <a:gd name="connsiteY112" fmla="*/ 6454784 h 6858000"/>
              <a:gd name="connsiteX113" fmla="*/ 11410501 w 12192000"/>
              <a:gd name="connsiteY113" fmla="*/ 6454784 h 6858000"/>
              <a:gd name="connsiteX114" fmla="*/ 11436690 w 12192000"/>
              <a:gd name="connsiteY114" fmla="*/ 6430980 h 6858000"/>
              <a:gd name="connsiteX115" fmla="*/ 11436690 w 12192000"/>
              <a:gd name="connsiteY115" fmla="*/ 6417166 h 6858000"/>
              <a:gd name="connsiteX116" fmla="*/ 11410501 w 12192000"/>
              <a:gd name="connsiteY116" fmla="*/ 6393362 h 6858000"/>
              <a:gd name="connsiteX117" fmla="*/ 11345009 w 12192000"/>
              <a:gd name="connsiteY117" fmla="*/ 6393362 h 6858000"/>
              <a:gd name="connsiteX118" fmla="*/ 11345009 w 12192000"/>
              <a:gd name="connsiteY118" fmla="*/ 6372154 h 6858000"/>
              <a:gd name="connsiteX119" fmla="*/ 11414300 w 12192000"/>
              <a:gd name="connsiteY119" fmla="*/ 6372154 h 6858000"/>
              <a:gd name="connsiteX120" fmla="*/ 11414300 w 12192000"/>
              <a:gd name="connsiteY120" fmla="*/ 6381565 h 6858000"/>
              <a:gd name="connsiteX121" fmla="*/ 11435486 w 12192000"/>
              <a:gd name="connsiteY121" fmla="*/ 6377051 h 6858000"/>
              <a:gd name="connsiteX122" fmla="*/ 11435486 w 12192000"/>
              <a:gd name="connsiteY122" fmla="*/ 6375968 h 6858000"/>
              <a:gd name="connsiteX123" fmla="*/ 11409064 w 12192000"/>
              <a:gd name="connsiteY123" fmla="*/ 6354060 h 6858000"/>
              <a:gd name="connsiteX124" fmla="*/ 11184971 w 12192000"/>
              <a:gd name="connsiteY124" fmla="*/ 6354060 h 6858000"/>
              <a:gd name="connsiteX125" fmla="*/ 11184971 w 12192000"/>
              <a:gd name="connsiteY125" fmla="*/ 6454776 h 6858000"/>
              <a:gd name="connsiteX126" fmla="*/ 11294264 w 12192000"/>
              <a:gd name="connsiteY126" fmla="*/ 6454776 h 6858000"/>
              <a:gd name="connsiteX127" fmla="*/ 11294264 w 12192000"/>
              <a:gd name="connsiteY127" fmla="*/ 6435967 h 6858000"/>
              <a:gd name="connsiteX128" fmla="*/ 11209738 w 12192000"/>
              <a:gd name="connsiteY128" fmla="*/ 6435967 h 6858000"/>
              <a:gd name="connsiteX129" fmla="*/ 11209738 w 12192000"/>
              <a:gd name="connsiteY129" fmla="*/ 6411200 h 6858000"/>
              <a:gd name="connsiteX130" fmla="*/ 11258310 w 12192000"/>
              <a:gd name="connsiteY130" fmla="*/ 6411200 h 6858000"/>
              <a:gd name="connsiteX131" fmla="*/ 11258310 w 12192000"/>
              <a:gd name="connsiteY131" fmla="*/ 6393821 h 6858000"/>
              <a:gd name="connsiteX132" fmla="*/ 11209738 w 12192000"/>
              <a:gd name="connsiteY132" fmla="*/ 6393821 h 6858000"/>
              <a:gd name="connsiteX133" fmla="*/ 11209738 w 12192000"/>
              <a:gd name="connsiteY133" fmla="*/ 6371913 h 6858000"/>
              <a:gd name="connsiteX134" fmla="*/ 11293083 w 12192000"/>
              <a:gd name="connsiteY134" fmla="*/ 6371913 h 6858000"/>
              <a:gd name="connsiteX135" fmla="*/ 11293083 w 12192000"/>
              <a:gd name="connsiteY135" fmla="*/ 6354060 h 6858000"/>
              <a:gd name="connsiteX136" fmla="*/ 11047262 w 12192000"/>
              <a:gd name="connsiteY136" fmla="*/ 6354060 h 6858000"/>
              <a:gd name="connsiteX137" fmla="*/ 11047262 w 12192000"/>
              <a:gd name="connsiteY137" fmla="*/ 6454776 h 6858000"/>
              <a:gd name="connsiteX138" fmla="*/ 11156555 w 12192000"/>
              <a:gd name="connsiteY138" fmla="*/ 6454776 h 6858000"/>
              <a:gd name="connsiteX139" fmla="*/ 11156555 w 12192000"/>
              <a:gd name="connsiteY139" fmla="*/ 6435967 h 6858000"/>
              <a:gd name="connsiteX140" fmla="*/ 11072029 w 12192000"/>
              <a:gd name="connsiteY140" fmla="*/ 6435967 h 6858000"/>
              <a:gd name="connsiteX141" fmla="*/ 11072029 w 12192000"/>
              <a:gd name="connsiteY141" fmla="*/ 6411200 h 6858000"/>
              <a:gd name="connsiteX142" fmla="*/ 11120601 w 12192000"/>
              <a:gd name="connsiteY142" fmla="*/ 6411200 h 6858000"/>
              <a:gd name="connsiteX143" fmla="*/ 11120601 w 12192000"/>
              <a:gd name="connsiteY143" fmla="*/ 6393821 h 6858000"/>
              <a:gd name="connsiteX144" fmla="*/ 11072029 w 12192000"/>
              <a:gd name="connsiteY144" fmla="*/ 6393821 h 6858000"/>
              <a:gd name="connsiteX145" fmla="*/ 11072029 w 12192000"/>
              <a:gd name="connsiteY145" fmla="*/ 6371913 h 6858000"/>
              <a:gd name="connsiteX146" fmla="*/ 11155374 w 12192000"/>
              <a:gd name="connsiteY146" fmla="*/ 6371913 h 6858000"/>
              <a:gd name="connsiteX147" fmla="*/ 11155374 w 12192000"/>
              <a:gd name="connsiteY147" fmla="*/ 6354060 h 6858000"/>
              <a:gd name="connsiteX148" fmla="*/ 10899246 w 12192000"/>
              <a:gd name="connsiteY148" fmla="*/ 6354060 h 6858000"/>
              <a:gd name="connsiteX149" fmla="*/ 10899246 w 12192000"/>
              <a:gd name="connsiteY149" fmla="*/ 6454776 h 6858000"/>
              <a:gd name="connsiteX150" fmla="*/ 10923539 w 12192000"/>
              <a:gd name="connsiteY150" fmla="*/ 6454776 h 6858000"/>
              <a:gd name="connsiteX151" fmla="*/ 10923539 w 12192000"/>
              <a:gd name="connsiteY151" fmla="*/ 6416670 h 6858000"/>
              <a:gd name="connsiteX152" fmla="*/ 10946636 w 12192000"/>
              <a:gd name="connsiteY152" fmla="*/ 6416670 h 6858000"/>
              <a:gd name="connsiteX153" fmla="*/ 10988782 w 12192000"/>
              <a:gd name="connsiteY153" fmla="*/ 6454776 h 6858000"/>
              <a:gd name="connsiteX154" fmla="*/ 11024029 w 12192000"/>
              <a:gd name="connsiteY154" fmla="*/ 6454776 h 6858000"/>
              <a:gd name="connsiteX155" fmla="*/ 10976158 w 12192000"/>
              <a:gd name="connsiteY155" fmla="*/ 6416670 h 6858000"/>
              <a:gd name="connsiteX156" fmla="*/ 10989971 w 12192000"/>
              <a:gd name="connsiteY156" fmla="*/ 6416670 h 6858000"/>
              <a:gd name="connsiteX157" fmla="*/ 11013549 w 12192000"/>
              <a:gd name="connsiteY157" fmla="*/ 6397395 h 6858000"/>
              <a:gd name="connsiteX158" fmla="*/ 11013549 w 12192000"/>
              <a:gd name="connsiteY158" fmla="*/ 6373583 h 6858000"/>
              <a:gd name="connsiteX159" fmla="*/ 10989971 w 12192000"/>
              <a:gd name="connsiteY159" fmla="*/ 6354060 h 6858000"/>
              <a:gd name="connsiteX160" fmla="*/ 10749425 w 12192000"/>
              <a:gd name="connsiteY160" fmla="*/ 6353819 h 6858000"/>
              <a:gd name="connsiteX161" fmla="*/ 10800140 w 12192000"/>
              <a:gd name="connsiteY161" fmla="*/ 6353819 h 6858000"/>
              <a:gd name="connsiteX162" fmla="*/ 10840624 w 12192000"/>
              <a:gd name="connsiteY162" fmla="*/ 6392158 h 6858000"/>
              <a:gd name="connsiteX163" fmla="*/ 10786327 w 12192000"/>
              <a:gd name="connsiteY163" fmla="*/ 6431686 h 6858000"/>
              <a:gd name="connsiteX164" fmla="*/ 10749425 w 12192000"/>
              <a:gd name="connsiteY164" fmla="*/ 6431686 h 6858000"/>
              <a:gd name="connsiteX165" fmla="*/ 11558990 w 12192000"/>
              <a:gd name="connsiteY165" fmla="*/ 6331911 h 6858000"/>
              <a:gd name="connsiteX166" fmla="*/ 11528513 w 12192000"/>
              <a:gd name="connsiteY166" fmla="*/ 6354293 h 6858000"/>
              <a:gd name="connsiteX167" fmla="*/ 11528513 w 12192000"/>
              <a:gd name="connsiteY167" fmla="*/ 6361192 h 6858000"/>
              <a:gd name="connsiteX168" fmla="*/ 11538993 w 12192000"/>
              <a:gd name="connsiteY168" fmla="*/ 6379767 h 6858000"/>
              <a:gd name="connsiteX169" fmla="*/ 11513978 w 12192000"/>
              <a:gd name="connsiteY169" fmla="*/ 6394776 h 6858000"/>
              <a:gd name="connsiteX170" fmla="*/ 11498743 w 12192000"/>
              <a:gd name="connsiteY170" fmla="*/ 6417633 h 6858000"/>
              <a:gd name="connsiteX171" fmla="*/ 11498743 w 12192000"/>
              <a:gd name="connsiteY171" fmla="*/ 6425728 h 6858000"/>
              <a:gd name="connsiteX172" fmla="*/ 11529454 w 12192000"/>
              <a:gd name="connsiteY172" fmla="*/ 6454776 h 6858000"/>
              <a:gd name="connsiteX173" fmla="*/ 11573270 w 12192000"/>
              <a:gd name="connsiteY173" fmla="*/ 6454776 h 6858000"/>
              <a:gd name="connsiteX174" fmla="*/ 11596367 w 12192000"/>
              <a:gd name="connsiteY174" fmla="*/ 6447388 h 6858000"/>
              <a:gd name="connsiteX175" fmla="*/ 11607321 w 12192000"/>
              <a:gd name="connsiteY175" fmla="*/ 6437630 h 6858000"/>
              <a:gd name="connsiteX176" fmla="*/ 11627559 w 12192000"/>
              <a:gd name="connsiteY176" fmla="*/ 6454776 h 6858000"/>
              <a:gd name="connsiteX177" fmla="*/ 11664950 w 12192000"/>
              <a:gd name="connsiteY177" fmla="*/ 6454776 h 6858000"/>
              <a:gd name="connsiteX178" fmla="*/ 11626137 w 12192000"/>
              <a:gd name="connsiteY178" fmla="*/ 6422147 h 6858000"/>
              <a:gd name="connsiteX179" fmla="*/ 11654470 w 12192000"/>
              <a:gd name="connsiteY179" fmla="*/ 6398583 h 6858000"/>
              <a:gd name="connsiteX180" fmla="*/ 11638272 w 12192000"/>
              <a:gd name="connsiteY180" fmla="*/ 6384537 h 6858000"/>
              <a:gd name="connsiteX181" fmla="*/ 11609698 w 12192000"/>
              <a:gd name="connsiteY181" fmla="*/ 6408341 h 6858000"/>
              <a:gd name="connsiteX182" fmla="*/ 11551836 w 12192000"/>
              <a:gd name="connsiteY182" fmla="*/ 6360244 h 6858000"/>
              <a:gd name="connsiteX183" fmla="*/ 11551836 w 12192000"/>
              <a:gd name="connsiteY183" fmla="*/ 6351434 h 6858000"/>
              <a:gd name="connsiteX184" fmla="*/ 11592086 w 12192000"/>
              <a:gd name="connsiteY184" fmla="*/ 6351434 h 6858000"/>
              <a:gd name="connsiteX185" fmla="*/ 11592086 w 12192000"/>
              <a:gd name="connsiteY185" fmla="*/ 6367873 h 6858000"/>
              <a:gd name="connsiteX186" fmla="*/ 11614220 w 12192000"/>
              <a:gd name="connsiteY186" fmla="*/ 6364066 h 6858000"/>
              <a:gd name="connsiteX187" fmla="*/ 11614220 w 12192000"/>
              <a:gd name="connsiteY187" fmla="*/ 6356678 h 6858000"/>
              <a:gd name="connsiteX188" fmla="*/ 11583742 w 12192000"/>
              <a:gd name="connsiteY188" fmla="*/ 6331911 h 6858000"/>
              <a:gd name="connsiteX189" fmla="*/ 10720851 w 12192000"/>
              <a:gd name="connsiteY189" fmla="*/ 6331911 h 6858000"/>
              <a:gd name="connsiteX190" fmla="*/ 10720851 w 12192000"/>
              <a:gd name="connsiteY190" fmla="*/ 6454776 h 6858000"/>
              <a:gd name="connsiteX191" fmla="*/ 10792527 w 12192000"/>
              <a:gd name="connsiteY191" fmla="*/ 6454776 h 6858000"/>
              <a:gd name="connsiteX192" fmla="*/ 10843009 w 12192000"/>
              <a:gd name="connsiteY192" fmla="*/ 6445259 h 6858000"/>
              <a:gd name="connsiteX193" fmla="*/ 10870146 w 12192000"/>
              <a:gd name="connsiteY193" fmla="*/ 6392632 h 6858000"/>
              <a:gd name="connsiteX194" fmla="*/ 10799900 w 12192000"/>
              <a:gd name="connsiteY194" fmla="*/ 6331911 h 6858000"/>
              <a:gd name="connsiteX195" fmla="*/ 0 w 12192000"/>
              <a:gd name="connsiteY195" fmla="*/ 0 h 6858000"/>
              <a:gd name="connsiteX196" fmla="*/ 12192000 w 12192000"/>
              <a:gd name="connsiteY196" fmla="*/ 0 h 6858000"/>
              <a:gd name="connsiteX197" fmla="*/ 12192000 w 12192000"/>
              <a:gd name="connsiteY197" fmla="*/ 6858000 h 6858000"/>
              <a:gd name="connsiteX198" fmla="*/ 0 w 12192000"/>
              <a:gd name="connsiteY19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</a:cxnLst>
            <a:rect l="l" t="t" r="r" b="b"/>
            <a:pathLst>
              <a:path w="12192000" h="6858000">
                <a:moveTo>
                  <a:pt x="10909343" y="6535879"/>
                </a:moveTo>
                <a:lnTo>
                  <a:pt x="10992168" y="6535879"/>
                </a:lnTo>
                <a:lnTo>
                  <a:pt x="10992168" y="6598745"/>
                </a:lnTo>
                <a:lnTo>
                  <a:pt x="10909343" y="6598745"/>
                </a:lnTo>
                <a:close/>
                <a:moveTo>
                  <a:pt x="11563256" y="6534690"/>
                </a:moveTo>
                <a:lnTo>
                  <a:pt x="11619215" y="6534690"/>
                </a:lnTo>
                <a:cubicBezTo>
                  <a:pt x="11626587" y="6534690"/>
                  <a:pt x="11630409" y="6536127"/>
                  <a:pt x="11630409" y="6542786"/>
                </a:cubicBezTo>
                <a:lnTo>
                  <a:pt x="11630409" y="6554455"/>
                </a:lnTo>
                <a:cubicBezTo>
                  <a:pt x="11630409" y="6561128"/>
                  <a:pt x="11626587" y="6562550"/>
                  <a:pt x="11619215" y="6562550"/>
                </a:cubicBezTo>
                <a:lnTo>
                  <a:pt x="11563256" y="6562550"/>
                </a:lnTo>
                <a:close/>
                <a:moveTo>
                  <a:pt x="10910306" y="6517318"/>
                </a:moveTo>
                <a:cubicBezTo>
                  <a:pt x="10890158" y="6517318"/>
                  <a:pt x="10883590" y="6521832"/>
                  <a:pt x="10883590" y="6541122"/>
                </a:cubicBezTo>
                <a:lnTo>
                  <a:pt x="10883590" y="6594223"/>
                </a:lnTo>
                <a:cubicBezTo>
                  <a:pt x="10883590" y="6613272"/>
                  <a:pt x="10889902" y="6618042"/>
                  <a:pt x="10910306" y="6618042"/>
                </a:cubicBezTo>
                <a:lnTo>
                  <a:pt x="10989730" y="6618042"/>
                </a:lnTo>
                <a:cubicBezTo>
                  <a:pt x="11009886" y="6618042"/>
                  <a:pt x="11016446" y="6613272"/>
                  <a:pt x="11016446" y="6594223"/>
                </a:cubicBezTo>
                <a:lnTo>
                  <a:pt x="11016446" y="6541122"/>
                </a:lnTo>
                <a:cubicBezTo>
                  <a:pt x="11016446" y="6521832"/>
                  <a:pt x="11009878" y="6517318"/>
                  <a:pt x="10989730" y="6517318"/>
                </a:cubicBezTo>
                <a:close/>
                <a:moveTo>
                  <a:pt x="11538985" y="6517311"/>
                </a:moveTo>
                <a:lnTo>
                  <a:pt x="11538985" y="6618035"/>
                </a:lnTo>
                <a:lnTo>
                  <a:pt x="11563263" y="6618035"/>
                </a:lnTo>
                <a:lnTo>
                  <a:pt x="11563263" y="6579929"/>
                </a:lnTo>
                <a:lnTo>
                  <a:pt x="11586360" y="6579929"/>
                </a:lnTo>
                <a:lnTo>
                  <a:pt x="11628506" y="6618035"/>
                </a:lnTo>
                <a:lnTo>
                  <a:pt x="11663753" y="6618035"/>
                </a:lnTo>
                <a:lnTo>
                  <a:pt x="11615897" y="6579929"/>
                </a:lnTo>
                <a:lnTo>
                  <a:pt x="11629710" y="6579929"/>
                </a:lnTo>
                <a:cubicBezTo>
                  <a:pt x="11645892" y="6579929"/>
                  <a:pt x="11653280" y="6574452"/>
                  <a:pt x="11653280" y="6560639"/>
                </a:cubicBezTo>
                <a:lnTo>
                  <a:pt x="11653280" y="6536835"/>
                </a:lnTo>
                <a:cubicBezTo>
                  <a:pt x="11653280" y="6522788"/>
                  <a:pt x="11645892" y="6517311"/>
                  <a:pt x="11629710" y="6517311"/>
                </a:cubicBezTo>
                <a:close/>
                <a:moveTo>
                  <a:pt x="11401645" y="6517311"/>
                </a:moveTo>
                <a:lnTo>
                  <a:pt x="11401645" y="6618035"/>
                </a:lnTo>
                <a:lnTo>
                  <a:pt x="11513119" y="6618035"/>
                </a:lnTo>
                <a:lnTo>
                  <a:pt x="11513119" y="6599219"/>
                </a:lnTo>
                <a:lnTo>
                  <a:pt x="11426909" y="6599219"/>
                </a:lnTo>
                <a:lnTo>
                  <a:pt x="11426909" y="6574452"/>
                </a:lnTo>
                <a:lnTo>
                  <a:pt x="11476458" y="6574452"/>
                </a:lnTo>
                <a:lnTo>
                  <a:pt x="11476458" y="6557073"/>
                </a:lnTo>
                <a:lnTo>
                  <a:pt x="11426909" y="6557073"/>
                </a:lnTo>
                <a:lnTo>
                  <a:pt x="11426909" y="6535179"/>
                </a:lnTo>
                <a:lnTo>
                  <a:pt x="11511908" y="6535179"/>
                </a:lnTo>
                <a:lnTo>
                  <a:pt x="11511908" y="6517311"/>
                </a:lnTo>
                <a:close/>
                <a:moveTo>
                  <a:pt x="11225454" y="6517311"/>
                </a:moveTo>
                <a:lnTo>
                  <a:pt x="11225454" y="6618035"/>
                </a:lnTo>
                <a:lnTo>
                  <a:pt x="11248423" y="6618035"/>
                </a:lnTo>
                <a:lnTo>
                  <a:pt x="11248423" y="6550414"/>
                </a:lnTo>
                <a:lnTo>
                  <a:pt x="11294805" y="6605892"/>
                </a:lnTo>
                <a:lnTo>
                  <a:pt x="11299665" y="6605892"/>
                </a:lnTo>
                <a:lnTo>
                  <a:pt x="11345558" y="6548737"/>
                </a:lnTo>
                <a:lnTo>
                  <a:pt x="11345558" y="6618035"/>
                </a:lnTo>
                <a:lnTo>
                  <a:pt x="11368873" y="6618035"/>
                </a:lnTo>
                <a:lnTo>
                  <a:pt x="11368873" y="6517311"/>
                </a:lnTo>
                <a:lnTo>
                  <a:pt x="11348725" y="6517311"/>
                </a:lnTo>
                <a:lnTo>
                  <a:pt x="11298687" y="6577070"/>
                </a:lnTo>
                <a:lnTo>
                  <a:pt x="11248423" y="6517311"/>
                </a:lnTo>
                <a:close/>
                <a:moveTo>
                  <a:pt x="11048135" y="6517311"/>
                </a:moveTo>
                <a:lnTo>
                  <a:pt x="11048135" y="6618035"/>
                </a:lnTo>
                <a:lnTo>
                  <a:pt x="11071096" y="6618035"/>
                </a:lnTo>
                <a:lnTo>
                  <a:pt x="11071096" y="6550414"/>
                </a:lnTo>
                <a:lnTo>
                  <a:pt x="11117478" y="6605892"/>
                </a:lnTo>
                <a:lnTo>
                  <a:pt x="11122331" y="6605892"/>
                </a:lnTo>
                <a:lnTo>
                  <a:pt x="11168239" y="6548737"/>
                </a:lnTo>
                <a:lnTo>
                  <a:pt x="11168239" y="6618035"/>
                </a:lnTo>
                <a:lnTo>
                  <a:pt x="11191554" y="6618035"/>
                </a:lnTo>
                <a:lnTo>
                  <a:pt x="11191554" y="6517311"/>
                </a:lnTo>
                <a:lnTo>
                  <a:pt x="11171399" y="6517311"/>
                </a:lnTo>
                <a:lnTo>
                  <a:pt x="11121368" y="6577070"/>
                </a:lnTo>
                <a:lnTo>
                  <a:pt x="11071096" y="6517311"/>
                </a:lnTo>
                <a:close/>
                <a:moveTo>
                  <a:pt x="10752277" y="6495162"/>
                </a:moveTo>
                <a:cubicBezTo>
                  <a:pt x="10729180" y="6495162"/>
                  <a:pt x="10721799" y="6501113"/>
                  <a:pt x="10721799" y="6524218"/>
                </a:cubicBezTo>
                <a:lnTo>
                  <a:pt x="10721799" y="6537775"/>
                </a:lnTo>
                <a:cubicBezTo>
                  <a:pt x="10721799" y="6560879"/>
                  <a:pt x="10729187" y="6566830"/>
                  <a:pt x="10752277" y="6566830"/>
                </a:cubicBezTo>
                <a:lnTo>
                  <a:pt x="10828955" y="6566830"/>
                </a:lnTo>
                <a:lnTo>
                  <a:pt x="10828955" y="6594930"/>
                </a:lnTo>
                <a:lnTo>
                  <a:pt x="10742052" y="6594930"/>
                </a:lnTo>
                <a:lnTo>
                  <a:pt x="10742052" y="6581704"/>
                </a:lnTo>
                <a:lnTo>
                  <a:pt x="10716796" y="6586948"/>
                </a:lnTo>
                <a:lnTo>
                  <a:pt x="10716796" y="6588979"/>
                </a:lnTo>
                <a:cubicBezTo>
                  <a:pt x="10716796" y="6612076"/>
                  <a:pt x="10724417" y="6618027"/>
                  <a:pt x="10747514" y="6618027"/>
                </a:cubicBezTo>
                <a:lnTo>
                  <a:pt x="10823486" y="6618027"/>
                </a:lnTo>
                <a:cubicBezTo>
                  <a:pt x="10846583" y="6618027"/>
                  <a:pt x="10854204" y="6612076"/>
                  <a:pt x="10854204" y="6588979"/>
                </a:cubicBezTo>
                <a:lnTo>
                  <a:pt x="10854204" y="6572074"/>
                </a:lnTo>
                <a:cubicBezTo>
                  <a:pt x="10854204" y="6548970"/>
                  <a:pt x="10846583" y="6543019"/>
                  <a:pt x="10823486" y="6543019"/>
                </a:cubicBezTo>
                <a:lnTo>
                  <a:pt x="10746799" y="6543019"/>
                </a:lnTo>
                <a:lnTo>
                  <a:pt x="10746799" y="6516596"/>
                </a:lnTo>
                <a:lnTo>
                  <a:pt x="10827285" y="6516596"/>
                </a:lnTo>
                <a:lnTo>
                  <a:pt x="10827285" y="6529905"/>
                </a:lnTo>
                <a:lnTo>
                  <a:pt x="10852526" y="6523954"/>
                </a:lnTo>
                <a:lnTo>
                  <a:pt x="10852526" y="6522074"/>
                </a:lnTo>
                <a:cubicBezTo>
                  <a:pt x="10852526" y="6500872"/>
                  <a:pt x="10843957" y="6495162"/>
                  <a:pt x="10822049" y="6495162"/>
                </a:cubicBezTo>
                <a:close/>
                <a:moveTo>
                  <a:pt x="11554221" y="6392873"/>
                </a:moveTo>
                <a:lnTo>
                  <a:pt x="11591123" y="6423591"/>
                </a:lnTo>
                <a:lnTo>
                  <a:pt x="11579695" y="6433349"/>
                </a:lnTo>
                <a:lnTo>
                  <a:pt x="11522795" y="6433349"/>
                </a:lnTo>
                <a:lnTo>
                  <a:pt x="11522795" y="6433342"/>
                </a:lnTo>
                <a:lnTo>
                  <a:pt x="11522795" y="6412396"/>
                </a:lnTo>
                <a:close/>
                <a:moveTo>
                  <a:pt x="10923532" y="6371439"/>
                </a:moveTo>
                <a:lnTo>
                  <a:pt x="10979491" y="6371439"/>
                </a:lnTo>
                <a:cubicBezTo>
                  <a:pt x="10986864" y="6371439"/>
                  <a:pt x="10990685" y="6372876"/>
                  <a:pt x="10990685" y="6379534"/>
                </a:cubicBezTo>
                <a:lnTo>
                  <a:pt x="10990685" y="6391203"/>
                </a:lnTo>
                <a:cubicBezTo>
                  <a:pt x="10990685" y="6397876"/>
                  <a:pt x="10986864" y="6399298"/>
                  <a:pt x="10979491" y="6399298"/>
                </a:cubicBezTo>
                <a:lnTo>
                  <a:pt x="10923532" y="6399298"/>
                </a:lnTo>
                <a:close/>
                <a:moveTo>
                  <a:pt x="11349305" y="6354060"/>
                </a:moveTo>
                <a:cubicBezTo>
                  <a:pt x="11329541" y="6354060"/>
                  <a:pt x="11322868" y="6358830"/>
                  <a:pt x="11322868" y="6377879"/>
                </a:cubicBezTo>
                <a:lnTo>
                  <a:pt x="11322868" y="6389074"/>
                </a:lnTo>
                <a:cubicBezTo>
                  <a:pt x="11322868" y="6408123"/>
                  <a:pt x="11329541" y="6412878"/>
                  <a:pt x="11349305" y="6412878"/>
                </a:cubicBezTo>
                <a:lnTo>
                  <a:pt x="11414541" y="6412878"/>
                </a:lnTo>
                <a:lnTo>
                  <a:pt x="11414541" y="6435983"/>
                </a:lnTo>
                <a:lnTo>
                  <a:pt x="11340480" y="6435983"/>
                </a:lnTo>
                <a:lnTo>
                  <a:pt x="11340480" y="6425375"/>
                </a:lnTo>
                <a:lnTo>
                  <a:pt x="11318587" y="6429430"/>
                </a:lnTo>
                <a:lnTo>
                  <a:pt x="11318587" y="6430980"/>
                </a:lnTo>
                <a:cubicBezTo>
                  <a:pt x="11318587" y="6449796"/>
                  <a:pt x="11325012" y="6454784"/>
                  <a:pt x="11345009" y="6454784"/>
                </a:cubicBezTo>
                <a:lnTo>
                  <a:pt x="11410501" y="6454784"/>
                </a:lnTo>
                <a:cubicBezTo>
                  <a:pt x="11430498" y="6454784"/>
                  <a:pt x="11436690" y="6449796"/>
                  <a:pt x="11436690" y="6430980"/>
                </a:cubicBezTo>
                <a:lnTo>
                  <a:pt x="11436690" y="6417166"/>
                </a:lnTo>
                <a:cubicBezTo>
                  <a:pt x="11436690" y="6398117"/>
                  <a:pt x="11430506" y="6393362"/>
                  <a:pt x="11410501" y="6393362"/>
                </a:cubicBezTo>
                <a:lnTo>
                  <a:pt x="11345009" y="6393362"/>
                </a:lnTo>
                <a:lnTo>
                  <a:pt x="11345009" y="6372154"/>
                </a:lnTo>
                <a:lnTo>
                  <a:pt x="11414300" y="6372154"/>
                </a:lnTo>
                <a:lnTo>
                  <a:pt x="11414300" y="6381565"/>
                </a:lnTo>
                <a:lnTo>
                  <a:pt x="11435486" y="6377051"/>
                </a:lnTo>
                <a:lnTo>
                  <a:pt x="11435486" y="6375968"/>
                </a:lnTo>
                <a:cubicBezTo>
                  <a:pt x="11435486" y="6358356"/>
                  <a:pt x="11427639" y="6354060"/>
                  <a:pt x="11409064" y="6354060"/>
                </a:cubicBezTo>
                <a:close/>
                <a:moveTo>
                  <a:pt x="11184971" y="6354060"/>
                </a:moveTo>
                <a:lnTo>
                  <a:pt x="11184971" y="6454776"/>
                </a:lnTo>
                <a:lnTo>
                  <a:pt x="11294264" y="6454776"/>
                </a:lnTo>
                <a:lnTo>
                  <a:pt x="11294264" y="6435967"/>
                </a:lnTo>
                <a:lnTo>
                  <a:pt x="11209738" y="6435967"/>
                </a:lnTo>
                <a:lnTo>
                  <a:pt x="11209738" y="6411200"/>
                </a:lnTo>
                <a:lnTo>
                  <a:pt x="11258310" y="6411200"/>
                </a:lnTo>
                <a:lnTo>
                  <a:pt x="11258310" y="6393821"/>
                </a:lnTo>
                <a:lnTo>
                  <a:pt x="11209738" y="6393821"/>
                </a:lnTo>
                <a:lnTo>
                  <a:pt x="11209738" y="6371913"/>
                </a:lnTo>
                <a:lnTo>
                  <a:pt x="11293083" y="6371913"/>
                </a:lnTo>
                <a:lnTo>
                  <a:pt x="11293083" y="6354060"/>
                </a:lnTo>
                <a:close/>
                <a:moveTo>
                  <a:pt x="11047262" y="6354060"/>
                </a:moveTo>
                <a:lnTo>
                  <a:pt x="11047262" y="6454776"/>
                </a:lnTo>
                <a:lnTo>
                  <a:pt x="11156555" y="6454776"/>
                </a:lnTo>
                <a:lnTo>
                  <a:pt x="11156555" y="6435967"/>
                </a:lnTo>
                <a:lnTo>
                  <a:pt x="11072029" y="6435967"/>
                </a:lnTo>
                <a:lnTo>
                  <a:pt x="11072029" y="6411200"/>
                </a:lnTo>
                <a:lnTo>
                  <a:pt x="11120601" y="6411200"/>
                </a:lnTo>
                <a:lnTo>
                  <a:pt x="11120601" y="6393821"/>
                </a:lnTo>
                <a:lnTo>
                  <a:pt x="11072029" y="6393821"/>
                </a:lnTo>
                <a:lnTo>
                  <a:pt x="11072029" y="6371913"/>
                </a:lnTo>
                <a:lnTo>
                  <a:pt x="11155374" y="6371913"/>
                </a:lnTo>
                <a:lnTo>
                  <a:pt x="11155374" y="6354060"/>
                </a:lnTo>
                <a:close/>
                <a:moveTo>
                  <a:pt x="10899246" y="6354060"/>
                </a:moveTo>
                <a:lnTo>
                  <a:pt x="10899246" y="6454776"/>
                </a:lnTo>
                <a:lnTo>
                  <a:pt x="10923539" y="6454776"/>
                </a:lnTo>
                <a:lnTo>
                  <a:pt x="10923539" y="6416670"/>
                </a:lnTo>
                <a:lnTo>
                  <a:pt x="10946636" y="6416670"/>
                </a:lnTo>
                <a:lnTo>
                  <a:pt x="10988782" y="6454776"/>
                </a:lnTo>
                <a:lnTo>
                  <a:pt x="11024029" y="6454776"/>
                </a:lnTo>
                <a:lnTo>
                  <a:pt x="10976158" y="6416670"/>
                </a:lnTo>
                <a:lnTo>
                  <a:pt x="10989971" y="6416670"/>
                </a:lnTo>
                <a:cubicBezTo>
                  <a:pt x="11006169" y="6416670"/>
                  <a:pt x="11013549" y="6411193"/>
                  <a:pt x="11013549" y="6397395"/>
                </a:cubicBezTo>
                <a:lnTo>
                  <a:pt x="11013549" y="6373583"/>
                </a:lnTo>
                <a:cubicBezTo>
                  <a:pt x="11013549" y="6359537"/>
                  <a:pt x="11006161" y="6354060"/>
                  <a:pt x="10989971" y="6354060"/>
                </a:cubicBezTo>
                <a:close/>
                <a:moveTo>
                  <a:pt x="10749425" y="6353819"/>
                </a:moveTo>
                <a:lnTo>
                  <a:pt x="10800140" y="6353819"/>
                </a:lnTo>
                <a:cubicBezTo>
                  <a:pt x="10827052" y="6353819"/>
                  <a:pt x="10840624" y="6367158"/>
                  <a:pt x="10840624" y="6392158"/>
                </a:cubicBezTo>
                <a:cubicBezTo>
                  <a:pt x="10840624" y="6422636"/>
                  <a:pt x="10822523" y="6431686"/>
                  <a:pt x="10786327" y="6431686"/>
                </a:cubicBezTo>
                <a:lnTo>
                  <a:pt x="10749425" y="6431686"/>
                </a:lnTo>
                <a:close/>
                <a:moveTo>
                  <a:pt x="11558990" y="6331911"/>
                </a:moveTo>
                <a:cubicBezTo>
                  <a:pt x="11538030" y="6331911"/>
                  <a:pt x="11528513" y="6336681"/>
                  <a:pt x="11528513" y="6354293"/>
                </a:cubicBezTo>
                <a:lnTo>
                  <a:pt x="11528513" y="6361192"/>
                </a:lnTo>
                <a:cubicBezTo>
                  <a:pt x="11528513" y="6368339"/>
                  <a:pt x="11531846" y="6373816"/>
                  <a:pt x="11538993" y="6379767"/>
                </a:cubicBezTo>
                <a:lnTo>
                  <a:pt x="11513978" y="6394776"/>
                </a:lnTo>
                <a:cubicBezTo>
                  <a:pt x="11503272" y="6401202"/>
                  <a:pt x="11498743" y="6405008"/>
                  <a:pt x="11498743" y="6417633"/>
                </a:cubicBezTo>
                <a:lnTo>
                  <a:pt x="11498743" y="6425728"/>
                </a:lnTo>
                <a:cubicBezTo>
                  <a:pt x="11498743" y="6448825"/>
                  <a:pt x="11506364" y="6454776"/>
                  <a:pt x="11529454" y="6454776"/>
                </a:cubicBezTo>
                <a:lnTo>
                  <a:pt x="11573270" y="6454776"/>
                </a:lnTo>
                <a:cubicBezTo>
                  <a:pt x="11583502" y="6454776"/>
                  <a:pt x="11588505" y="6454302"/>
                  <a:pt x="11596367" y="6447388"/>
                </a:cubicBezTo>
                <a:lnTo>
                  <a:pt x="11607321" y="6437630"/>
                </a:lnTo>
                <a:lnTo>
                  <a:pt x="11627559" y="6454776"/>
                </a:lnTo>
                <a:lnTo>
                  <a:pt x="11664950" y="6454776"/>
                </a:lnTo>
                <a:lnTo>
                  <a:pt x="11626137" y="6422147"/>
                </a:lnTo>
                <a:lnTo>
                  <a:pt x="11654470" y="6398583"/>
                </a:lnTo>
                <a:lnTo>
                  <a:pt x="11638272" y="6384537"/>
                </a:lnTo>
                <a:lnTo>
                  <a:pt x="11609698" y="6408341"/>
                </a:lnTo>
                <a:lnTo>
                  <a:pt x="11551836" y="6360244"/>
                </a:lnTo>
                <a:lnTo>
                  <a:pt x="11551836" y="6351434"/>
                </a:lnTo>
                <a:lnTo>
                  <a:pt x="11592086" y="6351434"/>
                </a:lnTo>
                <a:lnTo>
                  <a:pt x="11592086" y="6367873"/>
                </a:lnTo>
                <a:lnTo>
                  <a:pt x="11614220" y="6364066"/>
                </a:lnTo>
                <a:lnTo>
                  <a:pt x="11614220" y="6356678"/>
                </a:lnTo>
                <a:cubicBezTo>
                  <a:pt x="11614220" y="6336681"/>
                  <a:pt x="11605884" y="6331911"/>
                  <a:pt x="11583742" y="6331911"/>
                </a:cubicBezTo>
                <a:close/>
                <a:moveTo>
                  <a:pt x="10720851" y="6331911"/>
                </a:moveTo>
                <a:lnTo>
                  <a:pt x="10720851" y="6454776"/>
                </a:lnTo>
                <a:lnTo>
                  <a:pt x="10792527" y="6454776"/>
                </a:lnTo>
                <a:cubicBezTo>
                  <a:pt x="10814420" y="6454776"/>
                  <a:pt x="10831092" y="6452632"/>
                  <a:pt x="10843009" y="6445259"/>
                </a:cubicBezTo>
                <a:cubicBezTo>
                  <a:pt x="10860155" y="6434779"/>
                  <a:pt x="10870146" y="6415729"/>
                  <a:pt x="10870146" y="6392632"/>
                </a:cubicBezTo>
                <a:cubicBezTo>
                  <a:pt x="10870146" y="6354534"/>
                  <a:pt x="10845868" y="6331911"/>
                  <a:pt x="10799900" y="6331911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wrap="square" tIns="180000">
            <a:noAutofit/>
          </a:bodyPr>
          <a:lstStyle>
            <a:lvl1pPr algn="ctr"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FFCB50B-5503-4467-8A0F-9FBB8B48B9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9852" y="2763192"/>
            <a:ext cx="4252297" cy="1331617"/>
          </a:xfrm>
          <a:solidFill>
            <a:schemeClr val="bg1"/>
          </a:solidFill>
        </p:spPr>
        <p:txBody>
          <a:bodyPr wrap="square" lIns="288000" tIns="270000" rIns="288000" bIns="216000" anchor="ctr">
            <a:spAutoFit/>
          </a:bodyPr>
          <a:lstStyle>
            <a:lvl1pPr algn="ctr"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6" name="logo drees&amp;sommer white">
            <a:extLst>
              <a:ext uri="{FF2B5EF4-FFF2-40B4-BE49-F238E27FC236}">
                <a16:creationId xmlns:a16="http://schemas.microsoft.com/office/drawing/2014/main" id="{C5A4F7E3-6A86-447A-9CFF-A1484D8D1910}"/>
              </a:ext>
            </a:extLst>
          </p:cNvPr>
          <p:cNvSpPr>
            <a:spLocks noGrp="1"/>
          </p:cNvSpPr>
          <p:nvPr>
            <p:ph type="media" sz="quarter" idx="20"/>
          </p:nvPr>
        </p:nvSpPr>
        <p:spPr>
          <a:xfrm>
            <a:off x="10716797" y="6330042"/>
            <a:ext cx="946800" cy="2880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15875" cap="flat">
            <a:noFill/>
            <a:prstDash val="lgDash"/>
          </a:ln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de-DE"/>
              <a:t>Mediaclip durch Klicken auf Symbol hinzufügen</a:t>
            </a:r>
            <a:endParaRPr lang="de-DE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90B54C2D-8235-4852-8EB7-5E05529B24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25600" y="7200000"/>
            <a:ext cx="234000" cy="180000"/>
          </a:xfrm>
        </p:spPr>
        <p:txBody>
          <a:bodyPr lIns="0" tIns="0" rIns="0" bIns="0"/>
          <a:lstStyle/>
          <a:p>
            <a:fld id="{9829449A-3FF3-45CE-9F4F-09BADC0910C6}" type="slidenum">
              <a:rPr lang="en-US"/>
              <a:t>‹Nr.›</a:t>
            </a:fld>
            <a:endParaRPr lang="en-US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A4534FC4-D037-44B0-B266-D9E820FC1D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63200" y="7200000"/>
            <a:ext cx="7880400" cy="180000"/>
          </a:xfrm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1" name="info">
            <a:extLst>
              <a:ext uri="{FF2B5EF4-FFF2-40B4-BE49-F238E27FC236}">
                <a16:creationId xmlns:a16="http://schemas.microsoft.com/office/drawing/2014/main" id="{15A93C98-9A52-41BC-9B75-8C22F206A75C}"/>
              </a:ext>
            </a:extLst>
          </p:cNvPr>
          <p:cNvSpPr/>
          <p:nvPr/>
        </p:nvSpPr>
        <p:spPr bwMode="gray">
          <a:xfrm flipH="1">
            <a:off x="12247320" y="6288645"/>
            <a:ext cx="1579616" cy="370793"/>
          </a:xfrm>
          <a:prstGeom prst="homePlate">
            <a:avLst/>
          </a:prstGeom>
          <a:solidFill>
            <a:srgbClr val="0029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36000" rtlCol="0" anchor="ctr">
            <a:spAutoFit/>
          </a:bodyPr>
          <a:lstStyle/>
          <a:p>
            <a:pPr algn="ctr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sz="1050" dirty="0">
                <a:solidFill>
                  <a:schemeClr val="bg1"/>
                </a:solidFill>
              </a:rPr>
              <a:t>delete the white logo </a:t>
            </a:r>
            <a:br>
              <a:rPr lang="en-US" sz="1050" dirty="0">
                <a:solidFill>
                  <a:schemeClr val="bg1"/>
                </a:solidFill>
              </a:rPr>
            </a:br>
            <a:r>
              <a:rPr lang="en-US" sz="1050" dirty="0">
                <a:solidFill>
                  <a:schemeClr val="bg1"/>
                </a:solidFill>
              </a:rPr>
              <a:t>to get the BLUE LOGO</a:t>
            </a:r>
            <a:endParaRPr lang="de-DE" sz="1050" dirty="0">
              <a:solidFill>
                <a:schemeClr val="bg1"/>
              </a:solidFill>
            </a:endParaRPr>
          </a:p>
        </p:txBody>
      </p:sp>
      <p:grpSp>
        <p:nvGrpSpPr>
          <p:cNvPr id="3" name="info">
            <a:extLst>
              <a:ext uri="{FF2B5EF4-FFF2-40B4-BE49-F238E27FC236}">
                <a16:creationId xmlns:a16="http://schemas.microsoft.com/office/drawing/2014/main" id="{48E15060-36A2-8A00-E225-706AD4AC05AF}"/>
              </a:ext>
            </a:extLst>
          </p:cNvPr>
          <p:cNvGrpSpPr/>
          <p:nvPr/>
        </p:nvGrpSpPr>
        <p:grpSpPr>
          <a:xfrm>
            <a:off x="12247320" y="3143250"/>
            <a:ext cx="1579616" cy="2823211"/>
            <a:chOff x="12399720" y="2598103"/>
            <a:chExt cx="1579616" cy="2823211"/>
          </a:xfrm>
          <a:solidFill>
            <a:srgbClr val="002965"/>
          </a:solidFill>
        </p:grpSpPr>
        <p:sp>
          <p:nvSpPr>
            <p:cNvPr id="4" name="info">
              <a:extLst>
                <a:ext uri="{FF2B5EF4-FFF2-40B4-BE49-F238E27FC236}">
                  <a16:creationId xmlns:a16="http://schemas.microsoft.com/office/drawing/2014/main" id="{AAC10A9E-4EB5-3AC4-2572-3745A3348B39}"/>
                </a:ext>
              </a:extLst>
            </p:cNvPr>
            <p:cNvSpPr/>
            <p:nvPr userDrawn="1"/>
          </p:nvSpPr>
          <p:spPr bwMode="gray">
            <a:xfrm flipH="1">
              <a:off x="12399720" y="4947928"/>
              <a:ext cx="1579616" cy="473385"/>
            </a:xfrm>
            <a:prstGeom prst="homePlat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36000" rtlCol="0" anchor="ctr">
              <a:spAutoFit/>
            </a:bodyPr>
            <a:lstStyle/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 dirty="0">
                <a:solidFill>
                  <a:schemeClr val="tx2"/>
                </a:solidFill>
              </a:endParaRPr>
            </a:p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 dirty="0">
                <a:solidFill>
                  <a:schemeClr val="tx2"/>
                </a:solidFill>
              </a:endParaRPr>
            </a:p>
          </p:txBody>
        </p:sp>
        <p:sp>
          <p:nvSpPr>
            <p:cNvPr id="7" name="info">
              <a:extLst>
                <a:ext uri="{FF2B5EF4-FFF2-40B4-BE49-F238E27FC236}">
                  <a16:creationId xmlns:a16="http://schemas.microsoft.com/office/drawing/2014/main" id="{20DA7A3C-A69E-1F8B-D737-B3F85F14C2EF}"/>
                </a:ext>
              </a:extLst>
            </p:cNvPr>
            <p:cNvSpPr/>
            <p:nvPr userDrawn="1"/>
          </p:nvSpPr>
          <p:spPr bwMode="gray">
            <a:xfrm flipH="1">
              <a:off x="12634899" y="2598103"/>
              <a:ext cx="1344423" cy="28232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36000" rtlCol="0" anchor="t">
              <a:noAutofit/>
            </a:bodyPr>
            <a:lstStyle/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b="1" cap="all" dirty="0">
                  <a:solidFill>
                    <a:schemeClr val="bg1"/>
                  </a:solidFill>
                </a:rPr>
                <a:t>image credit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b="1" dirty="0">
                  <a:solidFill>
                    <a:schemeClr val="bg1"/>
                  </a:solidFill>
                </a:rPr>
                <a:t>Always include</a:t>
              </a:r>
              <a:br>
                <a:rPr lang="en-US" sz="1050" b="1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redit!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How to get 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redit </a:t>
              </a:r>
              <a:r>
                <a:rPr lang="en-US" sz="1050" b="1" dirty="0">
                  <a:solidFill>
                    <a:schemeClr val="bg1"/>
                  </a:solidFill>
                </a:rPr>
                <a:t>placeholder</a:t>
              </a:r>
              <a:r>
                <a:rPr lang="en-US" sz="1050" dirty="0">
                  <a:solidFill>
                    <a:schemeClr val="bg1"/>
                  </a:solidFill>
                </a:rPr>
                <a:t>: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&gt; empower menu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&gt; text elements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&gt; depending on 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hoose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“</a:t>
              </a:r>
              <a:r>
                <a:rPr lang="en-US" sz="1050" b="1" dirty="0">
                  <a:solidFill>
                    <a:schemeClr val="bg1"/>
                  </a:solidFill>
                </a:rPr>
                <a:t>Copyright right/left grey</a:t>
              </a:r>
              <a:r>
                <a:rPr lang="en-US" sz="1050" dirty="0">
                  <a:solidFill>
                    <a:schemeClr val="bg1"/>
                  </a:solidFill>
                </a:rPr>
                <a:t>” 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or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“</a:t>
              </a:r>
              <a:r>
                <a:rPr lang="en-US" sz="1050" b="1" dirty="0">
                  <a:solidFill>
                    <a:schemeClr val="bg1"/>
                  </a:solidFill>
                </a:rPr>
                <a:t>Copyright right/left white</a:t>
              </a:r>
              <a:r>
                <a:rPr lang="en-US" sz="1050" dirty="0">
                  <a:solidFill>
                    <a:schemeClr val="bg1"/>
                  </a:solidFill>
                </a:rPr>
                <a:t>”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60508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_6 project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irst name last name">
            <a:extLst>
              <a:ext uri="{FF2B5EF4-FFF2-40B4-BE49-F238E27FC236}">
                <a16:creationId xmlns:a16="http://schemas.microsoft.com/office/drawing/2014/main" id="{8F1F303E-397D-4BCE-B185-59C5299F8A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7050" y="673200"/>
            <a:ext cx="5494865" cy="288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First Name Last Name</a:t>
            </a:r>
          </a:p>
        </p:txBody>
      </p:sp>
      <p:sp>
        <p:nvSpPr>
          <p:cNvPr id="6" name="MIO_CONVERT_SLIDES_SUBTITLE">
            <a:extLst>
              <a:ext uri="{FF2B5EF4-FFF2-40B4-BE49-F238E27FC236}">
                <a16:creationId xmlns:a16="http://schemas.microsoft.com/office/drawing/2014/main" id="{9C2D522A-9C9B-4BB1-8778-C9AE0A640B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27051" y="1022399"/>
            <a:ext cx="5494866" cy="619200"/>
          </a:xfrm>
        </p:spPr>
        <p:txBody>
          <a:bodyPr tIns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cap="none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2133" b="0" cap="none" baseline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133" b="0" cap="none" baseline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133" b="0" cap="none" baseline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33" b="0" cap="none" baseline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33" b="0" cap="none" baseline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33" b="0" cap="none" baseline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33" b="0" cap="none" baseline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33" b="0" cap="none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itl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profession</a:t>
            </a:r>
            <a:r>
              <a:rPr lang="de-DE" dirty="0"/>
              <a:t>, </a:t>
            </a:r>
            <a:r>
              <a:rPr lang="de-DE" dirty="0" err="1"/>
              <a:t>position</a:t>
            </a:r>
            <a:r>
              <a:rPr lang="de-DE" dirty="0"/>
              <a:t> </a:t>
            </a:r>
            <a:endParaRPr lang="en-US" dirty="0"/>
          </a:p>
        </p:txBody>
      </p:sp>
      <p:sp>
        <p:nvSpPr>
          <p:cNvPr id="27" name="text contact details">
            <a:extLst>
              <a:ext uri="{FF2B5EF4-FFF2-40B4-BE49-F238E27FC236}">
                <a16:creationId xmlns:a16="http://schemas.microsoft.com/office/drawing/2014/main" id="{3A88E545-7A0B-4E65-B82C-9ABABE2279D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805619" y="1844675"/>
            <a:ext cx="4216296" cy="1585550"/>
          </a:xfrm>
        </p:spPr>
        <p:txBody>
          <a:bodyPr lIns="0" rIns="14400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 baseline="0">
                <a:solidFill>
                  <a:schemeClr val="tx1"/>
                </a:solidFill>
              </a:defRPr>
            </a:lvl1pPr>
            <a:lvl2pPr marL="0" indent="0">
              <a:spcBef>
                <a:spcPts val="400"/>
              </a:spcBef>
              <a:buNone/>
              <a:defRPr sz="1067" b="0" cap="none" baseline="0">
                <a:solidFill>
                  <a:schemeClr val="tx1"/>
                </a:solidFill>
              </a:defRPr>
            </a:lvl2pPr>
            <a:lvl3pPr marL="0" indent="0">
              <a:spcBef>
                <a:spcPts val="400"/>
              </a:spcBef>
              <a:buNone/>
              <a:defRPr sz="1067" b="0" cap="none" baseline="0">
                <a:solidFill>
                  <a:schemeClr val="tx1"/>
                </a:solidFill>
              </a:defRPr>
            </a:lvl3pPr>
            <a:lvl4pPr marL="0" indent="0">
              <a:spcBef>
                <a:spcPts val="400"/>
              </a:spcBef>
              <a:buNone/>
              <a:defRPr sz="1067" b="0" cap="none" baseline="0">
                <a:solidFill>
                  <a:schemeClr val="tx1"/>
                </a:solidFill>
              </a:defRPr>
            </a:lvl4pPr>
            <a:lvl5pPr marL="0" indent="0">
              <a:spcBef>
                <a:spcPts val="400"/>
              </a:spcBef>
              <a:buFont typeface="Arial" panose="020B0604020202020204" pitchFamily="34" charset="0"/>
              <a:buNone/>
              <a:defRPr sz="1067" b="0" cap="none" baseline="0">
                <a:solidFill>
                  <a:schemeClr val="tx1"/>
                </a:solidFill>
              </a:defRPr>
            </a:lvl5pPr>
            <a:lvl6pPr marL="0" indent="0">
              <a:spcBef>
                <a:spcPts val="400"/>
              </a:spcBef>
              <a:buFont typeface="Arial" panose="020B0604020202020204" pitchFamily="34" charset="0"/>
              <a:buNone/>
              <a:defRPr sz="1067" b="0" cap="none" baseline="0">
                <a:solidFill>
                  <a:schemeClr val="tx1"/>
                </a:solidFill>
              </a:defRPr>
            </a:lvl6pPr>
            <a:lvl7pPr marL="0" indent="0">
              <a:spcBef>
                <a:spcPts val="400"/>
              </a:spcBef>
              <a:buFont typeface="Arial" panose="020B0604020202020204" pitchFamily="34" charset="0"/>
              <a:buNone/>
              <a:defRPr sz="1067" b="0" cap="none" baseline="0">
                <a:solidFill>
                  <a:schemeClr val="tx1"/>
                </a:solidFill>
              </a:defRPr>
            </a:lvl7pPr>
            <a:lvl8pPr marL="0" indent="0">
              <a:spcBef>
                <a:spcPts val="400"/>
              </a:spcBef>
              <a:buFont typeface="Arial" panose="020B0604020202020204" pitchFamily="34" charset="0"/>
              <a:buNone/>
              <a:defRPr sz="1067" b="0" cap="none" baseline="0">
                <a:solidFill>
                  <a:schemeClr val="tx1"/>
                </a:solidFill>
              </a:defRPr>
            </a:lvl8pPr>
            <a:lvl9pPr marL="0" indent="0">
              <a:spcBef>
                <a:spcPts val="400"/>
              </a:spcBef>
              <a:buFont typeface="Arial" panose="020B0604020202020204" pitchFamily="34" charset="0"/>
              <a:buNone/>
              <a:defRPr sz="1067" b="0" cap="none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Fill in </a:t>
            </a:r>
            <a:r>
              <a:rPr lang="de-DE" dirty="0" err="1"/>
              <a:t>contact</a:t>
            </a:r>
            <a:r>
              <a:rPr lang="de-DE" dirty="0"/>
              <a:t> </a:t>
            </a:r>
            <a:r>
              <a:rPr lang="de-DE" dirty="0" err="1"/>
              <a:t>details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24" name="header work history">
            <a:extLst>
              <a:ext uri="{FF2B5EF4-FFF2-40B4-BE49-F238E27FC236}">
                <a16:creationId xmlns:a16="http://schemas.microsoft.com/office/drawing/2014/main" id="{78AC19C8-5A30-4C9D-A8B0-D5404960B09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70085" y="677912"/>
            <a:ext cx="5494865" cy="287899"/>
          </a:xfrm>
        </p:spPr>
        <p:txBody>
          <a:bodyPr/>
          <a:lstStyle>
            <a:lvl1pPr>
              <a:defRPr sz="1200" b="1" baseline="0"/>
            </a:lvl1pPr>
          </a:lstStyle>
          <a:p>
            <a:pPr lvl="0"/>
            <a:r>
              <a:rPr lang="en-US" dirty="0"/>
              <a:t>Please overwrite with: </a:t>
            </a:r>
            <a:r>
              <a:rPr lang="de-DE" noProof="0" dirty="0"/>
              <a:t>Professional</a:t>
            </a:r>
            <a:r>
              <a:rPr lang="en-US" dirty="0"/>
              <a:t> career</a:t>
            </a:r>
          </a:p>
        </p:txBody>
      </p:sp>
      <p:sp>
        <p:nvSpPr>
          <p:cNvPr id="30" name="text work history">
            <a:extLst>
              <a:ext uri="{FF2B5EF4-FFF2-40B4-BE49-F238E27FC236}">
                <a16:creationId xmlns:a16="http://schemas.microsoft.com/office/drawing/2014/main" id="{CF189CE5-D1D3-447B-B324-233D8822B17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70084" y="965812"/>
            <a:ext cx="5494867" cy="2328300"/>
          </a:xfrm>
        </p:spPr>
        <p:txBody>
          <a:bodyPr/>
          <a:lstStyle>
            <a:lvl1pPr marL="987425" indent="-987425">
              <a:spcBef>
                <a:spcPts val="0"/>
              </a:spcBef>
              <a:spcAft>
                <a:spcPts val="0"/>
              </a:spcAft>
              <a:tabLst>
                <a:tab pos="987425" algn="l"/>
              </a:tabLst>
              <a:defRPr sz="1200"/>
            </a:lvl1pPr>
            <a:lvl2pPr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067"/>
            </a:lvl9pPr>
          </a:lstStyle>
          <a:p>
            <a:pPr lvl="0"/>
            <a:r>
              <a:rPr lang="de-DE" dirty="0"/>
              <a:t>20XX – 20XX	</a:t>
            </a:r>
            <a:r>
              <a:rPr lang="de-DE" dirty="0" err="1"/>
              <a:t>Occupation</a:t>
            </a:r>
            <a:endParaRPr lang="de-DE" dirty="0"/>
          </a:p>
        </p:txBody>
      </p:sp>
      <p:sp>
        <p:nvSpPr>
          <p:cNvPr id="32" name="header functions">
            <a:extLst>
              <a:ext uri="{FF2B5EF4-FFF2-40B4-BE49-F238E27FC236}">
                <a16:creationId xmlns:a16="http://schemas.microsoft.com/office/drawing/2014/main" id="{ED3EFA63-0486-404C-B8F9-B493CBBFEC7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170085" y="3475248"/>
            <a:ext cx="5494867" cy="287899"/>
          </a:xfrm>
        </p:spPr>
        <p:txBody>
          <a:bodyPr/>
          <a:lstStyle>
            <a:lvl1pPr>
              <a:defRPr sz="1200" b="1"/>
            </a:lvl1pPr>
          </a:lstStyle>
          <a:p>
            <a:pPr lvl="0"/>
            <a:r>
              <a:rPr lang="en-US" dirty="0"/>
              <a:t>Please </a:t>
            </a:r>
            <a:r>
              <a:rPr lang="de-DE" noProof="0" dirty="0" err="1"/>
              <a:t>overwrite</a:t>
            </a:r>
            <a:r>
              <a:rPr lang="en-US" dirty="0"/>
              <a:t> with: Other functions, main focus</a:t>
            </a:r>
            <a:endParaRPr lang="de-DE" dirty="0"/>
          </a:p>
        </p:txBody>
      </p:sp>
      <p:sp>
        <p:nvSpPr>
          <p:cNvPr id="33" name="text functions">
            <a:extLst>
              <a:ext uri="{FF2B5EF4-FFF2-40B4-BE49-F238E27FC236}">
                <a16:creationId xmlns:a16="http://schemas.microsoft.com/office/drawing/2014/main" id="{D1D9E5C9-03BA-4200-87F7-076D770358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70613" y="3763149"/>
            <a:ext cx="5494867" cy="963677"/>
          </a:xfrm>
        </p:spPr>
        <p:txBody>
          <a:bodyPr/>
          <a:lstStyle>
            <a:lvl1pPr marL="126000" indent="-12600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200"/>
            </a:lvl1pPr>
          </a:lstStyle>
          <a:p>
            <a:pPr lvl="0"/>
            <a:r>
              <a:rPr lang="de-DE" dirty="0"/>
              <a:t>Enter </a:t>
            </a:r>
            <a:r>
              <a:rPr lang="de-DE" dirty="0" err="1"/>
              <a:t>activities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35" name="header reference">
            <a:extLst>
              <a:ext uri="{FF2B5EF4-FFF2-40B4-BE49-F238E27FC236}">
                <a16:creationId xmlns:a16="http://schemas.microsoft.com/office/drawing/2014/main" id="{335668C2-6AD5-4938-80AB-AD2E858BAAE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170085" y="4844424"/>
            <a:ext cx="5494867" cy="287899"/>
          </a:xfrm>
        </p:spPr>
        <p:txBody>
          <a:bodyPr/>
          <a:lstStyle>
            <a:lvl1pPr>
              <a:defRPr sz="1200" b="1"/>
            </a:lvl1pPr>
          </a:lstStyle>
          <a:p>
            <a:pPr lvl="0"/>
            <a:r>
              <a:rPr lang="en-US" dirty="0"/>
              <a:t>Please </a:t>
            </a:r>
            <a:r>
              <a:rPr lang="de-DE" noProof="0" dirty="0" err="1"/>
              <a:t>overwrite</a:t>
            </a:r>
            <a:r>
              <a:rPr lang="en-US" dirty="0"/>
              <a:t> with: Personal reference projects (extract)</a:t>
            </a:r>
          </a:p>
        </p:txBody>
      </p:sp>
      <p:sp>
        <p:nvSpPr>
          <p:cNvPr id="36" name="text reference">
            <a:extLst>
              <a:ext uri="{FF2B5EF4-FFF2-40B4-BE49-F238E27FC236}">
                <a16:creationId xmlns:a16="http://schemas.microsoft.com/office/drawing/2014/main" id="{93F7DDB5-9685-4D34-BCA6-E837C4825F5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170613" y="5132324"/>
            <a:ext cx="5494867" cy="963677"/>
          </a:xfrm>
        </p:spPr>
        <p:txBody>
          <a:bodyPr/>
          <a:lstStyle>
            <a:lvl1pPr marL="126000" indent="-12600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200"/>
            </a:lvl1pPr>
          </a:lstStyle>
          <a:p>
            <a:pPr lvl="0"/>
            <a:r>
              <a:rPr lang="de-DE" dirty="0"/>
              <a:t>Enter </a:t>
            </a:r>
            <a:r>
              <a:rPr lang="de-DE" dirty="0" err="1"/>
              <a:t>activities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9" name="picture of employee">
            <a:extLst>
              <a:ext uri="{FF2B5EF4-FFF2-40B4-BE49-F238E27FC236}">
                <a16:creationId xmlns:a16="http://schemas.microsoft.com/office/drawing/2014/main" id="{54B15C24-C91C-479B-B80B-E87C176FCFF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27052" y="1844676"/>
            <a:ext cx="1130400" cy="1585548"/>
          </a:xfrm>
          <a:pattFill prst="lt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lIns="36000" tIns="432000" rIns="36000" anchor="ctr"/>
          <a:lstStyle>
            <a:lvl1pPr algn="ctr">
              <a:defRPr sz="1200"/>
            </a:lvl1pPr>
          </a:lstStyle>
          <a:p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employee</a:t>
            </a:r>
            <a:endParaRPr lang="de-DE" dirty="0"/>
          </a:p>
        </p:txBody>
      </p:sp>
      <p:sp>
        <p:nvSpPr>
          <p:cNvPr id="10" name="picture of project 1">
            <a:extLst>
              <a:ext uri="{FF2B5EF4-FFF2-40B4-BE49-F238E27FC236}">
                <a16:creationId xmlns:a16="http://schemas.microsoft.com/office/drawing/2014/main" id="{23AD5CCB-1ACE-4A27-9FBF-A0918B978CF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27049" y="3954065"/>
            <a:ext cx="1808328" cy="1053761"/>
          </a:xfrm>
          <a:solidFill>
            <a:schemeClr val="bg1"/>
          </a:solidFill>
        </p:spPr>
        <p:txBody>
          <a:bodyPr lIns="36000" tIns="432000" rIns="36000"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project</a:t>
            </a:r>
            <a:endParaRPr lang="de-DE" dirty="0"/>
          </a:p>
        </p:txBody>
      </p:sp>
      <p:sp>
        <p:nvSpPr>
          <p:cNvPr id="11" name="picture of project 2">
            <a:extLst>
              <a:ext uri="{FF2B5EF4-FFF2-40B4-BE49-F238E27FC236}">
                <a16:creationId xmlns:a16="http://schemas.microsoft.com/office/drawing/2014/main" id="{4A329583-33EC-4B56-A7D6-E41D91A7982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371376" y="3954065"/>
            <a:ext cx="1808326" cy="1053761"/>
          </a:xfrm>
          <a:solidFill>
            <a:schemeClr val="bg1"/>
          </a:solidFill>
        </p:spPr>
        <p:txBody>
          <a:bodyPr lIns="36000" tIns="432000" rIns="36000" anchor="ctr"/>
          <a:lstStyle>
            <a:lvl1pPr algn="ctr">
              <a:defRPr sz="1200"/>
            </a:lvl1pPr>
          </a:lstStyle>
          <a:p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project</a:t>
            </a:r>
            <a:endParaRPr lang="de-DE" dirty="0"/>
          </a:p>
        </p:txBody>
      </p:sp>
      <p:sp>
        <p:nvSpPr>
          <p:cNvPr id="12" name="picture of project 3">
            <a:extLst>
              <a:ext uri="{FF2B5EF4-FFF2-40B4-BE49-F238E27FC236}">
                <a16:creationId xmlns:a16="http://schemas.microsoft.com/office/drawing/2014/main" id="{BB4172AD-B694-41EA-ABA8-33FDCFEE1055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215703" y="3954065"/>
            <a:ext cx="1808330" cy="1053760"/>
          </a:xfrm>
          <a:solidFill>
            <a:schemeClr val="bg1"/>
          </a:solidFill>
        </p:spPr>
        <p:txBody>
          <a:bodyPr lIns="36000" tIns="432000" rIns="36000" anchor="ctr"/>
          <a:lstStyle>
            <a:lvl1pPr algn="ctr">
              <a:defRPr sz="1200"/>
            </a:lvl1pPr>
          </a:lstStyle>
          <a:p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project</a:t>
            </a:r>
            <a:endParaRPr lang="de-DE" dirty="0"/>
          </a:p>
        </p:txBody>
      </p:sp>
      <p:sp>
        <p:nvSpPr>
          <p:cNvPr id="20" name="picture of project 4">
            <a:extLst>
              <a:ext uri="{FF2B5EF4-FFF2-40B4-BE49-F238E27FC236}">
                <a16:creationId xmlns:a16="http://schemas.microsoft.com/office/drawing/2014/main" id="{AC0C0E91-9212-47B2-93C5-0AAF4AEEBDA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27049" y="5042240"/>
            <a:ext cx="1808328" cy="1053761"/>
          </a:xfrm>
          <a:solidFill>
            <a:schemeClr val="bg1"/>
          </a:solidFill>
        </p:spPr>
        <p:txBody>
          <a:bodyPr lIns="36000" tIns="432000" rIns="36000" anchor="ctr"/>
          <a:lstStyle>
            <a:lvl1pPr algn="ctr">
              <a:defRPr sz="1200"/>
            </a:lvl1pPr>
          </a:lstStyle>
          <a:p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project</a:t>
            </a:r>
            <a:endParaRPr lang="de-DE" dirty="0"/>
          </a:p>
        </p:txBody>
      </p:sp>
      <p:sp>
        <p:nvSpPr>
          <p:cNvPr id="21" name="picture of project 5">
            <a:extLst>
              <a:ext uri="{FF2B5EF4-FFF2-40B4-BE49-F238E27FC236}">
                <a16:creationId xmlns:a16="http://schemas.microsoft.com/office/drawing/2014/main" id="{D4F8E9EE-B926-4C1A-9483-6F83850606B1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2371376" y="5042240"/>
            <a:ext cx="1808326" cy="1053761"/>
          </a:xfrm>
          <a:solidFill>
            <a:schemeClr val="bg1"/>
          </a:solidFill>
        </p:spPr>
        <p:txBody>
          <a:bodyPr lIns="36000" tIns="432000" rIns="36000" anchor="ctr"/>
          <a:lstStyle>
            <a:lvl1pPr algn="ctr">
              <a:defRPr sz="1200"/>
            </a:lvl1pPr>
          </a:lstStyle>
          <a:p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project</a:t>
            </a:r>
            <a:endParaRPr lang="de-DE" dirty="0"/>
          </a:p>
        </p:txBody>
      </p:sp>
      <p:sp>
        <p:nvSpPr>
          <p:cNvPr id="22" name="picture of project 6">
            <a:extLst>
              <a:ext uri="{FF2B5EF4-FFF2-40B4-BE49-F238E27FC236}">
                <a16:creationId xmlns:a16="http://schemas.microsoft.com/office/drawing/2014/main" id="{46775A46-0EC5-4815-9578-712F6AE1609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215703" y="5042241"/>
            <a:ext cx="1808330" cy="1053760"/>
          </a:xfrm>
          <a:solidFill>
            <a:schemeClr val="bg1"/>
          </a:solidFill>
        </p:spPr>
        <p:txBody>
          <a:bodyPr lIns="36000" tIns="432000" rIns="36000" anchor="ctr"/>
          <a:lstStyle>
            <a:lvl1pPr algn="ctr">
              <a:defRPr sz="1200"/>
            </a:lvl1pPr>
          </a:lstStyle>
          <a:p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project</a:t>
            </a:r>
            <a:endParaRPr lang="de-DE" dirty="0"/>
          </a:p>
        </p:txBody>
      </p:sp>
      <p:grpSp>
        <p:nvGrpSpPr>
          <p:cNvPr id="3" name="info">
            <a:extLst>
              <a:ext uri="{FF2B5EF4-FFF2-40B4-BE49-F238E27FC236}">
                <a16:creationId xmlns:a16="http://schemas.microsoft.com/office/drawing/2014/main" id="{EFE1817B-591B-7C4E-958D-90B7A74C6849}"/>
              </a:ext>
            </a:extLst>
          </p:cNvPr>
          <p:cNvGrpSpPr/>
          <p:nvPr userDrawn="1"/>
        </p:nvGrpSpPr>
        <p:grpSpPr>
          <a:xfrm>
            <a:off x="-1668930" y="3686629"/>
            <a:ext cx="1579616" cy="2279832"/>
            <a:chOff x="12634898" y="3141482"/>
            <a:chExt cx="1579616" cy="2279832"/>
          </a:xfrm>
          <a:solidFill>
            <a:srgbClr val="002965"/>
          </a:solidFill>
        </p:grpSpPr>
        <p:sp>
          <p:nvSpPr>
            <p:cNvPr id="4" name="info">
              <a:extLst>
                <a:ext uri="{FF2B5EF4-FFF2-40B4-BE49-F238E27FC236}">
                  <a16:creationId xmlns:a16="http://schemas.microsoft.com/office/drawing/2014/main" id="{EA1E14AB-9DE5-6AC3-2F8C-4B9E32990597}"/>
                </a:ext>
              </a:extLst>
            </p:cNvPr>
            <p:cNvSpPr/>
            <p:nvPr userDrawn="1"/>
          </p:nvSpPr>
          <p:spPr bwMode="gray">
            <a:xfrm>
              <a:off x="12634898" y="4947928"/>
              <a:ext cx="1579616" cy="473385"/>
            </a:xfrm>
            <a:prstGeom prst="homePlat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36000" rtlCol="0" anchor="ctr">
              <a:spAutoFit/>
            </a:bodyPr>
            <a:lstStyle/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 dirty="0">
                <a:solidFill>
                  <a:schemeClr val="tx2"/>
                </a:solidFill>
              </a:endParaRPr>
            </a:p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 dirty="0">
                <a:solidFill>
                  <a:schemeClr val="tx2"/>
                </a:solidFill>
              </a:endParaRPr>
            </a:p>
          </p:txBody>
        </p:sp>
        <p:sp>
          <p:nvSpPr>
            <p:cNvPr id="5" name="info">
              <a:extLst>
                <a:ext uri="{FF2B5EF4-FFF2-40B4-BE49-F238E27FC236}">
                  <a16:creationId xmlns:a16="http://schemas.microsoft.com/office/drawing/2014/main" id="{4550BD63-4911-3BB8-BAA1-D196D95CDA81}"/>
                </a:ext>
              </a:extLst>
            </p:cNvPr>
            <p:cNvSpPr/>
            <p:nvPr userDrawn="1"/>
          </p:nvSpPr>
          <p:spPr bwMode="gray">
            <a:xfrm flipH="1">
              <a:off x="12634898" y="3141482"/>
              <a:ext cx="1344423" cy="2279832"/>
            </a:xfrm>
            <a:prstGeom prst="rect">
              <a:avLst/>
            </a:prstGeom>
            <a:solidFill>
              <a:srgbClr val="0029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36000" rtlCol="0" anchor="t">
              <a:noAutofit/>
            </a:bodyPr>
            <a:lstStyle/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b="1" cap="all" dirty="0">
                  <a:solidFill>
                    <a:schemeClr val="bg1"/>
                  </a:solidFill>
                </a:rPr>
                <a:t>image credit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b="1" dirty="0">
                  <a:solidFill>
                    <a:schemeClr val="bg1"/>
                  </a:solidFill>
                </a:rPr>
                <a:t>Always include</a:t>
              </a:r>
              <a:br>
                <a:rPr lang="en-US" sz="1050" b="1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redit!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How to get 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redit </a:t>
              </a:r>
              <a:r>
                <a:rPr lang="en-US" sz="1050" b="1" dirty="0">
                  <a:solidFill>
                    <a:schemeClr val="bg1"/>
                  </a:solidFill>
                </a:rPr>
                <a:t>placeholder</a:t>
              </a:r>
              <a:r>
                <a:rPr lang="en-US" sz="1050" dirty="0">
                  <a:solidFill>
                    <a:schemeClr val="bg1"/>
                  </a:solidFill>
                </a:rPr>
                <a:t>: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&gt; empower menu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&gt; text elements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&gt; depending on 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the image choose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dirty="0">
                  <a:solidFill>
                    <a:schemeClr val="bg1"/>
                  </a:solidFill>
                </a:rPr>
                <a:t>“</a:t>
              </a:r>
              <a:r>
                <a:rPr lang="en-US" sz="1050" b="1" dirty="0">
                  <a:solidFill>
                    <a:schemeClr val="bg1"/>
                  </a:solidFill>
                </a:rPr>
                <a:t>Copyright </a:t>
              </a:r>
              <a:br>
                <a:rPr lang="en-US" sz="1050" b="1" dirty="0">
                  <a:solidFill>
                    <a:schemeClr val="bg1"/>
                  </a:solidFill>
                </a:rPr>
              </a:br>
              <a:r>
                <a:rPr lang="en-US" sz="1050" b="1" dirty="0">
                  <a:solidFill>
                    <a:schemeClr val="bg1"/>
                  </a:solidFill>
                </a:rPr>
                <a:t>left grey</a:t>
              </a:r>
              <a:r>
                <a:rPr lang="en-US" sz="1050" dirty="0">
                  <a:solidFill>
                    <a:schemeClr val="bg1"/>
                  </a:solidFill>
                </a:rPr>
                <a:t>”</a:t>
              </a:r>
            </a:p>
          </p:txBody>
        </p:sp>
      </p:grpSp>
      <p:sp>
        <p:nvSpPr>
          <p:cNvPr id="7" name="MIO_Placeholder_Mapping">
            <a:extLst>
              <a:ext uri="{FF2B5EF4-FFF2-40B4-BE49-F238E27FC236}">
                <a16:creationId xmlns:a16="http://schemas.microsoft.com/office/drawing/2014/main" id="{66AE3C1E-B467-64C1-616E-CBC2C69C0262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0" cy="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de-DE" sz="1400" dirty="0" err="1"/>
          </a:p>
        </p:txBody>
      </p:sp>
      <p:sp>
        <p:nvSpPr>
          <p:cNvPr id="14" name="MIO_AGENDA_LAST_SLIDE" hidden="1">
            <a:extLst>
              <a:ext uri="{FF2B5EF4-FFF2-40B4-BE49-F238E27FC236}">
                <a16:creationId xmlns:a16="http://schemas.microsoft.com/office/drawing/2014/main" id="{8ED944A4-FB8B-CFE0-49F1-C5A1BF075603}"/>
              </a:ext>
            </a:extLst>
          </p:cNvPr>
          <p:cNvSpPr/>
          <p:nvPr userDrawn="1"/>
        </p:nvSpPr>
        <p:spPr>
          <a:xfrm>
            <a:off x="11194443" y="249944"/>
            <a:ext cx="731461" cy="963677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de-DE" sz="1400" dirty="0" err="1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771103CD-5C68-F77F-E130-9D01EB9BD2AF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BC21C731-1DBE-8AD9-D5C0-8BB2AB844382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9829449A-3FF3-45CE-9F4F-09BADC0910C6}" type="slidenum">
              <a:rPr lang="de-DE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7217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490">
          <p15:clr>
            <a:srgbClr val="FBAE40"/>
          </p15:clr>
        </p15:guide>
        <p15:guide id="2" orient="horz" pos="2162">
          <p15:clr>
            <a:srgbClr val="FBAE40"/>
          </p15:clr>
        </p15:guide>
        <p15:guide id="3" orient="horz" pos="1161">
          <p15:clr>
            <a:srgbClr val="FBAE40"/>
          </p15:clr>
        </p15:guide>
        <p15:guide id="4" pos="1046">
          <p15:clr>
            <a:srgbClr val="FBAE40"/>
          </p15:clr>
        </p15:guide>
        <p15:guide id="5" pos="3887">
          <p15:clr>
            <a:srgbClr val="FBAE40"/>
          </p15:clr>
        </p15:guide>
        <p15:guide id="6" pos="3794">
          <p15:clr>
            <a:srgbClr val="FBAE40"/>
          </p15:clr>
        </p15:guide>
        <p15:guide id="7" pos="1137">
          <p15:clr>
            <a:srgbClr val="FBAE40"/>
          </p15:clr>
        </p15:guide>
        <p15:guide id="8" orient="horz" pos="644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background grey">
            <a:extLst>
              <a:ext uri="{FF2B5EF4-FFF2-40B4-BE49-F238E27FC236}">
                <a16:creationId xmlns:a16="http://schemas.microsoft.com/office/drawing/2014/main" id="{E7A8EE9A-2B31-449C-B388-779824C3E640}"/>
              </a:ext>
            </a:extLst>
          </p:cNvPr>
          <p:cNvSpPr/>
          <p:nvPr/>
        </p:nvSpPr>
        <p:spPr bwMode="gray">
          <a:xfrm>
            <a:off x="0" y="2528871"/>
            <a:ext cx="9784633" cy="35676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de-DE" sz="1400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FFCB50B-5503-4467-8A0F-9FBB8B48B9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524400" y="0"/>
            <a:ext cx="2449985" cy="1280192"/>
          </a:xfrm>
          <a:solidFill>
            <a:schemeClr val="accent1"/>
          </a:solidFill>
        </p:spPr>
        <p:txBody>
          <a:bodyPr wrap="none" lIns="432000" tIns="669600" rIns="432000" bIns="180000" anchor="t">
            <a:sp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Contact</a:t>
            </a:r>
            <a:endParaRPr lang="en-US" dirty="0"/>
          </a:p>
        </p:txBody>
      </p:sp>
      <p:sp>
        <p:nvSpPr>
          <p:cNvPr id="107" name="text white">
            <a:extLst>
              <a:ext uri="{FF2B5EF4-FFF2-40B4-BE49-F238E27FC236}">
                <a16:creationId xmlns:a16="http://schemas.microsoft.com/office/drawing/2014/main" id="{47699D00-C79A-4282-B7BC-E3A69CC7BE8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2407367" y="2384874"/>
            <a:ext cx="6437107" cy="3420000"/>
          </a:xfrm>
          <a:solidFill>
            <a:schemeClr val="bg1"/>
          </a:solidFill>
        </p:spPr>
        <p:txBody>
          <a:bodyPr lIns="1872000" tIns="216000" rIns="216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1" name="picture of employee">
            <a:extLst>
              <a:ext uri="{FF2B5EF4-FFF2-40B4-BE49-F238E27FC236}">
                <a16:creationId xmlns:a16="http://schemas.microsoft.com/office/drawing/2014/main" id="{9F42FF48-CA95-4892-8051-0BA83451993B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 bwMode="gray">
          <a:xfrm>
            <a:off x="2120401" y="2242800"/>
            <a:ext cx="2020634" cy="2834136"/>
          </a:xfrm>
          <a:pattFill prst="lt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QR Code of employee">
            <a:extLst>
              <a:ext uri="{FF2B5EF4-FFF2-40B4-BE49-F238E27FC236}">
                <a16:creationId xmlns:a16="http://schemas.microsoft.com/office/drawing/2014/main" id="{5ED38861-B1E7-E0FD-675D-92863F0A45B2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8043873" y="5004273"/>
            <a:ext cx="701202" cy="701202"/>
          </a:xfrm>
          <a:noFill/>
        </p:spPr>
        <p:txBody>
          <a:bodyPr vert="horz" lIns="0" tIns="0" rIns="0" bIns="0" rtlCol="0" anchor="t">
            <a:noAutofit/>
          </a:bodyPr>
          <a:lstStyle>
            <a:lvl1pPr algn="ctr">
              <a:defRPr lang="de-DE"/>
            </a:lvl1pPr>
          </a:lstStyle>
          <a:p>
            <a:pPr lvl="0"/>
            <a:r>
              <a:rPr lang="de-DE" dirty="0"/>
              <a:t>QR Code</a:t>
            </a:r>
          </a:p>
        </p:txBody>
      </p:sp>
      <p:grpSp>
        <p:nvGrpSpPr>
          <p:cNvPr id="13" name="info">
            <a:extLst>
              <a:ext uri="{FF2B5EF4-FFF2-40B4-BE49-F238E27FC236}">
                <a16:creationId xmlns:a16="http://schemas.microsoft.com/office/drawing/2014/main" id="{B1BF37D1-F8D2-08FF-BB3D-068C59FB3535}"/>
              </a:ext>
            </a:extLst>
          </p:cNvPr>
          <p:cNvGrpSpPr/>
          <p:nvPr userDrawn="1"/>
        </p:nvGrpSpPr>
        <p:grpSpPr>
          <a:xfrm flipH="1">
            <a:off x="12412785" y="3169920"/>
            <a:ext cx="2884362" cy="2634954"/>
            <a:chOff x="12236776" y="2786360"/>
            <a:chExt cx="1925720" cy="2634954"/>
          </a:xfrm>
          <a:solidFill>
            <a:srgbClr val="002965"/>
          </a:solidFill>
        </p:grpSpPr>
        <p:sp>
          <p:nvSpPr>
            <p:cNvPr id="14" name="info">
              <a:extLst>
                <a:ext uri="{FF2B5EF4-FFF2-40B4-BE49-F238E27FC236}">
                  <a16:creationId xmlns:a16="http://schemas.microsoft.com/office/drawing/2014/main" id="{72CE6C77-A605-731F-6AD6-BDE48C83A842}"/>
                </a:ext>
              </a:extLst>
            </p:cNvPr>
            <p:cNvSpPr/>
            <p:nvPr userDrawn="1"/>
          </p:nvSpPr>
          <p:spPr bwMode="gray">
            <a:xfrm>
              <a:off x="12582880" y="4947929"/>
              <a:ext cx="1579616" cy="473385"/>
            </a:xfrm>
            <a:prstGeom prst="homePlate">
              <a:avLst>
                <a:gd name="adj" fmla="val 59055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36000" rtlCol="0" anchor="ctr">
              <a:spAutoFit/>
            </a:bodyPr>
            <a:lstStyle/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 dirty="0">
                <a:solidFill>
                  <a:schemeClr val="tx2"/>
                </a:solidFill>
              </a:endParaRPr>
            </a:p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 dirty="0">
                <a:solidFill>
                  <a:schemeClr val="tx2"/>
                </a:solidFill>
              </a:endParaRPr>
            </a:p>
          </p:txBody>
        </p:sp>
        <p:sp>
          <p:nvSpPr>
            <p:cNvPr id="15" name="info">
              <a:extLst>
                <a:ext uri="{FF2B5EF4-FFF2-40B4-BE49-F238E27FC236}">
                  <a16:creationId xmlns:a16="http://schemas.microsoft.com/office/drawing/2014/main" id="{A24522BC-1F24-EBBC-4F27-D8ACC222B01F}"/>
                </a:ext>
              </a:extLst>
            </p:cNvPr>
            <p:cNvSpPr/>
            <p:nvPr userDrawn="1"/>
          </p:nvSpPr>
          <p:spPr bwMode="gray">
            <a:xfrm flipH="1">
              <a:off x="12236776" y="2786360"/>
              <a:ext cx="1742546" cy="2634954"/>
            </a:xfrm>
            <a:prstGeom prst="rect">
              <a:avLst/>
            </a:prstGeom>
            <a:solidFill>
              <a:srgbClr val="0029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>
              <a:noAutofit/>
            </a:bodyPr>
            <a:lstStyle/>
            <a:p>
              <a:r>
                <a:rPr lang="en-US" sz="1050" b="1" dirty="0"/>
                <a:t>CREATE LINKEDIN QR CODE FOR BUSINESS CARD:</a:t>
              </a:r>
            </a:p>
            <a:p>
              <a:pPr marL="144000" indent="-144000">
                <a:buFont typeface="+mj-lt"/>
                <a:buAutoNum type="arabicPeriod"/>
              </a:pPr>
              <a:r>
                <a:rPr lang="en-US" sz="1050" dirty="0"/>
                <a:t>Open the LinkedIn app and log in.</a:t>
              </a:r>
            </a:p>
            <a:p>
              <a:pPr marL="144000" indent="-144000">
                <a:buFont typeface="+mj-lt"/>
                <a:buAutoNum type="arabicPeriod"/>
              </a:pPr>
              <a:r>
                <a:rPr lang="en-US" sz="1050" dirty="0"/>
                <a:t>Tap the search bar at the top.</a:t>
              </a:r>
            </a:p>
            <a:p>
              <a:pPr marL="144000" indent="-144000">
                <a:buFont typeface="+mj-lt"/>
                <a:buAutoNum type="arabicPeriod"/>
              </a:pPr>
              <a:r>
                <a:rPr lang="en-US" sz="1050" dirty="0"/>
                <a:t>Save the QR code displayed on the right for later use.</a:t>
              </a:r>
            </a:p>
            <a:p>
              <a:pPr>
                <a:spcBef>
                  <a:spcPts val="400"/>
                </a:spcBef>
              </a:pPr>
              <a:r>
                <a:rPr lang="en-US" sz="1050" b="1" dirty="0"/>
                <a:t>FOR CONTACT QR CODE </a:t>
              </a:r>
              <a:br>
                <a:rPr lang="en-US" sz="1050" b="1" dirty="0"/>
              </a:br>
              <a:r>
                <a:rPr lang="en-US" sz="1050" b="1" dirty="0"/>
                <a:t>(DRESONET PROFILE):</a:t>
              </a:r>
            </a:p>
            <a:p>
              <a:pPr marL="144000" indent="-144000" algn="l" defTabSz="914400" rtl="0" eaLnBrk="1" latinLnBrk="0" hangingPunct="1">
                <a:buFont typeface="+mj-lt"/>
                <a:buAutoNum type="arabicPeriod"/>
              </a:pPr>
              <a:r>
                <a:rPr lang="en-US" sz="1050" kern="1200" dirty="0">
                  <a:solidFill>
                    <a:schemeClr val="lt1"/>
                  </a:solidFill>
                  <a:latin typeface="+mn-lt"/>
                  <a:ea typeface="+mn-ea"/>
                  <a:cs typeface="+mn-cs"/>
                </a:rPr>
                <a:t>Search for your name using </a:t>
              </a:r>
              <a:r>
                <a:rPr lang="en-US" sz="1050" kern="1200" dirty="0" err="1">
                  <a:solidFill>
                    <a:schemeClr val="lt1"/>
                  </a:solidFill>
                  <a:latin typeface="+mn-lt"/>
                  <a:ea typeface="+mn-ea"/>
                  <a:cs typeface="+mn-cs"/>
                </a:rPr>
                <a:t>Dresonet's</a:t>
              </a:r>
              <a:r>
                <a:rPr lang="en-US" sz="1050" kern="1200" dirty="0">
                  <a:solidFill>
                    <a:schemeClr val="lt1"/>
                  </a:solidFill>
                  <a:latin typeface="+mn-lt"/>
                  <a:ea typeface="+mn-ea"/>
                  <a:cs typeface="+mn-cs"/>
                </a:rPr>
                <a:t> advanced search.</a:t>
              </a:r>
            </a:p>
            <a:p>
              <a:pPr marL="144000" indent="-144000" algn="l" defTabSz="914400" rtl="0" eaLnBrk="1" latinLnBrk="0" hangingPunct="1">
                <a:buFont typeface="+mj-lt"/>
                <a:buAutoNum type="arabicPeriod"/>
              </a:pPr>
              <a:r>
                <a:rPr lang="en-US" sz="1050" kern="1200" dirty="0">
                  <a:solidFill>
                    <a:schemeClr val="lt1"/>
                  </a:solidFill>
                  <a:latin typeface="+mn-lt"/>
                  <a:ea typeface="+mn-ea"/>
                  <a:cs typeface="+mn-cs"/>
                </a:rPr>
                <a:t>Click on your displayed image.</a:t>
              </a:r>
            </a:p>
            <a:p>
              <a:pPr marL="144000" indent="-144000" algn="l" defTabSz="914400" rtl="0" eaLnBrk="1" latinLnBrk="0" hangingPunct="1">
                <a:buFont typeface="+mj-lt"/>
                <a:buAutoNum type="arabicPeriod"/>
              </a:pPr>
              <a:r>
                <a:rPr lang="en-US" sz="1050" kern="1200" dirty="0">
                  <a:solidFill>
                    <a:schemeClr val="lt1"/>
                  </a:solidFill>
                  <a:latin typeface="+mn-lt"/>
                  <a:ea typeface="+mn-ea"/>
                  <a:cs typeface="+mn-cs"/>
                </a:rPr>
                <a:t>Save the QR code at the bottom of the list by right-clicking and selecting "Save image as" on your computer or smartphone for future use.</a:t>
              </a:r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4DE6047-576D-21E9-2BD8-F4D786703DF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AA4052D-B0BB-27D0-37C7-3DA29147DB3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829449A-3FF3-45CE-9F4F-09BADC0910C6}" type="slidenum">
              <a:rPr lang="de-DE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95764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pos="1335">
          <p15:clr>
            <a:srgbClr val="FBAE40"/>
          </p15:clr>
        </p15:guide>
        <p15:guide id="2" pos="2610">
          <p15:clr>
            <a:srgbClr val="FBAE40"/>
          </p15:clr>
        </p15:guide>
        <p15:guide id="3" pos="1515">
          <p15:clr>
            <a:srgbClr val="FBAE40"/>
          </p15:clr>
        </p15:guide>
        <p15:guide id="4" pos="5573">
          <p15:clr>
            <a:srgbClr val="FBAE40"/>
          </p15:clr>
        </p15:guide>
        <p15:guide id="5" orient="horz" pos="1412">
          <p15:clr>
            <a:srgbClr val="FBAE40"/>
          </p15:clr>
        </p15:guide>
        <p15:guide id="6" orient="horz" pos="1502">
          <p15:clr>
            <a:srgbClr val="FBAE40"/>
          </p15:clr>
        </p15:guide>
        <p15:guide id="8" orient="horz" pos="3152">
          <p15:clr>
            <a:srgbClr val="FBAE40"/>
          </p15:clr>
        </p15:guide>
        <p15:guide id="9" orient="horz" pos="3657">
          <p15:clr>
            <a:srgbClr val="FBAE40"/>
          </p15:clr>
        </p15:guide>
        <p15:guide id="10" pos="506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ong tex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">
            <a:extLst>
              <a:ext uri="{FF2B5EF4-FFF2-40B4-BE49-F238E27FC236}">
                <a16:creationId xmlns:a16="http://schemas.microsoft.com/office/drawing/2014/main" id="{0A579270-3C09-93E5-7609-FBF58B83297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8" name="background white">
            <a:extLst>
              <a:ext uri="{FF2B5EF4-FFF2-40B4-BE49-F238E27FC236}">
                <a16:creationId xmlns:a16="http://schemas.microsoft.com/office/drawing/2014/main" id="{107DB393-987B-DCF8-4267-29CA430803DF}"/>
              </a:ext>
            </a:extLst>
          </p:cNvPr>
          <p:cNvSpPr>
            <a:spLocks noChangeAspect="1"/>
          </p:cNvSpPr>
          <p:nvPr/>
        </p:nvSpPr>
        <p:spPr>
          <a:xfrm>
            <a:off x="0" y="-1"/>
            <a:ext cx="8619489" cy="6858001"/>
          </a:xfrm>
          <a:custGeom>
            <a:avLst/>
            <a:gdLst>
              <a:gd name="connsiteX0" fmla="*/ 4110988 w 8619489"/>
              <a:gd name="connsiteY0" fmla="*/ 0 h 6858001"/>
              <a:gd name="connsiteX1" fmla="*/ 4110989 w 8619489"/>
              <a:gd name="connsiteY1" fmla="*/ 1 h 6858001"/>
              <a:gd name="connsiteX2" fmla="*/ 4110989 w 8619489"/>
              <a:gd name="connsiteY2" fmla="*/ 1 h 6858001"/>
              <a:gd name="connsiteX3" fmla="*/ 4110989 w 8619489"/>
              <a:gd name="connsiteY3" fmla="*/ 2 h 6858001"/>
              <a:gd name="connsiteX4" fmla="*/ 8619489 w 8619489"/>
              <a:gd name="connsiteY4" fmla="*/ 6858001 h 6858001"/>
              <a:gd name="connsiteX5" fmla="*/ 4110989 w 8619489"/>
              <a:gd name="connsiteY5" fmla="*/ 6858001 h 6858001"/>
              <a:gd name="connsiteX6" fmla="*/ 4110988 w 8619489"/>
              <a:gd name="connsiteY6" fmla="*/ 6858001 h 6858001"/>
              <a:gd name="connsiteX7" fmla="*/ 0 w 8619489"/>
              <a:gd name="connsiteY7" fmla="*/ 6858001 h 6858001"/>
              <a:gd name="connsiteX8" fmla="*/ 0 w 8619489"/>
              <a:gd name="connsiteY8" fmla="*/ 1 h 6858001"/>
              <a:gd name="connsiteX9" fmla="*/ 4110988 w 8619489"/>
              <a:gd name="connsiteY9" fmla="*/ 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619489" h="6858001">
                <a:moveTo>
                  <a:pt x="4110988" y="0"/>
                </a:moveTo>
                <a:lnTo>
                  <a:pt x="4110989" y="1"/>
                </a:lnTo>
                <a:lnTo>
                  <a:pt x="4110989" y="1"/>
                </a:lnTo>
                <a:lnTo>
                  <a:pt x="4110989" y="2"/>
                </a:lnTo>
                <a:lnTo>
                  <a:pt x="8619489" y="6858001"/>
                </a:lnTo>
                <a:lnTo>
                  <a:pt x="4110989" y="6858001"/>
                </a:lnTo>
                <a:lnTo>
                  <a:pt x="4110988" y="6858001"/>
                </a:lnTo>
                <a:lnTo>
                  <a:pt x="0" y="6858001"/>
                </a:lnTo>
                <a:lnTo>
                  <a:pt x="0" y="1"/>
                </a:lnTo>
                <a:lnTo>
                  <a:pt x="4110988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de-DE" sz="1400" err="1"/>
          </a:p>
        </p:txBody>
      </p:sp>
      <p:grpSp>
        <p:nvGrpSpPr>
          <p:cNvPr id="18" name="design element">
            <a:extLst>
              <a:ext uri="{FF2B5EF4-FFF2-40B4-BE49-F238E27FC236}">
                <a16:creationId xmlns:a16="http://schemas.microsoft.com/office/drawing/2014/main" id="{12FF30DA-268B-E949-8DDC-F0567CBE2F90}"/>
              </a:ext>
            </a:extLst>
          </p:cNvPr>
          <p:cNvGrpSpPr>
            <a:grpSpLocks noChangeAspect="1"/>
          </p:cNvGrpSpPr>
          <p:nvPr/>
        </p:nvGrpSpPr>
        <p:grpSpPr>
          <a:xfrm>
            <a:off x="4394175" y="1"/>
            <a:ext cx="5173652" cy="6857999"/>
            <a:chOff x="4394175" y="1"/>
            <a:chExt cx="5173652" cy="6857999"/>
          </a:xfrm>
        </p:grpSpPr>
        <p:sp>
          <p:nvSpPr>
            <p:cNvPr id="15" name="grey">
              <a:extLst>
                <a:ext uri="{FF2B5EF4-FFF2-40B4-BE49-F238E27FC236}">
                  <a16:creationId xmlns:a16="http://schemas.microsoft.com/office/drawing/2014/main" id="{3132DB7F-169F-70AD-02D5-21651FB04978}"/>
                </a:ext>
              </a:extLst>
            </p:cNvPr>
            <p:cNvSpPr/>
            <p:nvPr userDrawn="1"/>
          </p:nvSpPr>
          <p:spPr>
            <a:xfrm>
              <a:off x="4543151" y="2554642"/>
              <a:ext cx="3717028" cy="4303358"/>
            </a:xfrm>
            <a:custGeom>
              <a:avLst/>
              <a:gdLst>
                <a:gd name="connsiteX0" fmla="*/ 1247279 w 3717028"/>
                <a:gd name="connsiteY0" fmla="*/ 0 h 4303358"/>
                <a:gd name="connsiteX1" fmla="*/ 1261138 w 3717028"/>
                <a:gd name="connsiteY1" fmla="*/ 21081 h 4303358"/>
                <a:gd name="connsiteX2" fmla="*/ 166230 w 3717028"/>
                <a:gd name="connsiteY2" fmla="*/ 815844 h 4303358"/>
                <a:gd name="connsiteX3" fmla="*/ 81235 w 3717028"/>
                <a:gd name="connsiteY3" fmla="*/ 1284768 h 4303358"/>
                <a:gd name="connsiteX4" fmla="*/ 1662360 w 3717028"/>
                <a:gd name="connsiteY4" fmla="*/ 3675925 h 4303358"/>
                <a:gd name="connsiteX5" fmla="*/ 2759783 w 3717028"/>
                <a:gd name="connsiteY5" fmla="*/ 2893621 h 4303358"/>
                <a:gd name="connsiteX6" fmla="*/ 1684016 w 3717028"/>
                <a:gd name="connsiteY6" fmla="*/ 1257868 h 4303358"/>
                <a:gd name="connsiteX7" fmla="*/ 1723729 w 3717028"/>
                <a:gd name="connsiteY7" fmla="*/ 803778 h 4303358"/>
                <a:gd name="connsiteX8" fmla="*/ 1756699 w 3717028"/>
                <a:gd name="connsiteY8" fmla="*/ 774892 h 4303358"/>
                <a:gd name="connsiteX9" fmla="*/ 1770648 w 3717028"/>
                <a:gd name="connsiteY9" fmla="*/ 796110 h 4303358"/>
                <a:gd name="connsiteX10" fmla="*/ 1741989 w 3717028"/>
                <a:gd name="connsiteY10" fmla="*/ 821222 h 4303358"/>
                <a:gd name="connsiteX11" fmla="*/ 1704980 w 3717028"/>
                <a:gd name="connsiteY11" fmla="*/ 1244102 h 4303358"/>
                <a:gd name="connsiteX12" fmla="*/ 2780257 w 3717028"/>
                <a:gd name="connsiteY12" fmla="*/ 2879026 h 4303358"/>
                <a:gd name="connsiteX13" fmla="*/ 2950604 w 3717028"/>
                <a:gd name="connsiteY13" fmla="*/ 2757593 h 4303358"/>
                <a:gd name="connsiteX14" fmla="*/ 3000990 w 3717028"/>
                <a:gd name="connsiteY14" fmla="*/ 2713444 h 4303358"/>
                <a:gd name="connsiteX15" fmla="*/ 3017199 w 3717028"/>
                <a:gd name="connsiteY15" fmla="*/ 2692273 h 4303358"/>
                <a:gd name="connsiteX16" fmla="*/ 3031748 w 3717028"/>
                <a:gd name="connsiteY16" fmla="*/ 2714403 h 4303358"/>
                <a:gd name="connsiteX17" fmla="*/ 3019124 w 3717028"/>
                <a:gd name="connsiteY17" fmla="*/ 2730887 h 4303358"/>
                <a:gd name="connsiteX18" fmla="*/ 2965001 w 3717028"/>
                <a:gd name="connsiteY18" fmla="*/ 2778305 h 4303358"/>
                <a:gd name="connsiteX19" fmla="*/ 2794127 w 3717028"/>
                <a:gd name="connsiteY19" fmla="*/ 2900116 h 4303358"/>
                <a:gd name="connsiteX20" fmla="*/ 3289385 w 3717028"/>
                <a:gd name="connsiteY20" fmla="*/ 3653140 h 4303358"/>
                <a:gd name="connsiteX21" fmla="*/ 3532753 w 3717028"/>
                <a:gd name="connsiteY21" fmla="*/ 3476495 h 4303358"/>
                <a:gd name="connsiteX22" fmla="*/ 3546632 w 3717028"/>
                <a:gd name="connsiteY22" fmla="*/ 3497606 h 4303358"/>
                <a:gd name="connsiteX23" fmla="*/ 3303268 w 3717028"/>
                <a:gd name="connsiteY23" fmla="*/ 3674248 h 4303358"/>
                <a:gd name="connsiteX24" fmla="*/ 3717028 w 3717028"/>
                <a:gd name="connsiteY24" fmla="*/ 4303358 h 4303358"/>
                <a:gd name="connsiteX25" fmla="*/ 3686908 w 3717028"/>
                <a:gd name="connsiteY25" fmla="*/ 4303358 h 4303358"/>
                <a:gd name="connsiteX26" fmla="*/ 3282894 w 3717028"/>
                <a:gd name="connsiteY26" fmla="*/ 3689036 h 4303358"/>
                <a:gd name="connsiteX27" fmla="*/ 2436523 w 3717028"/>
                <a:gd name="connsiteY27" fmla="*/ 4303358 h 4303358"/>
                <a:gd name="connsiteX28" fmla="*/ 2393559 w 3717028"/>
                <a:gd name="connsiteY28" fmla="*/ 4303358 h 4303358"/>
                <a:gd name="connsiteX29" fmla="*/ 3269012 w 3717028"/>
                <a:gd name="connsiteY29" fmla="*/ 3667927 h 4303358"/>
                <a:gd name="connsiteX30" fmla="*/ 2773653 w 3717028"/>
                <a:gd name="connsiteY30" fmla="*/ 2914712 h 4303358"/>
                <a:gd name="connsiteX31" fmla="*/ 1676291 w 3717028"/>
                <a:gd name="connsiteY31" fmla="*/ 3696992 h 4303358"/>
                <a:gd name="connsiteX32" fmla="*/ 2077243 w 3717028"/>
                <a:gd name="connsiteY32" fmla="*/ 4303358 h 4303358"/>
                <a:gd name="connsiteX33" fmla="*/ 2047092 w 3717028"/>
                <a:gd name="connsiteY33" fmla="*/ 4303358 h 4303358"/>
                <a:gd name="connsiteX34" fmla="*/ 1655782 w 3717028"/>
                <a:gd name="connsiteY34" fmla="*/ 3711612 h 4303358"/>
                <a:gd name="connsiteX35" fmla="*/ 825695 w 3717028"/>
                <a:gd name="connsiteY35" fmla="*/ 4303358 h 4303358"/>
                <a:gd name="connsiteX36" fmla="*/ 782191 w 3717028"/>
                <a:gd name="connsiteY36" fmla="*/ 4303358 h 4303358"/>
                <a:gd name="connsiteX37" fmla="*/ 1641851 w 3717028"/>
                <a:gd name="connsiteY37" fmla="*/ 3690545 h 4303358"/>
                <a:gd name="connsiteX38" fmla="*/ 60145 w 3717028"/>
                <a:gd name="connsiteY38" fmla="*/ 1298661 h 4303358"/>
                <a:gd name="connsiteX39" fmla="*/ 151454 w 3717028"/>
                <a:gd name="connsiteY39" fmla="*/ 795384 h 4303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717028" h="4303358">
                  <a:moveTo>
                    <a:pt x="1247279" y="0"/>
                  </a:moveTo>
                  <a:lnTo>
                    <a:pt x="1261138" y="21081"/>
                  </a:lnTo>
                  <a:lnTo>
                    <a:pt x="166230" y="815844"/>
                  </a:lnTo>
                  <a:cubicBezTo>
                    <a:pt x="18973" y="922688"/>
                    <a:pt x="-19168" y="1133091"/>
                    <a:pt x="81235" y="1284768"/>
                  </a:cubicBezTo>
                  <a:lnTo>
                    <a:pt x="1662360" y="3675925"/>
                  </a:lnTo>
                  <a:lnTo>
                    <a:pt x="2759783" y="2893621"/>
                  </a:lnTo>
                  <a:lnTo>
                    <a:pt x="1684016" y="1257868"/>
                  </a:lnTo>
                  <a:cubicBezTo>
                    <a:pt x="1590086" y="1115094"/>
                    <a:pt x="1610543" y="925038"/>
                    <a:pt x="1723729" y="803778"/>
                  </a:cubicBezTo>
                  <a:lnTo>
                    <a:pt x="1756699" y="774892"/>
                  </a:lnTo>
                  <a:lnTo>
                    <a:pt x="1770648" y="796110"/>
                  </a:lnTo>
                  <a:lnTo>
                    <a:pt x="1741989" y="821222"/>
                  </a:lnTo>
                  <a:cubicBezTo>
                    <a:pt x="1636619" y="934133"/>
                    <a:pt x="1617570" y="1111163"/>
                    <a:pt x="1704980" y="1244102"/>
                  </a:cubicBezTo>
                  <a:lnTo>
                    <a:pt x="2780257" y="2879026"/>
                  </a:lnTo>
                  <a:lnTo>
                    <a:pt x="2950604" y="2757593"/>
                  </a:lnTo>
                  <a:cubicBezTo>
                    <a:pt x="2969122" y="2744396"/>
                    <a:pt x="2985937" y="2729574"/>
                    <a:pt x="3000990" y="2713444"/>
                  </a:cubicBezTo>
                  <a:lnTo>
                    <a:pt x="3017199" y="2692273"/>
                  </a:lnTo>
                  <a:lnTo>
                    <a:pt x="3031748" y="2714403"/>
                  </a:lnTo>
                  <a:lnTo>
                    <a:pt x="3019124" y="2730887"/>
                  </a:lnTo>
                  <a:cubicBezTo>
                    <a:pt x="3002954" y="2748210"/>
                    <a:pt x="2984893" y="2764129"/>
                    <a:pt x="2965001" y="2778305"/>
                  </a:cubicBezTo>
                  <a:lnTo>
                    <a:pt x="2794127" y="2900116"/>
                  </a:lnTo>
                  <a:lnTo>
                    <a:pt x="3289385" y="3653140"/>
                  </a:lnTo>
                  <a:lnTo>
                    <a:pt x="3532753" y="3476495"/>
                  </a:lnTo>
                  <a:lnTo>
                    <a:pt x="3546632" y="3497606"/>
                  </a:lnTo>
                  <a:lnTo>
                    <a:pt x="3303268" y="3674248"/>
                  </a:lnTo>
                  <a:lnTo>
                    <a:pt x="3717028" y="4303358"/>
                  </a:lnTo>
                  <a:lnTo>
                    <a:pt x="3686908" y="4303358"/>
                  </a:lnTo>
                  <a:lnTo>
                    <a:pt x="3282894" y="3689036"/>
                  </a:lnTo>
                  <a:lnTo>
                    <a:pt x="2436523" y="4303358"/>
                  </a:lnTo>
                  <a:lnTo>
                    <a:pt x="2393559" y="4303358"/>
                  </a:lnTo>
                  <a:lnTo>
                    <a:pt x="3269012" y="3667927"/>
                  </a:lnTo>
                  <a:lnTo>
                    <a:pt x="2773653" y="2914712"/>
                  </a:lnTo>
                  <a:lnTo>
                    <a:pt x="1676291" y="3696992"/>
                  </a:lnTo>
                  <a:lnTo>
                    <a:pt x="2077243" y="4303358"/>
                  </a:lnTo>
                  <a:lnTo>
                    <a:pt x="2047092" y="4303358"/>
                  </a:lnTo>
                  <a:lnTo>
                    <a:pt x="1655782" y="3711612"/>
                  </a:lnTo>
                  <a:lnTo>
                    <a:pt x="825695" y="4303358"/>
                  </a:lnTo>
                  <a:lnTo>
                    <a:pt x="782191" y="4303358"/>
                  </a:lnTo>
                  <a:lnTo>
                    <a:pt x="1641851" y="3690545"/>
                  </a:lnTo>
                  <a:lnTo>
                    <a:pt x="60145" y="1298661"/>
                  </a:lnTo>
                  <a:cubicBezTo>
                    <a:pt x="-47584" y="1135869"/>
                    <a:pt x="-6665" y="910184"/>
                    <a:pt x="151454" y="795384"/>
                  </a:cubicBezTo>
                  <a:close/>
                </a:path>
              </a:pathLst>
            </a:custGeom>
            <a:solidFill>
              <a:srgbClr val="F2F2F2"/>
            </a:solidFill>
            <a:ln w="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de-DE"/>
            </a:p>
          </p:txBody>
        </p:sp>
        <p:sp>
          <p:nvSpPr>
            <p:cNvPr id="16" name="white">
              <a:extLst>
                <a:ext uri="{FF2B5EF4-FFF2-40B4-BE49-F238E27FC236}">
                  <a16:creationId xmlns:a16="http://schemas.microsoft.com/office/drawing/2014/main" id="{898C69AB-7374-1A42-D3DB-36CDF8A4E332}"/>
                </a:ext>
              </a:extLst>
            </p:cNvPr>
            <p:cNvSpPr/>
            <p:nvPr userDrawn="1"/>
          </p:nvSpPr>
          <p:spPr>
            <a:xfrm>
              <a:off x="4394175" y="1"/>
              <a:ext cx="5173652" cy="6052248"/>
            </a:xfrm>
            <a:custGeom>
              <a:avLst/>
              <a:gdLst>
                <a:gd name="connsiteX0" fmla="*/ 2711979 w 5173652"/>
                <a:gd name="connsiteY0" fmla="*/ 1630734 h 6052248"/>
                <a:gd name="connsiteX1" fmla="*/ 1622698 w 5173652"/>
                <a:gd name="connsiteY1" fmla="*/ 2421413 h 6052248"/>
                <a:gd name="connsiteX2" fmla="*/ 2118107 w 5173652"/>
                <a:gd name="connsiteY2" fmla="*/ 3174640 h 6052248"/>
                <a:gd name="connsiteX3" fmla="*/ 3215545 w 5173652"/>
                <a:gd name="connsiteY3" fmla="*/ 2392294 h 6052248"/>
                <a:gd name="connsiteX4" fmla="*/ 4055236 w 5173652"/>
                <a:gd name="connsiteY4" fmla="*/ 900453 h 6052248"/>
                <a:gd name="connsiteX5" fmla="*/ 3446632 w 5173652"/>
                <a:gd name="connsiteY5" fmla="*/ 1097469 h 6052248"/>
                <a:gd name="connsiteX6" fmla="*/ 2732437 w 5173652"/>
                <a:gd name="connsiteY6" fmla="*/ 1615884 h 6052248"/>
                <a:gd name="connsiteX7" fmla="*/ 3236122 w 5173652"/>
                <a:gd name="connsiteY7" fmla="*/ 2377624 h 6052248"/>
                <a:gd name="connsiteX8" fmla="*/ 5054716 w 5173652"/>
                <a:gd name="connsiteY8" fmla="*/ 1081177 h 6052248"/>
                <a:gd name="connsiteX9" fmla="*/ 5146783 w 5173652"/>
                <a:gd name="connsiteY9" fmla="*/ 954506 h 6052248"/>
                <a:gd name="connsiteX10" fmla="*/ 4998516 w 5173652"/>
                <a:gd name="connsiteY10" fmla="*/ 904241 h 6052248"/>
                <a:gd name="connsiteX11" fmla="*/ 4058014 w 5173652"/>
                <a:gd name="connsiteY11" fmla="*/ 900453 h 6052248"/>
                <a:gd name="connsiteX12" fmla="*/ 4055362 w 5173652"/>
                <a:gd name="connsiteY12" fmla="*/ 900453 h 6052248"/>
                <a:gd name="connsiteX13" fmla="*/ 0 w 5173652"/>
                <a:gd name="connsiteY13" fmla="*/ 0 h 6052248"/>
                <a:gd name="connsiteX14" fmla="*/ 30094 w 5173652"/>
                <a:gd name="connsiteY14" fmla="*/ 0 h 6052248"/>
                <a:gd name="connsiteX15" fmla="*/ 1608838 w 5173652"/>
                <a:gd name="connsiteY15" fmla="*/ 2400341 h 6052248"/>
                <a:gd name="connsiteX16" fmla="*/ 2698089 w 5173652"/>
                <a:gd name="connsiteY16" fmla="*/ 1609728 h 6052248"/>
                <a:gd name="connsiteX17" fmla="*/ 1633689 w 5173652"/>
                <a:gd name="connsiteY17" fmla="*/ 0 h 6052248"/>
                <a:gd name="connsiteX18" fmla="*/ 1663966 w 5173652"/>
                <a:gd name="connsiteY18" fmla="*/ 0 h 6052248"/>
                <a:gd name="connsiteX19" fmla="*/ 2718547 w 5173652"/>
                <a:gd name="connsiteY19" fmla="*/ 1594879 h 6052248"/>
                <a:gd name="connsiteX20" fmla="*/ 3431856 w 5173652"/>
                <a:gd name="connsiteY20" fmla="*/ 1077136 h 6052248"/>
                <a:gd name="connsiteX21" fmla="*/ 4055236 w 5173652"/>
                <a:gd name="connsiteY21" fmla="*/ 875194 h 6052248"/>
                <a:gd name="connsiteX22" fmla="*/ 4058014 w 5173652"/>
                <a:gd name="connsiteY22" fmla="*/ 875194 h 6052248"/>
                <a:gd name="connsiteX23" fmla="*/ 4998516 w 5173652"/>
                <a:gd name="connsiteY23" fmla="*/ 878983 h 6052248"/>
                <a:gd name="connsiteX24" fmla="*/ 5170779 w 5173652"/>
                <a:gd name="connsiteY24" fmla="*/ 946928 h 6052248"/>
                <a:gd name="connsiteX25" fmla="*/ 5069240 w 5173652"/>
                <a:gd name="connsiteY25" fmla="*/ 1101889 h 6052248"/>
                <a:gd name="connsiteX26" fmla="*/ 3250083 w 5173652"/>
                <a:gd name="connsiteY26" fmla="*/ 2398738 h 6052248"/>
                <a:gd name="connsiteX27" fmla="*/ 4831683 w 5173652"/>
                <a:gd name="connsiteY27" fmla="*/ 4790645 h 6052248"/>
                <a:gd name="connsiteX28" fmla="*/ 4740373 w 5173652"/>
                <a:gd name="connsiteY28" fmla="*/ 5293922 h 6052248"/>
                <a:gd name="connsiteX29" fmla="*/ 3695606 w 5173652"/>
                <a:gd name="connsiteY29" fmla="*/ 6052248 h 6052248"/>
                <a:gd name="connsiteX30" fmla="*/ 3681727 w 5173652"/>
                <a:gd name="connsiteY30" fmla="*/ 6031137 h 6052248"/>
                <a:gd name="connsiteX31" fmla="*/ 4725597 w 5173652"/>
                <a:gd name="connsiteY31" fmla="*/ 5273462 h 6052248"/>
                <a:gd name="connsiteX32" fmla="*/ 4810592 w 5173652"/>
                <a:gd name="connsiteY32" fmla="*/ 4804538 h 6052248"/>
                <a:gd name="connsiteX33" fmla="*/ 3229505 w 5173652"/>
                <a:gd name="connsiteY33" fmla="*/ 2413407 h 6052248"/>
                <a:gd name="connsiteX34" fmla="*/ 2132018 w 5173652"/>
                <a:gd name="connsiteY34" fmla="*/ 3195789 h 6052248"/>
                <a:gd name="connsiteX35" fmla="*/ 3207811 w 5173652"/>
                <a:gd name="connsiteY35" fmla="*/ 4831438 h 6052248"/>
                <a:gd name="connsiteX36" fmla="*/ 3210866 w 5173652"/>
                <a:gd name="connsiteY36" fmla="*/ 5229686 h 6052248"/>
                <a:gd name="connsiteX37" fmla="*/ 3180722 w 5173652"/>
                <a:gd name="connsiteY37" fmla="*/ 5269045 h 6052248"/>
                <a:gd name="connsiteX38" fmla="*/ 3166174 w 5173652"/>
                <a:gd name="connsiteY38" fmla="*/ 5246915 h 6052248"/>
                <a:gd name="connsiteX39" fmla="*/ 3189780 w 5173652"/>
                <a:gd name="connsiteY39" fmla="*/ 5216084 h 6052248"/>
                <a:gd name="connsiteX40" fmla="*/ 3186973 w 5173652"/>
                <a:gd name="connsiteY40" fmla="*/ 4845204 h 6052248"/>
                <a:gd name="connsiteX41" fmla="*/ 2111621 w 5173652"/>
                <a:gd name="connsiteY41" fmla="*/ 3210329 h 6052248"/>
                <a:gd name="connsiteX42" fmla="*/ 1941349 w 5173652"/>
                <a:gd name="connsiteY42" fmla="*/ 3331713 h 6052248"/>
                <a:gd name="connsiteX43" fmla="*/ 1919622 w 5173652"/>
                <a:gd name="connsiteY43" fmla="*/ 3350752 h 6052248"/>
                <a:gd name="connsiteX44" fmla="*/ 1905673 w 5173652"/>
                <a:gd name="connsiteY44" fmla="*/ 3329534 h 6052248"/>
                <a:gd name="connsiteX45" fmla="*/ 1926826 w 5173652"/>
                <a:gd name="connsiteY45" fmla="*/ 3311001 h 6052248"/>
                <a:gd name="connsiteX46" fmla="*/ 2097710 w 5173652"/>
                <a:gd name="connsiteY46" fmla="*/ 3189181 h 6052248"/>
                <a:gd name="connsiteX47" fmla="*/ 1602397 w 5173652"/>
                <a:gd name="connsiteY47" fmla="*/ 2436149 h 6052248"/>
                <a:gd name="connsiteX48" fmla="*/ 1410112 w 5173652"/>
                <a:gd name="connsiteY48" fmla="*/ 2575723 h 6052248"/>
                <a:gd name="connsiteX49" fmla="*/ 1396253 w 5173652"/>
                <a:gd name="connsiteY49" fmla="*/ 2554642 h 6052248"/>
                <a:gd name="connsiteX50" fmla="*/ 1588537 w 5173652"/>
                <a:gd name="connsiteY50" fmla="*/ 2415077 h 6052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5173652" h="6052248">
                  <a:moveTo>
                    <a:pt x="2711979" y="1630734"/>
                  </a:moveTo>
                  <a:lnTo>
                    <a:pt x="1622698" y="2421413"/>
                  </a:lnTo>
                  <a:lnTo>
                    <a:pt x="2118107" y="3174640"/>
                  </a:lnTo>
                  <a:lnTo>
                    <a:pt x="3215545" y="2392294"/>
                  </a:lnTo>
                  <a:close/>
                  <a:moveTo>
                    <a:pt x="4055236" y="900453"/>
                  </a:moveTo>
                  <a:cubicBezTo>
                    <a:pt x="3869081" y="900453"/>
                    <a:pt x="3596794" y="988479"/>
                    <a:pt x="3446632" y="1097469"/>
                  </a:cubicBezTo>
                  <a:lnTo>
                    <a:pt x="2732437" y="1615884"/>
                  </a:lnTo>
                  <a:lnTo>
                    <a:pt x="3236122" y="2377624"/>
                  </a:lnTo>
                  <a:lnTo>
                    <a:pt x="5054716" y="1081177"/>
                  </a:lnTo>
                  <a:cubicBezTo>
                    <a:pt x="5123293" y="1032302"/>
                    <a:pt x="5156887" y="986079"/>
                    <a:pt x="5146783" y="954506"/>
                  </a:cubicBezTo>
                  <a:cubicBezTo>
                    <a:pt x="5136680" y="922933"/>
                    <a:pt x="5082627" y="904494"/>
                    <a:pt x="4998516" y="904241"/>
                  </a:cubicBezTo>
                  <a:lnTo>
                    <a:pt x="4058014" y="900453"/>
                  </a:lnTo>
                  <a:cubicBezTo>
                    <a:pt x="4057130" y="900453"/>
                    <a:pt x="4056247" y="900453"/>
                    <a:pt x="4055362" y="900453"/>
                  </a:cubicBezTo>
                  <a:close/>
                  <a:moveTo>
                    <a:pt x="0" y="0"/>
                  </a:moveTo>
                  <a:lnTo>
                    <a:pt x="30094" y="0"/>
                  </a:lnTo>
                  <a:lnTo>
                    <a:pt x="1608838" y="2400341"/>
                  </a:lnTo>
                  <a:lnTo>
                    <a:pt x="2698089" y="1609728"/>
                  </a:lnTo>
                  <a:lnTo>
                    <a:pt x="1633689" y="0"/>
                  </a:lnTo>
                  <a:lnTo>
                    <a:pt x="1663966" y="0"/>
                  </a:lnTo>
                  <a:lnTo>
                    <a:pt x="2718547" y="1594879"/>
                  </a:lnTo>
                  <a:lnTo>
                    <a:pt x="3431856" y="1077136"/>
                  </a:lnTo>
                  <a:cubicBezTo>
                    <a:pt x="3585680" y="965493"/>
                    <a:pt x="3864660" y="875194"/>
                    <a:pt x="4055236" y="875194"/>
                  </a:cubicBezTo>
                  <a:cubicBezTo>
                    <a:pt x="4056120" y="875194"/>
                    <a:pt x="4057004" y="875194"/>
                    <a:pt x="4058014" y="875194"/>
                  </a:cubicBezTo>
                  <a:lnTo>
                    <a:pt x="4998516" y="878983"/>
                  </a:lnTo>
                  <a:cubicBezTo>
                    <a:pt x="5095762" y="879362"/>
                    <a:pt x="5157013" y="903484"/>
                    <a:pt x="5170779" y="946928"/>
                  </a:cubicBezTo>
                  <a:cubicBezTo>
                    <a:pt x="5184545" y="990373"/>
                    <a:pt x="5148552" y="1045310"/>
                    <a:pt x="5069240" y="1101889"/>
                  </a:cubicBezTo>
                  <a:lnTo>
                    <a:pt x="3250083" y="2398738"/>
                  </a:lnTo>
                  <a:lnTo>
                    <a:pt x="4831683" y="4790645"/>
                  </a:lnTo>
                  <a:cubicBezTo>
                    <a:pt x="4939284" y="4953436"/>
                    <a:pt x="4898365" y="5179248"/>
                    <a:pt x="4740373" y="5293922"/>
                  </a:cubicBezTo>
                  <a:lnTo>
                    <a:pt x="3695606" y="6052248"/>
                  </a:lnTo>
                  <a:lnTo>
                    <a:pt x="3681727" y="6031137"/>
                  </a:lnTo>
                  <a:lnTo>
                    <a:pt x="4725597" y="5273462"/>
                  </a:lnTo>
                  <a:cubicBezTo>
                    <a:pt x="4872728" y="5166619"/>
                    <a:pt x="4910868" y="4956215"/>
                    <a:pt x="4810592" y="4804538"/>
                  </a:cubicBezTo>
                  <a:lnTo>
                    <a:pt x="3229505" y="2413407"/>
                  </a:lnTo>
                  <a:lnTo>
                    <a:pt x="2132018" y="3195789"/>
                  </a:lnTo>
                  <a:lnTo>
                    <a:pt x="3207811" y="4831438"/>
                  </a:lnTo>
                  <a:cubicBezTo>
                    <a:pt x="3288323" y="4953816"/>
                    <a:pt x="3284795" y="5110932"/>
                    <a:pt x="3210866" y="5229686"/>
                  </a:cubicBezTo>
                  <a:lnTo>
                    <a:pt x="3180722" y="5269045"/>
                  </a:lnTo>
                  <a:lnTo>
                    <a:pt x="3166174" y="5246915"/>
                  </a:lnTo>
                  <a:lnTo>
                    <a:pt x="3189780" y="5216084"/>
                  </a:lnTo>
                  <a:cubicBezTo>
                    <a:pt x="3258605" y="5105493"/>
                    <a:pt x="3261897" y="4959152"/>
                    <a:pt x="3186973" y="4845204"/>
                  </a:cubicBezTo>
                  <a:lnTo>
                    <a:pt x="2111621" y="3210329"/>
                  </a:lnTo>
                  <a:lnTo>
                    <a:pt x="1941349" y="3331713"/>
                  </a:lnTo>
                  <a:lnTo>
                    <a:pt x="1919622" y="3350752"/>
                  </a:lnTo>
                  <a:lnTo>
                    <a:pt x="1905673" y="3329534"/>
                  </a:lnTo>
                  <a:lnTo>
                    <a:pt x="1926826" y="3311001"/>
                  </a:lnTo>
                  <a:lnTo>
                    <a:pt x="2097710" y="3189181"/>
                  </a:lnTo>
                  <a:lnTo>
                    <a:pt x="1602397" y="2436149"/>
                  </a:lnTo>
                  <a:lnTo>
                    <a:pt x="1410112" y="2575723"/>
                  </a:lnTo>
                  <a:lnTo>
                    <a:pt x="1396253" y="2554642"/>
                  </a:lnTo>
                  <a:lnTo>
                    <a:pt x="1588537" y="2415077"/>
                  </a:lnTo>
                  <a:close/>
                </a:path>
              </a:pathLst>
            </a:custGeom>
            <a:solidFill>
              <a:schemeClr val="lt1"/>
            </a:solidFill>
            <a:ln w="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de-DE"/>
            </a:p>
          </p:txBody>
        </p:sp>
      </p:grpSp>
      <p:grpSp>
        <p:nvGrpSpPr>
          <p:cNvPr id="20" name="logo drees&amp;sommer blue">
            <a:extLst>
              <a:ext uri="{FF2B5EF4-FFF2-40B4-BE49-F238E27FC236}">
                <a16:creationId xmlns:a16="http://schemas.microsoft.com/office/drawing/2014/main" id="{1959C79B-0EC4-F061-AA52-335F8BA7A1E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60000" y="360000"/>
            <a:ext cx="1346399" cy="406312"/>
            <a:chOff x="95247" y="1619247"/>
            <a:chExt cx="12004075" cy="3622552"/>
          </a:xfrm>
          <a:solidFill>
            <a:srgbClr val="002965"/>
          </a:solidFill>
        </p:grpSpPr>
        <p:sp>
          <p:nvSpPr>
            <p:cNvPr id="21" name="d">
              <a:extLst>
                <a:ext uri="{FF2B5EF4-FFF2-40B4-BE49-F238E27FC236}">
                  <a16:creationId xmlns:a16="http://schemas.microsoft.com/office/drawing/2014/main" id="{94760A3E-56D1-0A43-6357-4972BEEE3B88}"/>
                </a:ext>
              </a:extLst>
            </p:cNvPr>
            <p:cNvSpPr/>
            <p:nvPr/>
          </p:nvSpPr>
          <p:spPr bwMode="gray">
            <a:xfrm>
              <a:off x="146585" y="1619247"/>
              <a:ext cx="1890145" cy="1555528"/>
            </a:xfrm>
            <a:custGeom>
              <a:avLst/>
              <a:gdLst>
                <a:gd name="connsiteX0" fmla="*/ 361760 w 1890141"/>
                <a:gd name="connsiteY0" fmla="*/ 1263206 h 1555527"/>
                <a:gd name="connsiteX1" fmla="*/ 361760 w 1890141"/>
                <a:gd name="connsiteY1" fmla="*/ 277368 h 1555527"/>
                <a:gd name="connsiteX2" fmla="*/ 1003840 w 1890141"/>
                <a:gd name="connsiteY2" fmla="*/ 277368 h 1555527"/>
                <a:gd name="connsiteX3" fmla="*/ 1516380 w 1890141"/>
                <a:gd name="connsiteY3" fmla="*/ 762762 h 1555527"/>
                <a:gd name="connsiteX4" fmla="*/ 828961 w 1890141"/>
                <a:gd name="connsiteY4" fmla="*/ 1263206 h 1555527"/>
                <a:gd name="connsiteX5" fmla="*/ 361760 w 1890141"/>
                <a:gd name="connsiteY5" fmla="*/ 1263206 h 1555527"/>
                <a:gd name="connsiteX6" fmla="*/ 0 w 1890141"/>
                <a:gd name="connsiteY6" fmla="*/ 1555528 h 1555527"/>
                <a:gd name="connsiteX7" fmla="*/ 907447 w 1890141"/>
                <a:gd name="connsiteY7" fmla="*/ 1555528 h 1555527"/>
                <a:gd name="connsiteX8" fmla="*/ 1546574 w 1890141"/>
                <a:gd name="connsiteY8" fmla="*/ 1435037 h 1555527"/>
                <a:gd name="connsiteX9" fmla="*/ 1890141 w 1890141"/>
                <a:gd name="connsiteY9" fmla="*/ 768763 h 1555527"/>
                <a:gd name="connsiteX10" fmla="*/ 1000792 w 1890141"/>
                <a:gd name="connsiteY10" fmla="*/ 0 h 1555527"/>
                <a:gd name="connsiteX11" fmla="*/ 0 w 1890141"/>
                <a:gd name="connsiteY11" fmla="*/ 0 h 1555527"/>
                <a:gd name="connsiteX12" fmla="*/ 0 w 1890141"/>
                <a:gd name="connsiteY12" fmla="*/ 1555528 h 1555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90141" h="1555527">
                  <a:moveTo>
                    <a:pt x="361760" y="1263206"/>
                  </a:moveTo>
                  <a:lnTo>
                    <a:pt x="361760" y="277368"/>
                  </a:lnTo>
                  <a:lnTo>
                    <a:pt x="1003840" y="277368"/>
                  </a:lnTo>
                  <a:cubicBezTo>
                    <a:pt x="1344549" y="277368"/>
                    <a:pt x="1516380" y="446246"/>
                    <a:pt x="1516380" y="762762"/>
                  </a:cubicBezTo>
                  <a:cubicBezTo>
                    <a:pt x="1516380" y="1148620"/>
                    <a:pt x="1287209" y="1263206"/>
                    <a:pt x="828961" y="1263206"/>
                  </a:cubicBezTo>
                  <a:lnTo>
                    <a:pt x="361760" y="1263206"/>
                  </a:lnTo>
                  <a:close/>
                  <a:moveTo>
                    <a:pt x="0" y="1555528"/>
                  </a:moveTo>
                  <a:lnTo>
                    <a:pt x="907447" y="1555528"/>
                  </a:lnTo>
                  <a:cubicBezTo>
                    <a:pt x="1184624" y="1555528"/>
                    <a:pt x="1395698" y="1528382"/>
                    <a:pt x="1546574" y="1435037"/>
                  </a:cubicBezTo>
                  <a:cubicBezTo>
                    <a:pt x="1763649" y="1302353"/>
                    <a:pt x="1890141" y="1061180"/>
                    <a:pt x="1890141" y="768763"/>
                  </a:cubicBezTo>
                  <a:cubicBezTo>
                    <a:pt x="1890141" y="286417"/>
                    <a:pt x="1582769" y="0"/>
                    <a:pt x="1000792" y="0"/>
                  </a:cubicBezTo>
                  <a:lnTo>
                    <a:pt x="0" y="0"/>
                  </a:lnTo>
                  <a:lnTo>
                    <a:pt x="0" y="15555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  <p:sp>
          <p:nvSpPr>
            <p:cNvPr id="23" name="r">
              <a:extLst>
                <a:ext uri="{FF2B5EF4-FFF2-40B4-BE49-F238E27FC236}">
                  <a16:creationId xmlns:a16="http://schemas.microsoft.com/office/drawing/2014/main" id="{53DD54E1-E232-02AA-71B0-8AB9E05D7722}"/>
                </a:ext>
              </a:extLst>
            </p:cNvPr>
            <p:cNvSpPr/>
            <p:nvPr/>
          </p:nvSpPr>
          <p:spPr bwMode="gray">
            <a:xfrm>
              <a:off x="2405150" y="1899664"/>
              <a:ext cx="1579811" cy="1275112"/>
            </a:xfrm>
            <a:custGeom>
              <a:avLst/>
              <a:gdLst>
                <a:gd name="connsiteX0" fmla="*/ 1015937 w 1579816"/>
                <a:gd name="connsiteY0" fmla="*/ 220028 h 1275111"/>
                <a:gd name="connsiteX1" fmla="*/ 1157668 w 1579816"/>
                <a:gd name="connsiteY1" fmla="*/ 322517 h 1275111"/>
                <a:gd name="connsiteX2" fmla="*/ 1157668 w 1579816"/>
                <a:gd name="connsiteY2" fmla="*/ 470249 h 1275111"/>
                <a:gd name="connsiteX3" fmla="*/ 1015937 w 1579816"/>
                <a:gd name="connsiteY3" fmla="*/ 572738 h 1275111"/>
                <a:gd name="connsiteX4" fmla="*/ 307467 w 1579816"/>
                <a:gd name="connsiteY4" fmla="*/ 572738 h 1275111"/>
                <a:gd name="connsiteX5" fmla="*/ 307467 w 1579816"/>
                <a:gd name="connsiteY5" fmla="*/ 220028 h 1275111"/>
                <a:gd name="connsiteX6" fmla="*/ 1015937 w 1579816"/>
                <a:gd name="connsiteY6" fmla="*/ 220028 h 1275111"/>
                <a:gd name="connsiteX7" fmla="*/ 0 w 1579816"/>
                <a:gd name="connsiteY7" fmla="*/ 1275112 h 1275111"/>
                <a:gd name="connsiteX8" fmla="*/ 307562 w 1579816"/>
                <a:gd name="connsiteY8" fmla="*/ 1275112 h 1275111"/>
                <a:gd name="connsiteX9" fmla="*/ 307562 w 1579816"/>
                <a:gd name="connsiteY9" fmla="*/ 792671 h 1275111"/>
                <a:gd name="connsiteX10" fmla="*/ 599980 w 1579816"/>
                <a:gd name="connsiteY10" fmla="*/ 792671 h 1275111"/>
                <a:gd name="connsiteX11" fmla="*/ 1133570 w 1579816"/>
                <a:gd name="connsiteY11" fmla="*/ 1275112 h 1275111"/>
                <a:gd name="connsiteX12" fmla="*/ 1579817 w 1579816"/>
                <a:gd name="connsiteY12" fmla="*/ 1275112 h 1275111"/>
                <a:gd name="connsiteX13" fmla="*/ 973741 w 1579816"/>
                <a:gd name="connsiteY13" fmla="*/ 792671 h 1275111"/>
                <a:gd name="connsiteX14" fmla="*/ 1148620 w 1579816"/>
                <a:gd name="connsiteY14" fmla="*/ 792671 h 1275111"/>
                <a:gd name="connsiteX15" fmla="*/ 1447133 w 1579816"/>
                <a:gd name="connsiteY15" fmla="*/ 548640 h 1275111"/>
                <a:gd name="connsiteX16" fmla="*/ 1447133 w 1579816"/>
                <a:gd name="connsiteY16" fmla="*/ 247174 h 1275111"/>
                <a:gd name="connsiteX17" fmla="*/ 1148620 w 1579816"/>
                <a:gd name="connsiteY17" fmla="*/ 0 h 1275111"/>
                <a:gd name="connsiteX18" fmla="*/ 0 w 1579816"/>
                <a:gd name="connsiteY18" fmla="*/ 0 h 1275111"/>
                <a:gd name="connsiteX19" fmla="*/ 0 w 1579816"/>
                <a:gd name="connsiteY19" fmla="*/ 1275112 h 1275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79816" h="1275111">
                  <a:moveTo>
                    <a:pt x="1015937" y="220028"/>
                  </a:moveTo>
                  <a:cubicBezTo>
                    <a:pt x="1109282" y="220028"/>
                    <a:pt x="1157668" y="238220"/>
                    <a:pt x="1157668" y="322517"/>
                  </a:cubicBezTo>
                  <a:lnTo>
                    <a:pt x="1157668" y="470249"/>
                  </a:lnTo>
                  <a:cubicBezTo>
                    <a:pt x="1157668" y="554736"/>
                    <a:pt x="1109282" y="572738"/>
                    <a:pt x="1015937" y="572738"/>
                  </a:cubicBezTo>
                  <a:lnTo>
                    <a:pt x="307467" y="572738"/>
                  </a:lnTo>
                  <a:lnTo>
                    <a:pt x="307467" y="220028"/>
                  </a:lnTo>
                  <a:lnTo>
                    <a:pt x="1015937" y="220028"/>
                  </a:lnTo>
                  <a:close/>
                  <a:moveTo>
                    <a:pt x="0" y="1275112"/>
                  </a:moveTo>
                  <a:lnTo>
                    <a:pt x="307562" y="1275112"/>
                  </a:lnTo>
                  <a:lnTo>
                    <a:pt x="307562" y="792671"/>
                  </a:lnTo>
                  <a:lnTo>
                    <a:pt x="599980" y="792671"/>
                  </a:lnTo>
                  <a:lnTo>
                    <a:pt x="1133570" y="1275112"/>
                  </a:lnTo>
                  <a:lnTo>
                    <a:pt x="1579817" y="1275112"/>
                  </a:lnTo>
                  <a:lnTo>
                    <a:pt x="973741" y="792671"/>
                  </a:lnTo>
                  <a:lnTo>
                    <a:pt x="1148620" y="792671"/>
                  </a:lnTo>
                  <a:cubicBezTo>
                    <a:pt x="1353693" y="792671"/>
                    <a:pt x="1447133" y="723329"/>
                    <a:pt x="1447133" y="548640"/>
                  </a:cubicBezTo>
                  <a:lnTo>
                    <a:pt x="1447133" y="247174"/>
                  </a:lnTo>
                  <a:cubicBezTo>
                    <a:pt x="1447133" y="69342"/>
                    <a:pt x="1353598" y="0"/>
                    <a:pt x="1148620" y="0"/>
                  </a:cubicBezTo>
                  <a:lnTo>
                    <a:pt x="0" y="0"/>
                  </a:lnTo>
                  <a:lnTo>
                    <a:pt x="0" y="12751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  <p:sp>
          <p:nvSpPr>
            <p:cNvPr id="24" name="e">
              <a:extLst>
                <a:ext uri="{FF2B5EF4-FFF2-40B4-BE49-F238E27FC236}">
                  <a16:creationId xmlns:a16="http://schemas.microsoft.com/office/drawing/2014/main" id="{DD0014E8-D9F0-E255-FE83-DBBF069948BE}"/>
                </a:ext>
              </a:extLst>
            </p:cNvPr>
            <p:cNvSpPr/>
            <p:nvPr/>
          </p:nvSpPr>
          <p:spPr bwMode="gray">
            <a:xfrm>
              <a:off x="4279102" y="1899664"/>
              <a:ext cx="1383701" cy="1275112"/>
            </a:xfrm>
            <a:custGeom>
              <a:avLst/>
              <a:gdLst>
                <a:gd name="connsiteX0" fmla="*/ 0 w 1383696"/>
                <a:gd name="connsiteY0" fmla="*/ 1275112 h 1275111"/>
                <a:gd name="connsiteX1" fmla="*/ 1383697 w 1383696"/>
                <a:gd name="connsiteY1" fmla="*/ 1275112 h 1275111"/>
                <a:gd name="connsiteX2" fmla="*/ 1383697 w 1383696"/>
                <a:gd name="connsiteY2" fmla="*/ 1036987 h 1275111"/>
                <a:gd name="connsiteX3" fmla="*/ 313563 w 1383696"/>
                <a:gd name="connsiteY3" fmla="*/ 1036987 h 1275111"/>
                <a:gd name="connsiteX4" fmla="*/ 313563 w 1383696"/>
                <a:gd name="connsiteY4" fmla="*/ 723424 h 1275111"/>
                <a:gd name="connsiteX5" fmla="*/ 928497 w 1383696"/>
                <a:gd name="connsiteY5" fmla="*/ 723424 h 1275111"/>
                <a:gd name="connsiteX6" fmla="*/ 928497 w 1383696"/>
                <a:gd name="connsiteY6" fmla="*/ 503396 h 1275111"/>
                <a:gd name="connsiteX7" fmla="*/ 313563 w 1383696"/>
                <a:gd name="connsiteY7" fmla="*/ 503396 h 1275111"/>
                <a:gd name="connsiteX8" fmla="*/ 313563 w 1383696"/>
                <a:gd name="connsiteY8" fmla="*/ 226028 h 1275111"/>
                <a:gd name="connsiteX9" fmla="*/ 1368743 w 1383696"/>
                <a:gd name="connsiteY9" fmla="*/ 226028 h 1275111"/>
                <a:gd name="connsiteX10" fmla="*/ 1368743 w 1383696"/>
                <a:gd name="connsiteY10" fmla="*/ 0 h 1275111"/>
                <a:gd name="connsiteX11" fmla="*/ 0 w 1383696"/>
                <a:gd name="connsiteY11" fmla="*/ 0 h 1275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83696" h="1275111">
                  <a:moveTo>
                    <a:pt x="0" y="1275112"/>
                  </a:moveTo>
                  <a:lnTo>
                    <a:pt x="1383697" y="1275112"/>
                  </a:lnTo>
                  <a:lnTo>
                    <a:pt x="1383697" y="1036987"/>
                  </a:lnTo>
                  <a:lnTo>
                    <a:pt x="313563" y="1036987"/>
                  </a:lnTo>
                  <a:lnTo>
                    <a:pt x="313563" y="723424"/>
                  </a:lnTo>
                  <a:lnTo>
                    <a:pt x="928497" y="723424"/>
                  </a:lnTo>
                  <a:lnTo>
                    <a:pt x="928497" y="503396"/>
                  </a:lnTo>
                  <a:lnTo>
                    <a:pt x="313563" y="503396"/>
                  </a:lnTo>
                  <a:lnTo>
                    <a:pt x="313563" y="226028"/>
                  </a:lnTo>
                  <a:lnTo>
                    <a:pt x="1368743" y="226028"/>
                  </a:lnTo>
                  <a:lnTo>
                    <a:pt x="136874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  <p:sp>
          <p:nvSpPr>
            <p:cNvPr id="25" name="e">
              <a:extLst>
                <a:ext uri="{FF2B5EF4-FFF2-40B4-BE49-F238E27FC236}">
                  <a16:creationId xmlns:a16="http://schemas.microsoft.com/office/drawing/2014/main" id="{2BD5D2CD-A5AF-826C-BB40-E5C11CBFCA0C}"/>
                </a:ext>
              </a:extLst>
            </p:cNvPr>
            <p:cNvSpPr/>
            <p:nvPr/>
          </p:nvSpPr>
          <p:spPr bwMode="gray">
            <a:xfrm>
              <a:off x="6022562" y="1899664"/>
              <a:ext cx="1383701" cy="1275112"/>
            </a:xfrm>
            <a:custGeom>
              <a:avLst/>
              <a:gdLst>
                <a:gd name="connsiteX0" fmla="*/ 0 w 1383696"/>
                <a:gd name="connsiteY0" fmla="*/ 1275112 h 1275111"/>
                <a:gd name="connsiteX1" fmla="*/ 1383697 w 1383696"/>
                <a:gd name="connsiteY1" fmla="*/ 1275112 h 1275111"/>
                <a:gd name="connsiteX2" fmla="*/ 1383697 w 1383696"/>
                <a:gd name="connsiteY2" fmla="*/ 1036987 h 1275111"/>
                <a:gd name="connsiteX3" fmla="*/ 313563 w 1383696"/>
                <a:gd name="connsiteY3" fmla="*/ 1036987 h 1275111"/>
                <a:gd name="connsiteX4" fmla="*/ 313563 w 1383696"/>
                <a:gd name="connsiteY4" fmla="*/ 723424 h 1275111"/>
                <a:gd name="connsiteX5" fmla="*/ 928497 w 1383696"/>
                <a:gd name="connsiteY5" fmla="*/ 723424 h 1275111"/>
                <a:gd name="connsiteX6" fmla="*/ 928497 w 1383696"/>
                <a:gd name="connsiteY6" fmla="*/ 503396 h 1275111"/>
                <a:gd name="connsiteX7" fmla="*/ 313563 w 1383696"/>
                <a:gd name="connsiteY7" fmla="*/ 503396 h 1275111"/>
                <a:gd name="connsiteX8" fmla="*/ 313563 w 1383696"/>
                <a:gd name="connsiteY8" fmla="*/ 226028 h 1275111"/>
                <a:gd name="connsiteX9" fmla="*/ 1368743 w 1383696"/>
                <a:gd name="connsiteY9" fmla="*/ 226028 h 1275111"/>
                <a:gd name="connsiteX10" fmla="*/ 1368743 w 1383696"/>
                <a:gd name="connsiteY10" fmla="*/ 0 h 1275111"/>
                <a:gd name="connsiteX11" fmla="*/ 0 w 1383696"/>
                <a:gd name="connsiteY11" fmla="*/ 0 h 1275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83696" h="1275111">
                  <a:moveTo>
                    <a:pt x="0" y="1275112"/>
                  </a:moveTo>
                  <a:lnTo>
                    <a:pt x="1383697" y="1275112"/>
                  </a:lnTo>
                  <a:lnTo>
                    <a:pt x="1383697" y="1036987"/>
                  </a:lnTo>
                  <a:lnTo>
                    <a:pt x="313563" y="1036987"/>
                  </a:lnTo>
                  <a:lnTo>
                    <a:pt x="313563" y="723424"/>
                  </a:lnTo>
                  <a:lnTo>
                    <a:pt x="928497" y="723424"/>
                  </a:lnTo>
                  <a:lnTo>
                    <a:pt x="928497" y="503396"/>
                  </a:lnTo>
                  <a:lnTo>
                    <a:pt x="313563" y="503396"/>
                  </a:lnTo>
                  <a:lnTo>
                    <a:pt x="313563" y="226028"/>
                  </a:lnTo>
                  <a:lnTo>
                    <a:pt x="1368743" y="226028"/>
                  </a:lnTo>
                  <a:lnTo>
                    <a:pt x="136874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  <p:sp>
          <p:nvSpPr>
            <p:cNvPr id="26" name="s">
              <a:extLst>
                <a:ext uri="{FF2B5EF4-FFF2-40B4-BE49-F238E27FC236}">
                  <a16:creationId xmlns:a16="http://schemas.microsoft.com/office/drawing/2014/main" id="{35A9CC71-C344-A46C-B581-04A60AA676AE}"/>
                </a:ext>
              </a:extLst>
            </p:cNvPr>
            <p:cNvSpPr/>
            <p:nvPr/>
          </p:nvSpPr>
          <p:spPr bwMode="gray">
            <a:xfrm>
              <a:off x="7714204" y="1899664"/>
              <a:ext cx="1495239" cy="1275213"/>
            </a:xfrm>
            <a:custGeom>
              <a:avLst/>
              <a:gdLst>
                <a:gd name="connsiteX0" fmla="*/ 1211770 w 1495234"/>
                <a:gd name="connsiteY0" fmla="*/ 229076 h 1275207"/>
                <a:gd name="connsiteX1" fmla="*/ 1211770 w 1495234"/>
                <a:gd name="connsiteY1" fmla="*/ 348234 h 1275207"/>
                <a:gd name="connsiteX2" fmla="*/ 1479995 w 1495234"/>
                <a:gd name="connsiteY2" fmla="*/ 291084 h 1275207"/>
                <a:gd name="connsiteX3" fmla="*/ 1479995 w 1495234"/>
                <a:gd name="connsiteY3" fmla="*/ 277368 h 1275207"/>
                <a:gd name="connsiteX4" fmla="*/ 1145477 w 1495234"/>
                <a:gd name="connsiteY4" fmla="*/ 0 h 1275207"/>
                <a:gd name="connsiteX5" fmla="*/ 388905 w 1495234"/>
                <a:gd name="connsiteY5" fmla="*/ 0 h 1275207"/>
                <a:gd name="connsiteX6" fmla="*/ 54197 w 1495234"/>
                <a:gd name="connsiteY6" fmla="*/ 301561 h 1275207"/>
                <a:gd name="connsiteX7" fmla="*/ 54197 w 1495234"/>
                <a:gd name="connsiteY7" fmla="*/ 443294 h 1275207"/>
                <a:gd name="connsiteX8" fmla="*/ 388905 w 1495234"/>
                <a:gd name="connsiteY8" fmla="*/ 744665 h 1275207"/>
                <a:gd name="connsiteX9" fmla="*/ 1214818 w 1495234"/>
                <a:gd name="connsiteY9" fmla="*/ 744665 h 1275207"/>
                <a:gd name="connsiteX10" fmla="*/ 1214818 w 1495234"/>
                <a:gd name="connsiteY10" fmla="*/ 1037177 h 1275207"/>
                <a:gd name="connsiteX11" fmla="*/ 277177 w 1495234"/>
                <a:gd name="connsiteY11" fmla="*/ 1037177 h 1275207"/>
                <a:gd name="connsiteX12" fmla="*/ 277177 w 1495234"/>
                <a:gd name="connsiteY12" fmla="*/ 902875 h 1275207"/>
                <a:gd name="connsiteX13" fmla="*/ 0 w 1495234"/>
                <a:gd name="connsiteY13" fmla="*/ 954214 h 1275207"/>
                <a:gd name="connsiteX14" fmla="*/ 0 w 1495234"/>
                <a:gd name="connsiteY14" fmla="*/ 973836 h 1275207"/>
                <a:gd name="connsiteX15" fmla="*/ 334518 w 1495234"/>
                <a:gd name="connsiteY15" fmla="*/ 1275207 h 1275207"/>
                <a:gd name="connsiteX16" fmla="*/ 1163669 w 1495234"/>
                <a:gd name="connsiteY16" fmla="*/ 1275207 h 1275207"/>
                <a:gd name="connsiteX17" fmla="*/ 1495234 w 1495234"/>
                <a:gd name="connsiteY17" fmla="*/ 973836 h 1275207"/>
                <a:gd name="connsiteX18" fmla="*/ 1495234 w 1495234"/>
                <a:gd name="connsiteY18" fmla="*/ 798957 h 1275207"/>
                <a:gd name="connsiteX19" fmla="*/ 1163669 w 1495234"/>
                <a:gd name="connsiteY19" fmla="*/ 497586 h 1275207"/>
                <a:gd name="connsiteX20" fmla="*/ 334518 w 1495234"/>
                <a:gd name="connsiteY20" fmla="*/ 497586 h 1275207"/>
                <a:gd name="connsiteX21" fmla="*/ 334518 w 1495234"/>
                <a:gd name="connsiteY21" fmla="*/ 229076 h 1275207"/>
                <a:gd name="connsiteX22" fmla="*/ 1211770 w 1495234"/>
                <a:gd name="connsiteY22" fmla="*/ 229076 h 127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95234" h="1275207">
                  <a:moveTo>
                    <a:pt x="1211770" y="229076"/>
                  </a:moveTo>
                  <a:lnTo>
                    <a:pt x="1211770" y="348234"/>
                  </a:lnTo>
                  <a:lnTo>
                    <a:pt x="1479995" y="291084"/>
                  </a:lnTo>
                  <a:lnTo>
                    <a:pt x="1479995" y="277368"/>
                  </a:lnTo>
                  <a:cubicBezTo>
                    <a:pt x="1479995" y="54388"/>
                    <a:pt x="1380649" y="0"/>
                    <a:pt x="1145477" y="0"/>
                  </a:cubicBezTo>
                  <a:lnTo>
                    <a:pt x="388905" y="0"/>
                  </a:lnTo>
                  <a:cubicBezTo>
                    <a:pt x="138684" y="0"/>
                    <a:pt x="54197" y="60388"/>
                    <a:pt x="54197" y="301561"/>
                  </a:cubicBezTo>
                  <a:lnTo>
                    <a:pt x="54197" y="443294"/>
                  </a:lnTo>
                  <a:cubicBezTo>
                    <a:pt x="54197" y="684467"/>
                    <a:pt x="138684" y="744665"/>
                    <a:pt x="388905" y="744665"/>
                  </a:cubicBezTo>
                  <a:lnTo>
                    <a:pt x="1214818" y="744665"/>
                  </a:lnTo>
                  <a:lnTo>
                    <a:pt x="1214818" y="1037177"/>
                  </a:lnTo>
                  <a:lnTo>
                    <a:pt x="277177" y="1037177"/>
                  </a:lnTo>
                  <a:lnTo>
                    <a:pt x="277177" y="902875"/>
                  </a:lnTo>
                  <a:lnTo>
                    <a:pt x="0" y="954214"/>
                  </a:lnTo>
                  <a:lnTo>
                    <a:pt x="0" y="973836"/>
                  </a:lnTo>
                  <a:cubicBezTo>
                    <a:pt x="0" y="1212056"/>
                    <a:pt x="81343" y="1275207"/>
                    <a:pt x="334518" y="1275207"/>
                  </a:cubicBezTo>
                  <a:lnTo>
                    <a:pt x="1163669" y="1275207"/>
                  </a:lnTo>
                  <a:cubicBezTo>
                    <a:pt x="1416844" y="1275207"/>
                    <a:pt x="1495234" y="1212056"/>
                    <a:pt x="1495234" y="973836"/>
                  </a:cubicBezTo>
                  <a:lnTo>
                    <a:pt x="1495234" y="798957"/>
                  </a:lnTo>
                  <a:cubicBezTo>
                    <a:pt x="1495234" y="557784"/>
                    <a:pt x="1416939" y="497586"/>
                    <a:pt x="1163669" y="497586"/>
                  </a:cubicBezTo>
                  <a:lnTo>
                    <a:pt x="334518" y="497586"/>
                  </a:lnTo>
                  <a:lnTo>
                    <a:pt x="334518" y="229076"/>
                  </a:lnTo>
                  <a:lnTo>
                    <a:pt x="1211770" y="22907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  <p:sp>
          <p:nvSpPr>
            <p:cNvPr id="27" name="&amp;">
              <a:extLst>
                <a:ext uri="{FF2B5EF4-FFF2-40B4-BE49-F238E27FC236}">
                  <a16:creationId xmlns:a16="http://schemas.microsoft.com/office/drawing/2014/main" id="{831C9289-BCF7-FCAC-5826-B08A01B9438C}"/>
                </a:ext>
              </a:extLst>
            </p:cNvPr>
            <p:cNvSpPr/>
            <p:nvPr/>
          </p:nvSpPr>
          <p:spPr bwMode="gray">
            <a:xfrm>
              <a:off x="9995063" y="1619247"/>
              <a:ext cx="2104259" cy="1555528"/>
            </a:xfrm>
            <a:custGeom>
              <a:avLst/>
              <a:gdLst>
                <a:gd name="connsiteX0" fmla="*/ 304514 w 2104263"/>
                <a:gd name="connsiteY0" fmla="*/ 1284161 h 1555527"/>
                <a:gd name="connsiteX1" fmla="*/ 304514 w 2104263"/>
                <a:gd name="connsiteY1" fmla="*/ 1018985 h 1555527"/>
                <a:gd name="connsiteX2" fmla="*/ 702373 w 2104263"/>
                <a:gd name="connsiteY2" fmla="*/ 771811 h 1555527"/>
                <a:gd name="connsiteX3" fmla="*/ 1169575 w 2104263"/>
                <a:gd name="connsiteY3" fmla="*/ 1160717 h 1555527"/>
                <a:gd name="connsiteX4" fmla="*/ 1024890 w 2104263"/>
                <a:gd name="connsiteY4" fmla="*/ 1284256 h 1555527"/>
                <a:gd name="connsiteX5" fmla="*/ 304514 w 2104263"/>
                <a:gd name="connsiteY5" fmla="*/ 1284256 h 1555527"/>
                <a:gd name="connsiteX6" fmla="*/ 388811 w 2104263"/>
                <a:gd name="connsiteY6" fmla="*/ 1555528 h 1555527"/>
                <a:gd name="connsiteX7" fmla="*/ 943547 w 2104263"/>
                <a:gd name="connsiteY7" fmla="*/ 1555528 h 1555527"/>
                <a:gd name="connsiteX8" fmla="*/ 1235964 w 2104263"/>
                <a:gd name="connsiteY8" fmla="*/ 1461992 h 1555527"/>
                <a:gd name="connsiteX9" fmla="*/ 1374649 w 2104263"/>
                <a:gd name="connsiteY9" fmla="*/ 1338453 h 1555527"/>
                <a:gd name="connsiteX10" fmla="*/ 1630870 w 2104263"/>
                <a:gd name="connsiteY10" fmla="*/ 1555528 h 1555527"/>
                <a:gd name="connsiteX11" fmla="*/ 2104264 w 2104263"/>
                <a:gd name="connsiteY11" fmla="*/ 1555528 h 1555527"/>
                <a:gd name="connsiteX12" fmla="*/ 1612869 w 2104263"/>
                <a:gd name="connsiteY12" fmla="*/ 1142429 h 1555527"/>
                <a:gd name="connsiteX13" fmla="*/ 1971580 w 2104263"/>
                <a:gd name="connsiteY13" fmla="*/ 844106 h 1555527"/>
                <a:gd name="connsiteX14" fmla="*/ 1766507 w 2104263"/>
                <a:gd name="connsiteY14" fmla="*/ 666274 h 1555527"/>
                <a:gd name="connsiteX15" fmla="*/ 1404747 w 2104263"/>
                <a:gd name="connsiteY15" fmla="*/ 967645 h 1555527"/>
                <a:gd name="connsiteX16" fmla="*/ 672180 w 2104263"/>
                <a:gd name="connsiteY16" fmla="*/ 358712 h 1555527"/>
                <a:gd name="connsiteX17" fmla="*/ 672180 w 2104263"/>
                <a:gd name="connsiteY17" fmla="*/ 247174 h 1555527"/>
                <a:gd name="connsiteX18" fmla="*/ 1181767 w 2104263"/>
                <a:gd name="connsiteY18" fmla="*/ 247174 h 1555527"/>
                <a:gd name="connsiteX19" fmla="*/ 1181767 w 2104263"/>
                <a:gd name="connsiteY19" fmla="*/ 455295 h 1555527"/>
                <a:gd name="connsiteX20" fmla="*/ 1461992 w 2104263"/>
                <a:gd name="connsiteY20" fmla="*/ 407099 h 1555527"/>
                <a:gd name="connsiteX21" fmla="*/ 1461992 w 2104263"/>
                <a:gd name="connsiteY21" fmla="*/ 313563 h 1555527"/>
                <a:gd name="connsiteX22" fmla="*/ 1076134 w 2104263"/>
                <a:gd name="connsiteY22" fmla="*/ 0 h 1555527"/>
                <a:gd name="connsiteX23" fmla="*/ 762763 w 2104263"/>
                <a:gd name="connsiteY23" fmla="*/ 0 h 1555527"/>
                <a:gd name="connsiteX24" fmla="*/ 376905 w 2104263"/>
                <a:gd name="connsiteY24" fmla="*/ 283369 h 1555527"/>
                <a:gd name="connsiteX25" fmla="*/ 376905 w 2104263"/>
                <a:gd name="connsiteY25" fmla="*/ 370713 h 1555527"/>
                <a:gd name="connsiteX26" fmla="*/ 509588 w 2104263"/>
                <a:gd name="connsiteY26" fmla="*/ 605885 h 1555527"/>
                <a:gd name="connsiteX27" fmla="*/ 192881 w 2104263"/>
                <a:gd name="connsiteY27" fmla="*/ 795909 h 1555527"/>
                <a:gd name="connsiteX28" fmla="*/ 0 w 2104263"/>
                <a:gd name="connsiteY28" fmla="*/ 1085279 h 1555527"/>
                <a:gd name="connsiteX29" fmla="*/ 0 w 2104263"/>
                <a:gd name="connsiteY29" fmla="*/ 1187768 h 1555527"/>
                <a:gd name="connsiteX30" fmla="*/ 388811 w 2104263"/>
                <a:gd name="connsiteY30" fmla="*/ 1555528 h 1555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104263" h="1555527">
                  <a:moveTo>
                    <a:pt x="304514" y="1284161"/>
                  </a:moveTo>
                  <a:lnTo>
                    <a:pt x="304514" y="1018985"/>
                  </a:lnTo>
                  <a:lnTo>
                    <a:pt x="702373" y="771811"/>
                  </a:lnTo>
                  <a:lnTo>
                    <a:pt x="1169575" y="1160717"/>
                  </a:lnTo>
                  <a:lnTo>
                    <a:pt x="1024890" y="1284256"/>
                  </a:lnTo>
                  <a:lnTo>
                    <a:pt x="304514" y="1284256"/>
                  </a:lnTo>
                  <a:close/>
                  <a:moveTo>
                    <a:pt x="388811" y="1555528"/>
                  </a:moveTo>
                  <a:lnTo>
                    <a:pt x="943547" y="1555528"/>
                  </a:lnTo>
                  <a:cubicBezTo>
                    <a:pt x="1073087" y="1555528"/>
                    <a:pt x="1136428" y="1549527"/>
                    <a:pt x="1235964" y="1461992"/>
                  </a:cubicBezTo>
                  <a:lnTo>
                    <a:pt x="1374649" y="1338453"/>
                  </a:lnTo>
                  <a:lnTo>
                    <a:pt x="1630870" y="1555528"/>
                  </a:lnTo>
                  <a:lnTo>
                    <a:pt x="2104264" y="1555528"/>
                  </a:lnTo>
                  <a:lnTo>
                    <a:pt x="1612869" y="1142429"/>
                  </a:lnTo>
                  <a:lnTo>
                    <a:pt x="1971580" y="844106"/>
                  </a:lnTo>
                  <a:lnTo>
                    <a:pt x="1766507" y="666274"/>
                  </a:lnTo>
                  <a:lnTo>
                    <a:pt x="1404747" y="967645"/>
                  </a:lnTo>
                  <a:lnTo>
                    <a:pt x="672180" y="358712"/>
                  </a:lnTo>
                  <a:lnTo>
                    <a:pt x="672180" y="247174"/>
                  </a:lnTo>
                  <a:lnTo>
                    <a:pt x="1181767" y="247174"/>
                  </a:lnTo>
                  <a:lnTo>
                    <a:pt x="1181767" y="455295"/>
                  </a:lnTo>
                  <a:lnTo>
                    <a:pt x="1461992" y="407099"/>
                  </a:lnTo>
                  <a:lnTo>
                    <a:pt x="1461992" y="313563"/>
                  </a:lnTo>
                  <a:cubicBezTo>
                    <a:pt x="1461992" y="60389"/>
                    <a:pt x="1356456" y="0"/>
                    <a:pt x="1076134" y="0"/>
                  </a:cubicBezTo>
                  <a:lnTo>
                    <a:pt x="762763" y="0"/>
                  </a:lnTo>
                  <a:cubicBezTo>
                    <a:pt x="497395" y="0"/>
                    <a:pt x="376905" y="60389"/>
                    <a:pt x="376905" y="283369"/>
                  </a:cubicBezTo>
                  <a:lnTo>
                    <a:pt x="376905" y="370713"/>
                  </a:lnTo>
                  <a:cubicBezTo>
                    <a:pt x="376905" y="461200"/>
                    <a:pt x="419100" y="530543"/>
                    <a:pt x="509588" y="605885"/>
                  </a:cubicBezTo>
                  <a:lnTo>
                    <a:pt x="192881" y="795909"/>
                  </a:lnTo>
                  <a:cubicBezTo>
                    <a:pt x="57341" y="877253"/>
                    <a:pt x="0" y="925449"/>
                    <a:pt x="0" y="1085279"/>
                  </a:cubicBezTo>
                  <a:lnTo>
                    <a:pt x="0" y="1187768"/>
                  </a:lnTo>
                  <a:cubicBezTo>
                    <a:pt x="0" y="1480185"/>
                    <a:pt x="96488" y="1555528"/>
                    <a:pt x="388811" y="1555528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  <p:sp>
          <p:nvSpPr>
            <p:cNvPr id="28" name="s">
              <a:extLst>
                <a:ext uri="{FF2B5EF4-FFF2-40B4-BE49-F238E27FC236}">
                  <a16:creationId xmlns:a16="http://schemas.microsoft.com/office/drawing/2014/main" id="{786AFD27-5E6B-8BF5-461E-3DAE61223002}"/>
                </a:ext>
              </a:extLst>
            </p:cNvPr>
            <p:cNvSpPr/>
            <p:nvPr/>
          </p:nvSpPr>
          <p:spPr bwMode="gray">
            <a:xfrm>
              <a:off x="95247" y="3686081"/>
              <a:ext cx="1739650" cy="1555528"/>
            </a:xfrm>
            <a:custGeom>
              <a:avLst/>
              <a:gdLst>
                <a:gd name="connsiteX0" fmla="*/ 1398842 w 1739645"/>
                <a:gd name="connsiteY0" fmla="*/ 271367 h 1555527"/>
                <a:gd name="connsiteX1" fmla="*/ 1398842 w 1739645"/>
                <a:gd name="connsiteY1" fmla="*/ 439865 h 1555527"/>
                <a:gd name="connsiteX2" fmla="*/ 1718405 w 1739645"/>
                <a:gd name="connsiteY2" fmla="*/ 364522 h 1555527"/>
                <a:gd name="connsiteX3" fmla="*/ 1718405 w 1739645"/>
                <a:gd name="connsiteY3" fmla="*/ 340709 h 1555527"/>
                <a:gd name="connsiteX4" fmla="*/ 1332548 w 1739645"/>
                <a:gd name="connsiteY4" fmla="*/ 0 h 1555527"/>
                <a:gd name="connsiteX5" fmla="*/ 449199 w 1739645"/>
                <a:gd name="connsiteY5" fmla="*/ 0 h 1555527"/>
                <a:gd name="connsiteX6" fmla="*/ 63341 w 1739645"/>
                <a:gd name="connsiteY6" fmla="*/ 367855 h 1555527"/>
                <a:gd name="connsiteX7" fmla="*/ 63341 w 1739645"/>
                <a:gd name="connsiteY7" fmla="*/ 539496 h 1555527"/>
                <a:gd name="connsiteX8" fmla="*/ 449199 w 1739645"/>
                <a:gd name="connsiteY8" fmla="*/ 907351 h 1555527"/>
                <a:gd name="connsiteX9" fmla="*/ 1419987 w 1739645"/>
                <a:gd name="connsiteY9" fmla="*/ 907351 h 1555527"/>
                <a:gd name="connsiteX10" fmla="*/ 1419987 w 1739645"/>
                <a:gd name="connsiteY10" fmla="*/ 1263110 h 1555527"/>
                <a:gd name="connsiteX11" fmla="*/ 319754 w 1739645"/>
                <a:gd name="connsiteY11" fmla="*/ 1263110 h 1555527"/>
                <a:gd name="connsiteX12" fmla="*/ 319754 w 1739645"/>
                <a:gd name="connsiteY12" fmla="*/ 1095661 h 1555527"/>
                <a:gd name="connsiteX13" fmla="*/ 0 w 1739645"/>
                <a:gd name="connsiteY13" fmla="*/ 1162050 h 1555527"/>
                <a:gd name="connsiteX14" fmla="*/ 0 w 1739645"/>
                <a:gd name="connsiteY14" fmla="*/ 1187768 h 1555527"/>
                <a:gd name="connsiteX15" fmla="*/ 388906 w 1739645"/>
                <a:gd name="connsiteY15" fmla="*/ 1555528 h 1555527"/>
                <a:gd name="connsiteX16" fmla="*/ 1350740 w 1739645"/>
                <a:gd name="connsiteY16" fmla="*/ 1555528 h 1555527"/>
                <a:gd name="connsiteX17" fmla="*/ 1739646 w 1739645"/>
                <a:gd name="connsiteY17" fmla="*/ 1187768 h 1555527"/>
                <a:gd name="connsiteX18" fmla="*/ 1739646 w 1739645"/>
                <a:gd name="connsiteY18" fmla="*/ 973741 h 1555527"/>
                <a:gd name="connsiteX19" fmla="*/ 1350740 w 1739645"/>
                <a:gd name="connsiteY19" fmla="*/ 605885 h 1555527"/>
                <a:gd name="connsiteX20" fmla="*/ 379857 w 1739645"/>
                <a:gd name="connsiteY20" fmla="*/ 605885 h 1555527"/>
                <a:gd name="connsiteX21" fmla="*/ 379857 w 1739645"/>
                <a:gd name="connsiteY21" fmla="*/ 271367 h 1555527"/>
                <a:gd name="connsiteX22" fmla="*/ 1398842 w 1739645"/>
                <a:gd name="connsiteY22" fmla="*/ 271367 h 1555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39645" h="1555527">
                  <a:moveTo>
                    <a:pt x="1398842" y="271367"/>
                  </a:moveTo>
                  <a:lnTo>
                    <a:pt x="1398842" y="439865"/>
                  </a:lnTo>
                  <a:lnTo>
                    <a:pt x="1718405" y="364522"/>
                  </a:lnTo>
                  <a:lnTo>
                    <a:pt x="1718405" y="340709"/>
                  </a:lnTo>
                  <a:cubicBezTo>
                    <a:pt x="1718405" y="72295"/>
                    <a:pt x="1609916" y="0"/>
                    <a:pt x="1332548" y="0"/>
                  </a:cubicBezTo>
                  <a:lnTo>
                    <a:pt x="449199" y="0"/>
                  </a:lnTo>
                  <a:cubicBezTo>
                    <a:pt x="156781" y="0"/>
                    <a:pt x="63341" y="75343"/>
                    <a:pt x="63341" y="367855"/>
                  </a:cubicBezTo>
                  <a:lnTo>
                    <a:pt x="63341" y="539496"/>
                  </a:lnTo>
                  <a:cubicBezTo>
                    <a:pt x="63341" y="832009"/>
                    <a:pt x="156877" y="907351"/>
                    <a:pt x="449199" y="907351"/>
                  </a:cubicBezTo>
                  <a:lnTo>
                    <a:pt x="1419987" y="907351"/>
                  </a:lnTo>
                  <a:lnTo>
                    <a:pt x="1419987" y="1263110"/>
                  </a:lnTo>
                  <a:lnTo>
                    <a:pt x="319754" y="1263110"/>
                  </a:lnTo>
                  <a:lnTo>
                    <a:pt x="319754" y="1095661"/>
                  </a:lnTo>
                  <a:lnTo>
                    <a:pt x="0" y="1162050"/>
                  </a:lnTo>
                  <a:lnTo>
                    <a:pt x="0" y="1187768"/>
                  </a:lnTo>
                  <a:cubicBezTo>
                    <a:pt x="0" y="1480185"/>
                    <a:pt x="96488" y="1555528"/>
                    <a:pt x="388906" y="1555528"/>
                  </a:cubicBezTo>
                  <a:lnTo>
                    <a:pt x="1350740" y="1555528"/>
                  </a:lnTo>
                  <a:cubicBezTo>
                    <a:pt x="1643158" y="1555528"/>
                    <a:pt x="1739646" y="1480185"/>
                    <a:pt x="1739646" y="1187768"/>
                  </a:cubicBezTo>
                  <a:lnTo>
                    <a:pt x="1739646" y="973741"/>
                  </a:lnTo>
                  <a:cubicBezTo>
                    <a:pt x="1739646" y="681228"/>
                    <a:pt x="1643158" y="605885"/>
                    <a:pt x="1350740" y="605885"/>
                  </a:cubicBezTo>
                  <a:lnTo>
                    <a:pt x="379857" y="605885"/>
                  </a:lnTo>
                  <a:lnTo>
                    <a:pt x="379857" y="271367"/>
                  </a:lnTo>
                  <a:lnTo>
                    <a:pt x="1398842" y="2713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  <p:sp>
          <p:nvSpPr>
            <p:cNvPr id="29" name="o">
              <a:extLst>
                <a:ext uri="{FF2B5EF4-FFF2-40B4-BE49-F238E27FC236}">
                  <a16:creationId xmlns:a16="http://schemas.microsoft.com/office/drawing/2014/main" id="{104D88CA-BF41-E4C5-05AB-65BE744752C4}"/>
                </a:ext>
              </a:extLst>
            </p:cNvPr>
            <p:cNvSpPr/>
            <p:nvPr/>
          </p:nvSpPr>
          <p:spPr bwMode="gray">
            <a:xfrm>
              <a:off x="2206937" y="3966587"/>
              <a:ext cx="1682019" cy="1275212"/>
            </a:xfrm>
            <a:custGeom>
              <a:avLst/>
              <a:gdLst>
                <a:gd name="connsiteX0" fmla="*/ 326041 w 1682019"/>
                <a:gd name="connsiteY0" fmla="*/ 234982 h 1275207"/>
                <a:gd name="connsiteX1" fmla="*/ 1374648 w 1682019"/>
                <a:gd name="connsiteY1" fmla="*/ 234982 h 1275207"/>
                <a:gd name="connsiteX2" fmla="*/ 1374648 w 1682019"/>
                <a:gd name="connsiteY2" fmla="*/ 1030891 h 1275207"/>
                <a:gd name="connsiteX3" fmla="*/ 326041 w 1682019"/>
                <a:gd name="connsiteY3" fmla="*/ 1030891 h 1275207"/>
                <a:gd name="connsiteX4" fmla="*/ 326041 w 1682019"/>
                <a:gd name="connsiteY4" fmla="*/ 234982 h 1275207"/>
                <a:gd name="connsiteX5" fmla="*/ 0 w 1682019"/>
                <a:gd name="connsiteY5" fmla="*/ 301371 h 1275207"/>
                <a:gd name="connsiteX6" fmla="*/ 0 w 1682019"/>
                <a:gd name="connsiteY6" fmla="*/ 973646 h 1275207"/>
                <a:gd name="connsiteX7" fmla="*/ 338233 w 1682019"/>
                <a:gd name="connsiteY7" fmla="*/ 1275207 h 1275207"/>
                <a:gd name="connsiteX8" fmla="*/ 1343787 w 1682019"/>
                <a:gd name="connsiteY8" fmla="*/ 1275207 h 1275207"/>
                <a:gd name="connsiteX9" fmla="*/ 1682020 w 1682019"/>
                <a:gd name="connsiteY9" fmla="*/ 973646 h 1275207"/>
                <a:gd name="connsiteX10" fmla="*/ 1682020 w 1682019"/>
                <a:gd name="connsiteY10" fmla="*/ 301371 h 1275207"/>
                <a:gd name="connsiteX11" fmla="*/ 1343787 w 1682019"/>
                <a:gd name="connsiteY11" fmla="*/ 0 h 1275207"/>
                <a:gd name="connsiteX12" fmla="*/ 338233 w 1682019"/>
                <a:gd name="connsiteY12" fmla="*/ 0 h 1275207"/>
                <a:gd name="connsiteX13" fmla="*/ 0 w 1682019"/>
                <a:gd name="connsiteY13" fmla="*/ 301371 h 127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82019" h="1275207">
                  <a:moveTo>
                    <a:pt x="326041" y="234982"/>
                  </a:moveTo>
                  <a:lnTo>
                    <a:pt x="1374648" y="234982"/>
                  </a:lnTo>
                  <a:lnTo>
                    <a:pt x="1374648" y="1030891"/>
                  </a:lnTo>
                  <a:lnTo>
                    <a:pt x="326041" y="1030891"/>
                  </a:lnTo>
                  <a:lnTo>
                    <a:pt x="326041" y="234982"/>
                  </a:lnTo>
                  <a:close/>
                  <a:moveTo>
                    <a:pt x="0" y="301371"/>
                  </a:moveTo>
                  <a:lnTo>
                    <a:pt x="0" y="973646"/>
                  </a:lnTo>
                  <a:cubicBezTo>
                    <a:pt x="0" y="1214819"/>
                    <a:pt x="79915" y="1275207"/>
                    <a:pt x="338233" y="1275207"/>
                  </a:cubicBezTo>
                  <a:lnTo>
                    <a:pt x="1343787" y="1275207"/>
                  </a:lnTo>
                  <a:cubicBezTo>
                    <a:pt x="1598962" y="1275207"/>
                    <a:pt x="1682020" y="1214819"/>
                    <a:pt x="1682020" y="973646"/>
                  </a:cubicBezTo>
                  <a:lnTo>
                    <a:pt x="1682020" y="301371"/>
                  </a:lnTo>
                  <a:cubicBezTo>
                    <a:pt x="1682020" y="57150"/>
                    <a:pt x="1598867" y="0"/>
                    <a:pt x="1343787" y="0"/>
                  </a:cubicBezTo>
                  <a:lnTo>
                    <a:pt x="338233" y="0"/>
                  </a:lnTo>
                  <a:cubicBezTo>
                    <a:pt x="83153" y="0"/>
                    <a:pt x="0" y="57150"/>
                    <a:pt x="0" y="30137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  <p:sp>
          <p:nvSpPr>
            <p:cNvPr id="30" name="m">
              <a:extLst>
                <a:ext uri="{FF2B5EF4-FFF2-40B4-BE49-F238E27FC236}">
                  <a16:creationId xmlns:a16="http://schemas.microsoft.com/office/drawing/2014/main" id="{1242DE9F-5B8F-1149-2A64-61CC67D1E1D8}"/>
                </a:ext>
              </a:extLst>
            </p:cNvPr>
            <p:cNvSpPr/>
            <p:nvPr/>
          </p:nvSpPr>
          <p:spPr bwMode="gray">
            <a:xfrm>
              <a:off x="4290154" y="3966498"/>
              <a:ext cx="1815752" cy="1275212"/>
            </a:xfrm>
            <a:custGeom>
              <a:avLst/>
              <a:gdLst>
                <a:gd name="connsiteX0" fmla="*/ 1560576 w 1815750"/>
                <a:gd name="connsiteY0" fmla="*/ 0 h 1275207"/>
                <a:gd name="connsiteX1" fmla="*/ 927163 w 1815750"/>
                <a:gd name="connsiteY1" fmla="*/ 756571 h 1275207"/>
                <a:gd name="connsiteX2" fmla="*/ 290703 w 1815750"/>
                <a:gd name="connsiteY2" fmla="*/ 0 h 1275207"/>
                <a:gd name="connsiteX3" fmla="*/ 0 w 1815750"/>
                <a:gd name="connsiteY3" fmla="*/ 0 h 1275207"/>
                <a:gd name="connsiteX4" fmla="*/ 0 w 1815750"/>
                <a:gd name="connsiteY4" fmla="*/ 1275207 h 1275207"/>
                <a:gd name="connsiteX5" fmla="*/ 290703 w 1815750"/>
                <a:gd name="connsiteY5" fmla="*/ 1275207 h 1275207"/>
                <a:gd name="connsiteX6" fmla="*/ 290703 w 1815750"/>
                <a:gd name="connsiteY6" fmla="*/ 419100 h 1275207"/>
                <a:gd name="connsiteX7" fmla="*/ 877919 w 1815750"/>
                <a:gd name="connsiteY7" fmla="*/ 1121474 h 1275207"/>
                <a:gd name="connsiteX8" fmla="*/ 939356 w 1815750"/>
                <a:gd name="connsiteY8" fmla="*/ 1121474 h 1275207"/>
                <a:gd name="connsiteX9" fmla="*/ 1520571 w 1815750"/>
                <a:gd name="connsiteY9" fmla="*/ 397859 h 1275207"/>
                <a:gd name="connsiteX10" fmla="*/ 1520571 w 1815750"/>
                <a:gd name="connsiteY10" fmla="*/ 1275207 h 1275207"/>
                <a:gd name="connsiteX11" fmla="*/ 1815751 w 1815750"/>
                <a:gd name="connsiteY11" fmla="*/ 1275207 h 1275207"/>
                <a:gd name="connsiteX12" fmla="*/ 1815751 w 1815750"/>
                <a:gd name="connsiteY12" fmla="*/ 0 h 127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15750" h="1275207">
                  <a:moveTo>
                    <a:pt x="1560576" y="0"/>
                  </a:moveTo>
                  <a:lnTo>
                    <a:pt x="927163" y="756571"/>
                  </a:lnTo>
                  <a:lnTo>
                    <a:pt x="290703" y="0"/>
                  </a:lnTo>
                  <a:lnTo>
                    <a:pt x="0" y="0"/>
                  </a:lnTo>
                  <a:lnTo>
                    <a:pt x="0" y="1275207"/>
                  </a:lnTo>
                  <a:lnTo>
                    <a:pt x="290703" y="1275207"/>
                  </a:lnTo>
                  <a:lnTo>
                    <a:pt x="290703" y="419100"/>
                  </a:lnTo>
                  <a:lnTo>
                    <a:pt x="877919" y="1121474"/>
                  </a:lnTo>
                  <a:lnTo>
                    <a:pt x="939356" y="1121474"/>
                  </a:lnTo>
                  <a:lnTo>
                    <a:pt x="1520571" y="397859"/>
                  </a:lnTo>
                  <a:lnTo>
                    <a:pt x="1520571" y="1275207"/>
                  </a:lnTo>
                  <a:lnTo>
                    <a:pt x="1815751" y="1275207"/>
                  </a:lnTo>
                  <a:lnTo>
                    <a:pt x="181575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  <p:sp>
          <p:nvSpPr>
            <p:cNvPr id="31" name="m">
              <a:extLst>
                <a:ext uri="{FF2B5EF4-FFF2-40B4-BE49-F238E27FC236}">
                  <a16:creationId xmlns:a16="http://schemas.microsoft.com/office/drawing/2014/main" id="{4E6F8428-28EF-BACA-56F2-D92CF0402F6B}"/>
                </a:ext>
              </a:extLst>
            </p:cNvPr>
            <p:cNvSpPr/>
            <p:nvPr/>
          </p:nvSpPr>
          <p:spPr bwMode="gray">
            <a:xfrm>
              <a:off x="6535096" y="3966498"/>
              <a:ext cx="1815752" cy="1275212"/>
            </a:xfrm>
            <a:custGeom>
              <a:avLst/>
              <a:gdLst>
                <a:gd name="connsiteX0" fmla="*/ 1560672 w 1815750"/>
                <a:gd name="connsiteY0" fmla="*/ 0 h 1275207"/>
                <a:gd name="connsiteX1" fmla="*/ 927164 w 1815750"/>
                <a:gd name="connsiteY1" fmla="*/ 756571 h 1275207"/>
                <a:gd name="connsiteX2" fmla="*/ 290799 w 1815750"/>
                <a:gd name="connsiteY2" fmla="*/ 0 h 1275207"/>
                <a:gd name="connsiteX3" fmla="*/ 0 w 1815750"/>
                <a:gd name="connsiteY3" fmla="*/ 0 h 1275207"/>
                <a:gd name="connsiteX4" fmla="*/ 0 w 1815750"/>
                <a:gd name="connsiteY4" fmla="*/ 1275207 h 1275207"/>
                <a:gd name="connsiteX5" fmla="*/ 290799 w 1815750"/>
                <a:gd name="connsiteY5" fmla="*/ 1275207 h 1275207"/>
                <a:gd name="connsiteX6" fmla="*/ 290799 w 1815750"/>
                <a:gd name="connsiteY6" fmla="*/ 419100 h 1275207"/>
                <a:gd name="connsiteX7" fmla="*/ 878015 w 1815750"/>
                <a:gd name="connsiteY7" fmla="*/ 1121474 h 1275207"/>
                <a:gd name="connsiteX8" fmla="*/ 939546 w 1815750"/>
                <a:gd name="connsiteY8" fmla="*/ 1121474 h 1275207"/>
                <a:gd name="connsiteX9" fmla="*/ 1520571 w 1815750"/>
                <a:gd name="connsiteY9" fmla="*/ 397859 h 1275207"/>
                <a:gd name="connsiteX10" fmla="*/ 1520571 w 1815750"/>
                <a:gd name="connsiteY10" fmla="*/ 1275207 h 1275207"/>
                <a:gd name="connsiteX11" fmla="*/ 1815751 w 1815750"/>
                <a:gd name="connsiteY11" fmla="*/ 1275207 h 1275207"/>
                <a:gd name="connsiteX12" fmla="*/ 1815751 w 1815750"/>
                <a:gd name="connsiteY12" fmla="*/ 0 h 127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15750" h="1275207">
                  <a:moveTo>
                    <a:pt x="1560672" y="0"/>
                  </a:moveTo>
                  <a:lnTo>
                    <a:pt x="927164" y="756571"/>
                  </a:lnTo>
                  <a:lnTo>
                    <a:pt x="290799" y="0"/>
                  </a:lnTo>
                  <a:lnTo>
                    <a:pt x="0" y="0"/>
                  </a:lnTo>
                  <a:lnTo>
                    <a:pt x="0" y="1275207"/>
                  </a:lnTo>
                  <a:lnTo>
                    <a:pt x="290799" y="1275207"/>
                  </a:lnTo>
                  <a:lnTo>
                    <a:pt x="290799" y="419100"/>
                  </a:lnTo>
                  <a:lnTo>
                    <a:pt x="878015" y="1121474"/>
                  </a:lnTo>
                  <a:lnTo>
                    <a:pt x="939546" y="1121474"/>
                  </a:lnTo>
                  <a:lnTo>
                    <a:pt x="1520571" y="397859"/>
                  </a:lnTo>
                  <a:lnTo>
                    <a:pt x="1520571" y="1275207"/>
                  </a:lnTo>
                  <a:lnTo>
                    <a:pt x="1815751" y="1275207"/>
                  </a:lnTo>
                  <a:lnTo>
                    <a:pt x="181575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  <p:sp>
          <p:nvSpPr>
            <p:cNvPr id="32" name="e">
              <a:extLst>
                <a:ext uri="{FF2B5EF4-FFF2-40B4-BE49-F238E27FC236}">
                  <a16:creationId xmlns:a16="http://schemas.microsoft.com/office/drawing/2014/main" id="{A32A4802-2A9C-0E97-E1B2-EF5B8AC77B0E}"/>
                </a:ext>
              </a:extLst>
            </p:cNvPr>
            <p:cNvSpPr/>
            <p:nvPr/>
          </p:nvSpPr>
          <p:spPr bwMode="gray">
            <a:xfrm>
              <a:off x="8765757" y="3966498"/>
              <a:ext cx="1411313" cy="1275212"/>
            </a:xfrm>
            <a:custGeom>
              <a:avLst/>
              <a:gdLst>
                <a:gd name="connsiteX0" fmla="*/ 0 w 1411319"/>
                <a:gd name="connsiteY0" fmla="*/ 0 h 1275207"/>
                <a:gd name="connsiteX1" fmla="*/ 0 w 1411319"/>
                <a:gd name="connsiteY1" fmla="*/ 1275207 h 1275207"/>
                <a:gd name="connsiteX2" fmla="*/ 1411319 w 1411319"/>
                <a:gd name="connsiteY2" fmla="*/ 1275207 h 1275207"/>
                <a:gd name="connsiteX3" fmla="*/ 1411319 w 1411319"/>
                <a:gd name="connsiteY3" fmla="*/ 1036987 h 1275207"/>
                <a:gd name="connsiteX4" fmla="*/ 319850 w 1411319"/>
                <a:gd name="connsiteY4" fmla="*/ 1036987 h 1275207"/>
                <a:gd name="connsiteX5" fmla="*/ 319850 w 1411319"/>
                <a:gd name="connsiteY5" fmla="*/ 723424 h 1275207"/>
                <a:gd name="connsiteX6" fmla="*/ 947166 w 1411319"/>
                <a:gd name="connsiteY6" fmla="*/ 723424 h 1275207"/>
                <a:gd name="connsiteX7" fmla="*/ 947166 w 1411319"/>
                <a:gd name="connsiteY7" fmla="*/ 503396 h 1275207"/>
                <a:gd name="connsiteX8" fmla="*/ 319850 w 1411319"/>
                <a:gd name="connsiteY8" fmla="*/ 503396 h 1275207"/>
                <a:gd name="connsiteX9" fmla="*/ 319850 w 1411319"/>
                <a:gd name="connsiteY9" fmla="*/ 226219 h 1275207"/>
                <a:gd name="connsiteX10" fmla="*/ 1395984 w 1411319"/>
                <a:gd name="connsiteY10" fmla="*/ 226219 h 1275207"/>
                <a:gd name="connsiteX11" fmla="*/ 1395984 w 1411319"/>
                <a:gd name="connsiteY11" fmla="*/ 0 h 127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1319" h="1275207">
                  <a:moveTo>
                    <a:pt x="0" y="0"/>
                  </a:moveTo>
                  <a:lnTo>
                    <a:pt x="0" y="1275207"/>
                  </a:lnTo>
                  <a:lnTo>
                    <a:pt x="1411319" y="1275207"/>
                  </a:lnTo>
                  <a:lnTo>
                    <a:pt x="1411319" y="1036987"/>
                  </a:lnTo>
                  <a:lnTo>
                    <a:pt x="319850" y="1036987"/>
                  </a:lnTo>
                  <a:lnTo>
                    <a:pt x="319850" y="723424"/>
                  </a:lnTo>
                  <a:lnTo>
                    <a:pt x="947166" y="723424"/>
                  </a:lnTo>
                  <a:lnTo>
                    <a:pt x="947166" y="503396"/>
                  </a:lnTo>
                  <a:lnTo>
                    <a:pt x="319850" y="503396"/>
                  </a:lnTo>
                  <a:lnTo>
                    <a:pt x="319850" y="226219"/>
                  </a:lnTo>
                  <a:lnTo>
                    <a:pt x="1395984" y="226219"/>
                  </a:lnTo>
                  <a:lnTo>
                    <a:pt x="1395984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  <p:sp>
          <p:nvSpPr>
            <p:cNvPr id="33" name="r">
              <a:extLst>
                <a:ext uri="{FF2B5EF4-FFF2-40B4-BE49-F238E27FC236}">
                  <a16:creationId xmlns:a16="http://schemas.microsoft.com/office/drawing/2014/main" id="{50675A61-77EE-1DFC-09AF-649465E5B3A1}"/>
                </a:ext>
              </a:extLst>
            </p:cNvPr>
            <p:cNvSpPr/>
            <p:nvPr/>
          </p:nvSpPr>
          <p:spPr bwMode="gray">
            <a:xfrm>
              <a:off x="10504356" y="3966498"/>
              <a:ext cx="1579811" cy="1275212"/>
            </a:xfrm>
            <a:custGeom>
              <a:avLst/>
              <a:gdLst>
                <a:gd name="connsiteX0" fmla="*/ 1015937 w 1579817"/>
                <a:gd name="connsiteY0" fmla="*/ 220028 h 1275207"/>
                <a:gd name="connsiteX1" fmla="*/ 1157669 w 1579817"/>
                <a:gd name="connsiteY1" fmla="*/ 322517 h 1275207"/>
                <a:gd name="connsiteX2" fmla="*/ 1157669 w 1579817"/>
                <a:gd name="connsiteY2" fmla="*/ 470249 h 1275207"/>
                <a:gd name="connsiteX3" fmla="*/ 1015937 w 1579817"/>
                <a:gd name="connsiteY3" fmla="*/ 572738 h 1275207"/>
                <a:gd name="connsiteX4" fmla="*/ 307467 w 1579817"/>
                <a:gd name="connsiteY4" fmla="*/ 572738 h 1275207"/>
                <a:gd name="connsiteX5" fmla="*/ 307467 w 1579817"/>
                <a:gd name="connsiteY5" fmla="*/ 220028 h 1275207"/>
                <a:gd name="connsiteX6" fmla="*/ 1015937 w 1579817"/>
                <a:gd name="connsiteY6" fmla="*/ 220028 h 1275207"/>
                <a:gd name="connsiteX7" fmla="*/ 0 w 1579817"/>
                <a:gd name="connsiteY7" fmla="*/ 1275207 h 1275207"/>
                <a:gd name="connsiteX8" fmla="*/ 307563 w 1579817"/>
                <a:gd name="connsiteY8" fmla="*/ 1275207 h 1275207"/>
                <a:gd name="connsiteX9" fmla="*/ 307563 w 1579817"/>
                <a:gd name="connsiteY9" fmla="*/ 792766 h 1275207"/>
                <a:gd name="connsiteX10" fmla="*/ 599981 w 1579817"/>
                <a:gd name="connsiteY10" fmla="*/ 792766 h 1275207"/>
                <a:gd name="connsiteX11" fmla="*/ 1133570 w 1579817"/>
                <a:gd name="connsiteY11" fmla="*/ 1275207 h 1275207"/>
                <a:gd name="connsiteX12" fmla="*/ 1579818 w 1579817"/>
                <a:gd name="connsiteY12" fmla="*/ 1275207 h 1275207"/>
                <a:gd name="connsiteX13" fmla="*/ 973931 w 1579817"/>
                <a:gd name="connsiteY13" fmla="*/ 792766 h 1275207"/>
                <a:gd name="connsiteX14" fmla="*/ 1148811 w 1579817"/>
                <a:gd name="connsiteY14" fmla="*/ 792766 h 1275207"/>
                <a:gd name="connsiteX15" fmla="*/ 1447229 w 1579817"/>
                <a:gd name="connsiteY15" fmla="*/ 548545 h 1275207"/>
                <a:gd name="connsiteX16" fmla="*/ 1447229 w 1579817"/>
                <a:gd name="connsiteY16" fmla="*/ 247174 h 1275207"/>
                <a:gd name="connsiteX17" fmla="*/ 1148811 w 1579817"/>
                <a:gd name="connsiteY17" fmla="*/ 0 h 1275207"/>
                <a:gd name="connsiteX18" fmla="*/ 191 w 1579817"/>
                <a:gd name="connsiteY18" fmla="*/ 0 h 1275207"/>
                <a:gd name="connsiteX19" fmla="*/ 191 w 1579817"/>
                <a:gd name="connsiteY19" fmla="*/ 1275207 h 127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79817" h="1275207">
                  <a:moveTo>
                    <a:pt x="1015937" y="220028"/>
                  </a:moveTo>
                  <a:cubicBezTo>
                    <a:pt x="1109282" y="220028"/>
                    <a:pt x="1157669" y="238220"/>
                    <a:pt x="1157669" y="322517"/>
                  </a:cubicBezTo>
                  <a:lnTo>
                    <a:pt x="1157669" y="470249"/>
                  </a:lnTo>
                  <a:cubicBezTo>
                    <a:pt x="1157669" y="554736"/>
                    <a:pt x="1109282" y="572738"/>
                    <a:pt x="1015937" y="572738"/>
                  </a:cubicBezTo>
                  <a:lnTo>
                    <a:pt x="307467" y="572738"/>
                  </a:lnTo>
                  <a:lnTo>
                    <a:pt x="307467" y="220028"/>
                  </a:lnTo>
                  <a:lnTo>
                    <a:pt x="1015937" y="220028"/>
                  </a:lnTo>
                  <a:close/>
                  <a:moveTo>
                    <a:pt x="0" y="1275207"/>
                  </a:moveTo>
                  <a:lnTo>
                    <a:pt x="307563" y="1275207"/>
                  </a:lnTo>
                  <a:lnTo>
                    <a:pt x="307563" y="792766"/>
                  </a:lnTo>
                  <a:lnTo>
                    <a:pt x="599981" y="792766"/>
                  </a:lnTo>
                  <a:lnTo>
                    <a:pt x="1133570" y="1275207"/>
                  </a:lnTo>
                  <a:lnTo>
                    <a:pt x="1579818" y="1275207"/>
                  </a:lnTo>
                  <a:lnTo>
                    <a:pt x="973931" y="792766"/>
                  </a:lnTo>
                  <a:lnTo>
                    <a:pt x="1148811" y="792766"/>
                  </a:lnTo>
                  <a:cubicBezTo>
                    <a:pt x="1353693" y="792766"/>
                    <a:pt x="1447229" y="723424"/>
                    <a:pt x="1447229" y="548545"/>
                  </a:cubicBezTo>
                  <a:lnTo>
                    <a:pt x="1447229" y="247174"/>
                  </a:lnTo>
                  <a:cubicBezTo>
                    <a:pt x="1447229" y="69342"/>
                    <a:pt x="1353693" y="0"/>
                    <a:pt x="1148811" y="0"/>
                  </a:cubicBezTo>
                  <a:lnTo>
                    <a:pt x="191" y="0"/>
                  </a:lnTo>
                  <a:lnTo>
                    <a:pt x="191" y="127520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</p:grpSp>
      <p:sp>
        <p:nvSpPr>
          <p:cNvPr id="59" name="title">
            <a:extLst>
              <a:ext uri="{FF2B5EF4-FFF2-40B4-BE49-F238E27FC236}">
                <a16:creationId xmlns:a16="http://schemas.microsoft.com/office/drawing/2014/main" id="{22B0E369-2508-F005-CB3C-E92E5C671B16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0" y="1310400"/>
            <a:ext cx="6480000" cy="402480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wrap="square" lIns="316800" tIns="0" rIns="0" bIns="0" anchor="b">
            <a:noAutofit/>
          </a:bodyPr>
          <a:lstStyle>
            <a:lvl1pPr algn="l">
              <a:lnSpc>
                <a:spcPct val="75000"/>
              </a:lnSpc>
              <a:defRPr sz="5800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D3F50A68-F558-4D31-BE77-E20AB0A299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0" y="5677200"/>
            <a:ext cx="7200000" cy="1180800"/>
          </a:xfrm>
        </p:spPr>
        <p:txBody>
          <a:bodyPr lIns="342000" rIns="0" bIns="0">
            <a:noAutofit/>
          </a:bodyPr>
          <a:lstStyle>
            <a:lvl1pPr marL="0" indent="0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None/>
              <a:defRPr sz="2600" cap="all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Title / Speaker / Date / Location</a:t>
            </a:r>
            <a:endParaRPr lang="en-US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F1423FEB-CFD7-4376-A0C4-D91B3BE028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525600" y="7200000"/>
            <a:ext cx="234000" cy="180000"/>
          </a:xfrm>
        </p:spPr>
        <p:txBody>
          <a:bodyPr lIns="0" tIns="0" rIns="0" bIns="0"/>
          <a:lstStyle/>
          <a:p>
            <a:fld id="{9829449A-3FF3-45CE-9F4F-09BADC0910C6}" type="slidenum">
              <a:rPr lang="de-DE" noProof="0"/>
              <a:t>‹Nr.›</a:t>
            </a:fld>
            <a:endParaRPr lang="de-DE" noProof="0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190677E9-326C-4EF5-ADE8-5E9E2D32D3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763200" y="7200000"/>
            <a:ext cx="7880400" cy="180000"/>
          </a:xfrm>
        </p:spPr>
        <p:txBody>
          <a:bodyPr lIns="0" tIns="0" rIns="0" bIns="0"/>
          <a:lstStyle/>
          <a:p>
            <a:endParaRPr lang="de-DE" noProof="0" dirty="0"/>
          </a:p>
        </p:txBody>
      </p:sp>
      <p:grpSp>
        <p:nvGrpSpPr>
          <p:cNvPr id="9" name="info">
            <a:extLst>
              <a:ext uri="{FF2B5EF4-FFF2-40B4-BE49-F238E27FC236}">
                <a16:creationId xmlns:a16="http://schemas.microsoft.com/office/drawing/2014/main" id="{EE930D06-95E3-C2EF-451A-82133FC0129D}"/>
              </a:ext>
            </a:extLst>
          </p:cNvPr>
          <p:cNvGrpSpPr/>
          <p:nvPr userDrawn="1"/>
        </p:nvGrpSpPr>
        <p:grpSpPr>
          <a:xfrm flipH="1">
            <a:off x="-1721905" y="3683000"/>
            <a:ext cx="1579616" cy="1645286"/>
            <a:chOff x="12399720" y="3776028"/>
            <a:chExt cx="1579616" cy="1645286"/>
          </a:xfrm>
          <a:solidFill>
            <a:srgbClr val="002965"/>
          </a:solidFill>
        </p:grpSpPr>
        <p:sp>
          <p:nvSpPr>
            <p:cNvPr id="10" name="info">
              <a:extLst>
                <a:ext uri="{FF2B5EF4-FFF2-40B4-BE49-F238E27FC236}">
                  <a16:creationId xmlns:a16="http://schemas.microsoft.com/office/drawing/2014/main" id="{D8F2DC66-8DB7-50E6-D9BF-1B695AFE9D86}"/>
                </a:ext>
              </a:extLst>
            </p:cNvPr>
            <p:cNvSpPr/>
            <p:nvPr userDrawn="1"/>
          </p:nvSpPr>
          <p:spPr bwMode="gray">
            <a:xfrm flipH="1">
              <a:off x="12399720" y="4947928"/>
              <a:ext cx="1579616" cy="473385"/>
            </a:xfrm>
            <a:prstGeom prst="homePlat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36000" rtlCol="0" anchor="ctr">
              <a:spAutoFit/>
            </a:bodyPr>
            <a:lstStyle/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>
                <a:solidFill>
                  <a:schemeClr val="tx2"/>
                </a:solidFill>
              </a:endParaRPr>
            </a:p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>
                <a:solidFill>
                  <a:schemeClr val="tx2"/>
                </a:solidFill>
              </a:endParaRPr>
            </a:p>
          </p:txBody>
        </p:sp>
        <p:sp>
          <p:nvSpPr>
            <p:cNvPr id="11" name="info">
              <a:extLst>
                <a:ext uri="{FF2B5EF4-FFF2-40B4-BE49-F238E27FC236}">
                  <a16:creationId xmlns:a16="http://schemas.microsoft.com/office/drawing/2014/main" id="{807626CA-38F5-7B58-DD1F-A283A9ADDE0E}"/>
                </a:ext>
              </a:extLst>
            </p:cNvPr>
            <p:cNvSpPr/>
            <p:nvPr userDrawn="1"/>
          </p:nvSpPr>
          <p:spPr bwMode="gray">
            <a:xfrm flipH="1">
              <a:off x="12634899" y="3776028"/>
              <a:ext cx="1344423" cy="164528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36000" rtlCol="0" anchor="t">
              <a:noAutofit/>
            </a:bodyPr>
            <a:lstStyle/>
            <a:p>
              <a:r>
                <a:rPr lang="en-US" sz="1050" b="1" dirty="0"/>
                <a:t>ADJUSTING FONT SIZE ON THE COVER PAGE:</a:t>
              </a:r>
            </a:p>
            <a:p>
              <a:r>
                <a:rPr lang="en-US" sz="1050" dirty="0"/>
                <a:t>You can adjust the font size of the title to ensure that the text in the white area is easy to read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65958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background grey">
            <a:extLst>
              <a:ext uri="{FF2B5EF4-FFF2-40B4-BE49-F238E27FC236}">
                <a16:creationId xmlns:a16="http://schemas.microsoft.com/office/drawing/2014/main" id="{7F9D3300-4C95-4D81-BACD-8CC4188261BB}"/>
              </a:ext>
            </a:extLst>
          </p:cNvPr>
          <p:cNvSpPr/>
          <p:nvPr/>
        </p:nvSpPr>
        <p:spPr bwMode="gray">
          <a:xfrm>
            <a:off x="0" y="2528871"/>
            <a:ext cx="9784633" cy="356953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de-DE" sz="1400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FFCB50B-5503-4467-8A0F-9FBB8B48B9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524399" y="0"/>
            <a:ext cx="2449985" cy="1280192"/>
          </a:xfrm>
          <a:solidFill>
            <a:schemeClr val="accent1"/>
          </a:solidFill>
        </p:spPr>
        <p:txBody>
          <a:bodyPr wrap="none" lIns="432000" tIns="669600" rIns="432000" bIns="180000" anchor="t">
            <a:sp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Contact</a:t>
            </a:r>
            <a:endParaRPr lang="en-US" dirty="0"/>
          </a:p>
        </p:txBody>
      </p:sp>
      <p:sp>
        <p:nvSpPr>
          <p:cNvPr id="107" name="text 1">
            <a:extLst>
              <a:ext uri="{FF2B5EF4-FFF2-40B4-BE49-F238E27FC236}">
                <a16:creationId xmlns:a16="http://schemas.microsoft.com/office/drawing/2014/main" id="{47699D00-C79A-4282-B7BC-E3A69CC7BE8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818944" y="2384874"/>
            <a:ext cx="3178800" cy="3420000"/>
          </a:xfrm>
          <a:solidFill>
            <a:schemeClr val="bg1"/>
          </a:solidFill>
        </p:spPr>
        <p:txBody>
          <a:bodyPr lIns="1008000" tIns="216000" rIns="216000" bIns="216000"/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1" name="picture of employee 1">
            <a:extLst>
              <a:ext uri="{FF2B5EF4-FFF2-40B4-BE49-F238E27FC236}">
                <a16:creationId xmlns:a16="http://schemas.microsoft.com/office/drawing/2014/main" id="{9F42FF48-CA95-4892-8051-0BA83451993B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 bwMode="gray">
          <a:xfrm>
            <a:off x="525600" y="2242801"/>
            <a:ext cx="1093503" cy="1533745"/>
          </a:xfrm>
          <a:pattFill prst="lt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4" name="text 2">
            <a:extLst>
              <a:ext uri="{FF2B5EF4-FFF2-40B4-BE49-F238E27FC236}">
                <a16:creationId xmlns:a16="http://schemas.microsoft.com/office/drawing/2014/main" id="{7524B54E-3C46-41A3-93A8-01D7BDC0AA8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4575600" y="2382837"/>
            <a:ext cx="3178800" cy="3420000"/>
          </a:xfrm>
          <a:solidFill>
            <a:schemeClr val="bg1"/>
          </a:solidFill>
        </p:spPr>
        <p:txBody>
          <a:bodyPr lIns="1008000" tIns="216000" rIns="216000" bIns="216000"/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5" name="picture of employee 2">
            <a:extLst>
              <a:ext uri="{FF2B5EF4-FFF2-40B4-BE49-F238E27FC236}">
                <a16:creationId xmlns:a16="http://schemas.microsoft.com/office/drawing/2014/main" id="{81B581A6-07C1-4823-8751-B2B2E751AE75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 bwMode="gray">
          <a:xfrm>
            <a:off x="4287683" y="2242801"/>
            <a:ext cx="1093503" cy="1533745"/>
          </a:xfrm>
          <a:pattFill prst="lt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2" name="text 3">
            <a:extLst>
              <a:ext uri="{FF2B5EF4-FFF2-40B4-BE49-F238E27FC236}">
                <a16:creationId xmlns:a16="http://schemas.microsoft.com/office/drawing/2014/main" id="{8B964FB9-480A-40EE-B570-8A7F1C43396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8337600" y="2386800"/>
            <a:ext cx="3178800" cy="3420000"/>
          </a:xfrm>
          <a:solidFill>
            <a:schemeClr val="bg1"/>
          </a:solidFill>
        </p:spPr>
        <p:txBody>
          <a:bodyPr lIns="1008000" tIns="216000" rIns="216000" bIns="216000"/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5" name="picture of employee 3">
            <a:extLst>
              <a:ext uri="{FF2B5EF4-FFF2-40B4-BE49-F238E27FC236}">
                <a16:creationId xmlns:a16="http://schemas.microsoft.com/office/drawing/2014/main" id="{83A92F53-EC26-49B1-A7EF-E774F2867611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 bwMode="gray">
          <a:xfrm>
            <a:off x="8048316" y="2242801"/>
            <a:ext cx="1093503" cy="1533745"/>
          </a:xfrm>
          <a:pattFill prst="lt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" name="QR Code of employee 1">
            <a:extLst>
              <a:ext uri="{FF2B5EF4-FFF2-40B4-BE49-F238E27FC236}">
                <a16:creationId xmlns:a16="http://schemas.microsoft.com/office/drawing/2014/main" id="{DD6FC876-FEAF-B348-94BE-B7CAB30AC92D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195104" y="5004272"/>
            <a:ext cx="701203" cy="701203"/>
          </a:xfrm>
          <a:noFill/>
        </p:spPr>
        <p:txBody>
          <a:bodyPr vert="horz" lIns="0" tIns="0" rIns="0" bIns="0" rtlCol="0" anchor="t">
            <a:noAutofit/>
          </a:bodyPr>
          <a:lstStyle>
            <a:lvl1pPr algn="ctr">
              <a:defRPr lang="de-DE"/>
            </a:lvl1pPr>
          </a:lstStyle>
          <a:p>
            <a:pPr lvl="0"/>
            <a:r>
              <a:rPr lang="de-DE" dirty="0"/>
              <a:t>QR Code</a:t>
            </a:r>
          </a:p>
        </p:txBody>
      </p:sp>
      <p:sp>
        <p:nvSpPr>
          <p:cNvPr id="4" name="QR Code of employee 2">
            <a:extLst>
              <a:ext uri="{FF2B5EF4-FFF2-40B4-BE49-F238E27FC236}">
                <a16:creationId xmlns:a16="http://schemas.microsoft.com/office/drawing/2014/main" id="{1E4103E5-C05F-6EC6-E19D-AC67B40489C4}"/>
              </a:ext>
            </a:extLst>
          </p:cNvPr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6951760" y="5002234"/>
            <a:ext cx="701203" cy="701203"/>
          </a:xfrm>
          <a:noFill/>
        </p:spPr>
        <p:txBody>
          <a:bodyPr vert="horz" lIns="0" tIns="0" rIns="0" bIns="0" rtlCol="0" anchor="t">
            <a:noAutofit/>
          </a:bodyPr>
          <a:lstStyle>
            <a:lvl1pPr algn="ctr">
              <a:defRPr lang="de-DE"/>
            </a:lvl1pPr>
          </a:lstStyle>
          <a:p>
            <a:pPr lvl="0"/>
            <a:r>
              <a:rPr lang="de-DE" dirty="0"/>
              <a:t>QR Code</a:t>
            </a:r>
          </a:p>
        </p:txBody>
      </p:sp>
      <p:sp>
        <p:nvSpPr>
          <p:cNvPr id="7" name="QR Code of employee 3">
            <a:extLst>
              <a:ext uri="{FF2B5EF4-FFF2-40B4-BE49-F238E27FC236}">
                <a16:creationId xmlns:a16="http://schemas.microsoft.com/office/drawing/2014/main" id="{48E78CB7-3C8F-D614-C0E4-35C014CCCE3F}"/>
              </a:ext>
            </a:extLst>
          </p:cNvPr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10713760" y="5002234"/>
            <a:ext cx="701203" cy="701203"/>
          </a:xfrm>
          <a:noFill/>
        </p:spPr>
        <p:txBody>
          <a:bodyPr vert="horz" lIns="0" tIns="0" rIns="0" bIns="0" rtlCol="0" anchor="t">
            <a:noAutofit/>
          </a:bodyPr>
          <a:lstStyle>
            <a:lvl1pPr algn="ctr">
              <a:defRPr lang="de-DE"/>
            </a:lvl1pPr>
          </a:lstStyle>
          <a:p>
            <a:pPr lvl="0"/>
            <a:r>
              <a:rPr lang="de-DE" dirty="0"/>
              <a:t>QR Code</a:t>
            </a:r>
          </a:p>
        </p:txBody>
      </p:sp>
      <p:grpSp>
        <p:nvGrpSpPr>
          <p:cNvPr id="8" name="info">
            <a:extLst>
              <a:ext uri="{FF2B5EF4-FFF2-40B4-BE49-F238E27FC236}">
                <a16:creationId xmlns:a16="http://schemas.microsoft.com/office/drawing/2014/main" id="{616ADB06-6632-4F55-9772-F4B631029030}"/>
              </a:ext>
            </a:extLst>
          </p:cNvPr>
          <p:cNvGrpSpPr/>
          <p:nvPr userDrawn="1"/>
        </p:nvGrpSpPr>
        <p:grpSpPr>
          <a:xfrm flipH="1">
            <a:off x="12412785" y="3169920"/>
            <a:ext cx="2884362" cy="2634954"/>
            <a:chOff x="12236776" y="2786360"/>
            <a:chExt cx="1925720" cy="2634954"/>
          </a:xfrm>
          <a:solidFill>
            <a:srgbClr val="002965"/>
          </a:solidFill>
        </p:grpSpPr>
        <p:sp>
          <p:nvSpPr>
            <p:cNvPr id="9" name="info">
              <a:extLst>
                <a:ext uri="{FF2B5EF4-FFF2-40B4-BE49-F238E27FC236}">
                  <a16:creationId xmlns:a16="http://schemas.microsoft.com/office/drawing/2014/main" id="{2DA8CD71-FBF5-0986-3781-B516F80FC580}"/>
                </a:ext>
              </a:extLst>
            </p:cNvPr>
            <p:cNvSpPr/>
            <p:nvPr userDrawn="1"/>
          </p:nvSpPr>
          <p:spPr bwMode="gray">
            <a:xfrm>
              <a:off x="12582880" y="4947929"/>
              <a:ext cx="1579616" cy="473385"/>
            </a:xfrm>
            <a:prstGeom prst="homePlate">
              <a:avLst>
                <a:gd name="adj" fmla="val 59055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36000" rtlCol="0" anchor="ctr">
              <a:spAutoFit/>
            </a:bodyPr>
            <a:lstStyle/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 dirty="0">
                <a:solidFill>
                  <a:schemeClr val="tx2"/>
                </a:solidFill>
              </a:endParaRPr>
            </a:p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 dirty="0">
                <a:solidFill>
                  <a:schemeClr val="tx2"/>
                </a:solidFill>
              </a:endParaRPr>
            </a:p>
          </p:txBody>
        </p:sp>
        <p:sp>
          <p:nvSpPr>
            <p:cNvPr id="10" name="info">
              <a:extLst>
                <a:ext uri="{FF2B5EF4-FFF2-40B4-BE49-F238E27FC236}">
                  <a16:creationId xmlns:a16="http://schemas.microsoft.com/office/drawing/2014/main" id="{D8AF29F9-680B-3C00-9257-AB629C48945B}"/>
                </a:ext>
              </a:extLst>
            </p:cNvPr>
            <p:cNvSpPr/>
            <p:nvPr userDrawn="1"/>
          </p:nvSpPr>
          <p:spPr bwMode="gray">
            <a:xfrm flipH="1">
              <a:off x="12236776" y="2786360"/>
              <a:ext cx="1742546" cy="2634954"/>
            </a:xfrm>
            <a:prstGeom prst="rect">
              <a:avLst/>
            </a:prstGeom>
            <a:solidFill>
              <a:srgbClr val="0029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>
              <a:noAutofit/>
            </a:bodyPr>
            <a:lstStyle/>
            <a:p>
              <a:r>
                <a:rPr lang="en-US" sz="1050" b="1" dirty="0"/>
                <a:t>CREATE LINKEDIN QR CODE FOR BUSINESS CARD:</a:t>
              </a:r>
            </a:p>
            <a:p>
              <a:pPr marL="144000" indent="-144000">
                <a:buFont typeface="+mj-lt"/>
                <a:buAutoNum type="arabicPeriod"/>
              </a:pPr>
              <a:r>
                <a:rPr lang="en-US" sz="1050" dirty="0"/>
                <a:t>Open the LinkedIn app and log in.</a:t>
              </a:r>
            </a:p>
            <a:p>
              <a:pPr marL="144000" indent="-144000">
                <a:buFont typeface="+mj-lt"/>
                <a:buAutoNum type="arabicPeriod"/>
              </a:pPr>
              <a:r>
                <a:rPr lang="en-US" sz="1050" dirty="0"/>
                <a:t>Tap the search bar at the top.</a:t>
              </a:r>
            </a:p>
            <a:p>
              <a:pPr marL="144000" indent="-144000">
                <a:buFont typeface="+mj-lt"/>
                <a:buAutoNum type="arabicPeriod"/>
              </a:pPr>
              <a:r>
                <a:rPr lang="en-US" sz="1050" dirty="0"/>
                <a:t>Save the QR code displayed on the right for later use.</a:t>
              </a:r>
            </a:p>
            <a:p>
              <a:pPr>
                <a:spcBef>
                  <a:spcPts val="400"/>
                </a:spcBef>
              </a:pPr>
              <a:r>
                <a:rPr lang="en-US" sz="1050" b="1" dirty="0"/>
                <a:t>FOR CONTACT QR CODE </a:t>
              </a:r>
              <a:br>
                <a:rPr lang="en-US" sz="1050" b="1" dirty="0"/>
              </a:br>
              <a:r>
                <a:rPr lang="en-US" sz="1050" b="1" dirty="0"/>
                <a:t>(DRESONET PROFILE):</a:t>
              </a:r>
            </a:p>
            <a:p>
              <a:pPr marL="144000" indent="-144000" algn="l" defTabSz="914400" rtl="0" eaLnBrk="1" latinLnBrk="0" hangingPunct="1">
                <a:buFont typeface="+mj-lt"/>
                <a:buAutoNum type="arabicPeriod"/>
              </a:pPr>
              <a:r>
                <a:rPr lang="en-US" sz="1050" kern="1200" dirty="0">
                  <a:solidFill>
                    <a:schemeClr val="lt1"/>
                  </a:solidFill>
                  <a:latin typeface="+mn-lt"/>
                  <a:ea typeface="+mn-ea"/>
                  <a:cs typeface="+mn-cs"/>
                </a:rPr>
                <a:t>Search for your name using </a:t>
              </a:r>
              <a:r>
                <a:rPr lang="en-US" sz="1050" kern="1200" dirty="0" err="1">
                  <a:solidFill>
                    <a:schemeClr val="lt1"/>
                  </a:solidFill>
                  <a:latin typeface="+mn-lt"/>
                  <a:ea typeface="+mn-ea"/>
                  <a:cs typeface="+mn-cs"/>
                </a:rPr>
                <a:t>Dresonet's</a:t>
              </a:r>
              <a:r>
                <a:rPr lang="en-US" sz="1050" kern="1200" dirty="0">
                  <a:solidFill>
                    <a:schemeClr val="lt1"/>
                  </a:solidFill>
                  <a:latin typeface="+mn-lt"/>
                  <a:ea typeface="+mn-ea"/>
                  <a:cs typeface="+mn-cs"/>
                </a:rPr>
                <a:t> advanced search.</a:t>
              </a:r>
            </a:p>
            <a:p>
              <a:pPr marL="144000" indent="-144000" algn="l" defTabSz="914400" rtl="0" eaLnBrk="1" latinLnBrk="0" hangingPunct="1">
                <a:buFont typeface="+mj-lt"/>
                <a:buAutoNum type="arabicPeriod"/>
              </a:pPr>
              <a:r>
                <a:rPr lang="en-US" sz="1050" kern="1200" dirty="0">
                  <a:solidFill>
                    <a:schemeClr val="lt1"/>
                  </a:solidFill>
                  <a:latin typeface="+mn-lt"/>
                  <a:ea typeface="+mn-ea"/>
                  <a:cs typeface="+mn-cs"/>
                </a:rPr>
                <a:t>Click on your displayed image.</a:t>
              </a:r>
            </a:p>
            <a:p>
              <a:pPr marL="144000" indent="-144000" algn="l" defTabSz="914400" rtl="0" eaLnBrk="1" latinLnBrk="0" hangingPunct="1">
                <a:buFont typeface="+mj-lt"/>
                <a:buAutoNum type="arabicPeriod"/>
              </a:pPr>
              <a:r>
                <a:rPr lang="en-US" sz="1050" kern="1200" dirty="0">
                  <a:solidFill>
                    <a:schemeClr val="lt1"/>
                  </a:solidFill>
                  <a:latin typeface="+mn-lt"/>
                  <a:ea typeface="+mn-ea"/>
                  <a:cs typeface="+mn-cs"/>
                </a:rPr>
                <a:t>Save the QR code at the bottom of the list by right-clicking and selecting "Save image as" on your computer or smartphone for future use.</a:t>
              </a:r>
            </a:p>
          </p:txBody>
        </p:sp>
      </p:grp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CA523F25-A016-AE08-5C61-DBFA0E63C05A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3BF40BA6-1443-F63F-42ED-42BEB3B43700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9829449A-3FF3-45CE-9F4F-09BADC0910C6}" type="slidenum">
              <a:rPr lang="de-DE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08219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pos="515">
          <p15:clr>
            <a:srgbClr val="FBAE40"/>
          </p15:clr>
        </p15:guide>
        <p15:guide id="2" pos="1020">
          <p15:clr>
            <a:srgbClr val="FBAE40"/>
          </p15:clr>
        </p15:guide>
        <p15:guide id="3" orient="horz" pos="1412">
          <p15:clr>
            <a:srgbClr val="FBAE40"/>
          </p15:clr>
        </p15:guide>
        <p15:guide id="4" orient="horz" pos="1502">
          <p15:clr>
            <a:srgbClr val="FBAE40"/>
          </p15:clr>
        </p15:guide>
        <p15:guide id="5" orient="horz" pos="3659">
          <p15:clr>
            <a:srgbClr val="FBAE40"/>
          </p15:clr>
        </p15:guide>
        <p15:guide id="6" orient="horz" pos="2379">
          <p15:clr>
            <a:srgbClr val="FBAE40"/>
          </p15:clr>
        </p15:guide>
        <p15:guide id="7" pos="2519">
          <p15:clr>
            <a:srgbClr val="FBAE40"/>
          </p15:clr>
        </p15:guide>
        <p15:guide id="8" pos="2700">
          <p15:clr>
            <a:srgbClr val="FBAE40"/>
          </p15:clr>
        </p15:guide>
        <p15:guide id="9" pos="2882">
          <p15:clr>
            <a:srgbClr val="FBAE40"/>
          </p15:clr>
        </p15:guide>
        <p15:guide id="10" pos="3390">
          <p15:clr>
            <a:srgbClr val="FBAE40"/>
          </p15:clr>
        </p15:guide>
        <p15:guide id="11" pos="4886">
          <p15:clr>
            <a:srgbClr val="FBAE40"/>
          </p15:clr>
        </p15:guide>
        <p15:guide id="12" pos="5069">
          <p15:clr>
            <a:srgbClr val="FBAE40"/>
          </p15:clr>
        </p15:guide>
        <p15:guide id="13" pos="5252">
          <p15:clr>
            <a:srgbClr val="FBAE40"/>
          </p15:clr>
        </p15:guide>
        <p15:guide id="14" pos="7256">
          <p15:clr>
            <a:srgbClr val="FBAE40"/>
          </p15:clr>
        </p15:guide>
        <p15:guide id="15" pos="261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">
            <a:extLst>
              <a:ext uri="{FF2B5EF4-FFF2-40B4-BE49-F238E27FC236}">
                <a16:creationId xmlns:a16="http://schemas.microsoft.com/office/drawing/2014/main" id="{36CAB383-829E-134F-9939-9FE0E67A47A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5" name="design element">
            <a:extLst>
              <a:ext uri="{FF2B5EF4-FFF2-40B4-BE49-F238E27FC236}">
                <a16:creationId xmlns:a16="http://schemas.microsoft.com/office/drawing/2014/main" id="{C339C113-41A8-7A8B-D178-36651F4D0C05}"/>
              </a:ext>
            </a:extLst>
          </p:cNvPr>
          <p:cNvSpPr>
            <a:spLocks noChangeAspect="1"/>
          </p:cNvSpPr>
          <p:nvPr/>
        </p:nvSpPr>
        <p:spPr>
          <a:xfrm>
            <a:off x="1" y="0"/>
            <a:ext cx="3556521" cy="6858000"/>
          </a:xfrm>
          <a:custGeom>
            <a:avLst/>
            <a:gdLst>
              <a:gd name="connsiteX0" fmla="*/ 1473386 w 3556521"/>
              <a:gd name="connsiteY0" fmla="*/ 3736520 h 6858000"/>
              <a:gd name="connsiteX1" fmla="*/ 372766 w 3556521"/>
              <a:gd name="connsiteY1" fmla="*/ 4521122 h 6858000"/>
              <a:gd name="connsiteX2" fmla="*/ 877795 w 3556521"/>
              <a:gd name="connsiteY2" fmla="*/ 5284883 h 6858000"/>
              <a:gd name="connsiteX3" fmla="*/ 1970215 w 3556521"/>
              <a:gd name="connsiteY3" fmla="*/ 4491970 h 6858000"/>
              <a:gd name="connsiteX4" fmla="*/ 659971 w 3556521"/>
              <a:gd name="connsiteY4" fmla="*/ 1470790 h 6858000"/>
              <a:gd name="connsiteX5" fmla="*/ 489195 w 3556521"/>
              <a:gd name="connsiteY5" fmla="*/ 1592533 h 6858000"/>
              <a:gd name="connsiteX6" fmla="*/ 401541 w 3556521"/>
              <a:gd name="connsiteY6" fmla="*/ 2060950 h 6858000"/>
              <a:gd name="connsiteX7" fmla="*/ 1480009 w 3556521"/>
              <a:gd name="connsiteY7" fmla="*/ 3700728 h 6858000"/>
              <a:gd name="connsiteX8" fmla="*/ 1650863 w 3556521"/>
              <a:gd name="connsiteY8" fmla="*/ 3578934 h 6858000"/>
              <a:gd name="connsiteX9" fmla="*/ 1738516 w 3556521"/>
              <a:gd name="connsiteY9" fmla="*/ 3110518 h 6858000"/>
              <a:gd name="connsiteX10" fmla="*/ 1781173 w 3556521"/>
              <a:gd name="connsiteY10" fmla="*/ 671502 h 6858000"/>
              <a:gd name="connsiteX11" fmla="*/ 680428 w 3556521"/>
              <a:gd name="connsiteY11" fmla="*/ 1456206 h 6858000"/>
              <a:gd name="connsiteX12" fmla="*/ 1759416 w 3556521"/>
              <a:gd name="connsiteY12" fmla="*/ 3096711 h 6858000"/>
              <a:gd name="connsiteX13" fmla="*/ 1665302 w 3556521"/>
              <a:gd name="connsiteY13" fmla="*/ 3599708 h 6858000"/>
              <a:gd name="connsiteX14" fmla="*/ 1493921 w 3556521"/>
              <a:gd name="connsiteY14" fmla="*/ 3721881 h 6858000"/>
              <a:gd name="connsiteX15" fmla="*/ 1990648 w 3556521"/>
              <a:gd name="connsiteY15" fmla="*/ 4477139 h 6858000"/>
              <a:gd name="connsiteX16" fmla="*/ 3281707 w 3556521"/>
              <a:gd name="connsiteY16" fmla="*/ 3540047 h 6858000"/>
              <a:gd name="connsiteX17" fmla="*/ 3366954 w 3556521"/>
              <a:gd name="connsiteY17" fmla="*/ 3069731 h 6858000"/>
              <a:gd name="connsiteX18" fmla="*/ 1062788 w 3556521"/>
              <a:gd name="connsiteY18" fmla="*/ 0 h 6858000"/>
              <a:gd name="connsiteX19" fmla="*/ 1105755 w 3556521"/>
              <a:gd name="connsiteY19" fmla="*/ 0 h 6858000"/>
              <a:gd name="connsiteX20" fmla="*/ 169596 w 3556521"/>
              <a:gd name="connsiteY20" fmla="*/ 679531 h 6858000"/>
              <a:gd name="connsiteX21" fmla="*/ 666477 w 3556521"/>
              <a:gd name="connsiteY21" fmla="*/ 1434994 h 6858000"/>
              <a:gd name="connsiteX22" fmla="*/ 1767171 w 3556521"/>
              <a:gd name="connsiteY22" fmla="*/ 650327 h 6858000"/>
              <a:gd name="connsiteX23" fmla="*/ 1337156 w 3556521"/>
              <a:gd name="connsiteY23" fmla="*/ 0 h 6858000"/>
              <a:gd name="connsiteX24" fmla="*/ 1367523 w 3556521"/>
              <a:gd name="connsiteY24" fmla="*/ 0 h 6858000"/>
              <a:gd name="connsiteX25" fmla="*/ 1787810 w 3556521"/>
              <a:gd name="connsiteY25" fmla="*/ 635614 h 6858000"/>
              <a:gd name="connsiteX26" fmla="*/ 2679419 w 3556521"/>
              <a:gd name="connsiteY26" fmla="*/ 0 h 6858000"/>
              <a:gd name="connsiteX27" fmla="*/ 2723124 w 3556521"/>
              <a:gd name="connsiteY27" fmla="*/ 0 h 6858000"/>
              <a:gd name="connsiteX28" fmla="*/ 1801812 w 3556521"/>
              <a:gd name="connsiteY28" fmla="*/ 656789 h 6858000"/>
              <a:gd name="connsiteX29" fmla="*/ 3388108 w 3556521"/>
              <a:gd name="connsiteY29" fmla="*/ 3055798 h 6858000"/>
              <a:gd name="connsiteX30" fmla="*/ 3296527 w 3556521"/>
              <a:gd name="connsiteY30" fmla="*/ 3560568 h 6858000"/>
              <a:gd name="connsiteX31" fmla="*/ 2004572 w 3556521"/>
              <a:gd name="connsiteY31" fmla="*/ 4498310 h 6858000"/>
              <a:gd name="connsiteX32" fmla="*/ 3556521 w 3556521"/>
              <a:gd name="connsiteY32" fmla="*/ 6858000 h 6858000"/>
              <a:gd name="connsiteX33" fmla="*/ 3526255 w 3556521"/>
              <a:gd name="connsiteY33" fmla="*/ 6858000 h 6858000"/>
              <a:gd name="connsiteX34" fmla="*/ 1984138 w 3556521"/>
              <a:gd name="connsiteY34" fmla="*/ 4513142 h 6858000"/>
              <a:gd name="connsiteX35" fmla="*/ 891769 w 3556521"/>
              <a:gd name="connsiteY35" fmla="*/ 5306018 h 6858000"/>
              <a:gd name="connsiteX36" fmla="*/ 1918000 w 3556521"/>
              <a:gd name="connsiteY36" fmla="*/ 6858000 h 6858000"/>
              <a:gd name="connsiteX37" fmla="*/ 1887834 w 3556521"/>
              <a:gd name="connsiteY37" fmla="*/ 6858000 h 6858000"/>
              <a:gd name="connsiteX38" fmla="*/ 871342 w 3556521"/>
              <a:gd name="connsiteY38" fmla="*/ 5320844 h 6858000"/>
              <a:gd name="connsiteX39" fmla="*/ 155806 w 3556521"/>
              <a:gd name="connsiteY39" fmla="*/ 5840203 h 6858000"/>
              <a:gd name="connsiteX40" fmla="*/ 19915 w 3556521"/>
              <a:gd name="connsiteY40" fmla="*/ 5919089 h 6858000"/>
              <a:gd name="connsiteX41" fmla="*/ 0 w 3556521"/>
              <a:gd name="connsiteY41" fmla="*/ 5926954 h 6858000"/>
              <a:gd name="connsiteX42" fmla="*/ 0 w 3556521"/>
              <a:gd name="connsiteY42" fmla="*/ 5899935 h 6858000"/>
              <a:gd name="connsiteX43" fmla="*/ 7698 w 3556521"/>
              <a:gd name="connsiteY43" fmla="*/ 5896907 h 6858000"/>
              <a:gd name="connsiteX44" fmla="*/ 140985 w 3556521"/>
              <a:gd name="connsiteY44" fmla="*/ 5819683 h 6858000"/>
              <a:gd name="connsiteX45" fmla="*/ 857367 w 3556521"/>
              <a:gd name="connsiteY45" fmla="*/ 5299711 h 6858000"/>
              <a:gd name="connsiteX46" fmla="*/ 352197 w 3556521"/>
              <a:gd name="connsiteY46" fmla="*/ 4535784 h 6858000"/>
              <a:gd name="connsiteX47" fmla="*/ 0 w 3556521"/>
              <a:gd name="connsiteY47" fmla="*/ 4786856 h 6858000"/>
              <a:gd name="connsiteX48" fmla="*/ 0 w 3556521"/>
              <a:gd name="connsiteY48" fmla="*/ 4755761 h 6858000"/>
              <a:gd name="connsiteX49" fmla="*/ 338225 w 3556521"/>
              <a:gd name="connsiteY49" fmla="*/ 4514655 h 6858000"/>
              <a:gd name="connsiteX50" fmla="*/ 0 w 3556521"/>
              <a:gd name="connsiteY50" fmla="*/ 4003185 h 6858000"/>
              <a:gd name="connsiteX51" fmla="*/ 0 w 3556521"/>
              <a:gd name="connsiteY51" fmla="*/ 3957383 h 6858000"/>
              <a:gd name="connsiteX52" fmla="*/ 358794 w 3556521"/>
              <a:gd name="connsiteY52" fmla="*/ 4499992 h 6858000"/>
              <a:gd name="connsiteX53" fmla="*/ 1459475 w 3556521"/>
              <a:gd name="connsiteY53" fmla="*/ 3715366 h 6858000"/>
              <a:gd name="connsiteX54" fmla="*/ 380514 w 3556521"/>
              <a:gd name="connsiteY54" fmla="*/ 2074757 h 6858000"/>
              <a:gd name="connsiteX55" fmla="*/ 474628 w 3556521"/>
              <a:gd name="connsiteY55" fmla="*/ 1571760 h 6858000"/>
              <a:gd name="connsiteX56" fmla="*/ 646019 w 3556521"/>
              <a:gd name="connsiteY56" fmla="*/ 1449578 h 6858000"/>
              <a:gd name="connsiteX57" fmla="*/ 149236 w 3556521"/>
              <a:gd name="connsiteY57" fmla="*/ 694310 h 6858000"/>
              <a:gd name="connsiteX58" fmla="*/ 0 w 3556521"/>
              <a:gd name="connsiteY58" fmla="*/ 802636 h 6858000"/>
              <a:gd name="connsiteX59" fmla="*/ 0 w 3556521"/>
              <a:gd name="connsiteY59" fmla="*/ 771406 h 6858000"/>
              <a:gd name="connsiteX60" fmla="*/ 135334 w 3556521"/>
              <a:gd name="connsiteY60" fmla="*/ 673176 h 6858000"/>
              <a:gd name="connsiteX61" fmla="*/ 0 w 3556521"/>
              <a:gd name="connsiteY61" fmla="*/ 467426 h 6858000"/>
              <a:gd name="connsiteX62" fmla="*/ 0 w 3556521"/>
              <a:gd name="connsiteY62" fmla="*/ 421674 h 6858000"/>
              <a:gd name="connsiteX63" fmla="*/ 155696 w 3556521"/>
              <a:gd name="connsiteY63" fmla="*/ 65839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3556521" h="6858000">
                <a:moveTo>
                  <a:pt x="1473386" y="3736520"/>
                </a:moveTo>
                <a:lnTo>
                  <a:pt x="372766" y="4521122"/>
                </a:lnTo>
                <a:lnTo>
                  <a:pt x="877795" y="5284883"/>
                </a:lnTo>
                <a:lnTo>
                  <a:pt x="1970215" y="4491970"/>
                </a:lnTo>
                <a:close/>
                <a:moveTo>
                  <a:pt x="659971" y="1470790"/>
                </a:moveTo>
                <a:lnTo>
                  <a:pt x="489195" y="1592533"/>
                </a:lnTo>
                <a:cubicBezTo>
                  <a:pt x="340613" y="1698428"/>
                  <a:pt x="301347" y="1908569"/>
                  <a:pt x="401541" y="2060950"/>
                </a:cubicBezTo>
                <a:lnTo>
                  <a:pt x="1480009" y="3700728"/>
                </a:lnTo>
                <a:lnTo>
                  <a:pt x="1650863" y="3578934"/>
                </a:lnTo>
                <a:cubicBezTo>
                  <a:pt x="1799443" y="3473040"/>
                  <a:pt x="1838710" y="3262899"/>
                  <a:pt x="1738516" y="3110518"/>
                </a:cubicBezTo>
                <a:close/>
                <a:moveTo>
                  <a:pt x="1781173" y="671502"/>
                </a:moveTo>
                <a:lnTo>
                  <a:pt x="680428" y="1456206"/>
                </a:lnTo>
                <a:lnTo>
                  <a:pt x="1759416" y="3096711"/>
                </a:lnTo>
                <a:cubicBezTo>
                  <a:pt x="1867084" y="3260366"/>
                  <a:pt x="1824904" y="3485960"/>
                  <a:pt x="1665302" y="3599708"/>
                </a:cubicBezTo>
                <a:lnTo>
                  <a:pt x="1493921" y="3721881"/>
                </a:lnTo>
                <a:lnTo>
                  <a:pt x="1990648" y="4477139"/>
                </a:lnTo>
                <a:lnTo>
                  <a:pt x="3281707" y="3540047"/>
                </a:lnTo>
                <a:cubicBezTo>
                  <a:pt x="3429275" y="3432887"/>
                  <a:pt x="3467528" y="3221859"/>
                  <a:pt x="3366954" y="3069731"/>
                </a:cubicBezTo>
                <a:close/>
                <a:moveTo>
                  <a:pt x="1062788" y="0"/>
                </a:moveTo>
                <a:lnTo>
                  <a:pt x="1105755" y="0"/>
                </a:lnTo>
                <a:lnTo>
                  <a:pt x="169596" y="679531"/>
                </a:lnTo>
                <a:lnTo>
                  <a:pt x="666477" y="1434994"/>
                </a:lnTo>
                <a:lnTo>
                  <a:pt x="1767171" y="650327"/>
                </a:lnTo>
                <a:lnTo>
                  <a:pt x="1337156" y="0"/>
                </a:lnTo>
                <a:lnTo>
                  <a:pt x="1367523" y="0"/>
                </a:lnTo>
                <a:lnTo>
                  <a:pt x="1787810" y="635614"/>
                </a:lnTo>
                <a:lnTo>
                  <a:pt x="2679419" y="0"/>
                </a:lnTo>
                <a:lnTo>
                  <a:pt x="2723124" y="0"/>
                </a:lnTo>
                <a:lnTo>
                  <a:pt x="1801812" y="656789"/>
                </a:lnTo>
                <a:lnTo>
                  <a:pt x="3388108" y="3055798"/>
                </a:lnTo>
                <a:cubicBezTo>
                  <a:pt x="3496028" y="3219072"/>
                  <a:pt x="3454988" y="3445553"/>
                  <a:pt x="3296527" y="3560568"/>
                </a:cubicBezTo>
                <a:lnTo>
                  <a:pt x="2004572" y="4498310"/>
                </a:lnTo>
                <a:lnTo>
                  <a:pt x="3556521" y="6858000"/>
                </a:lnTo>
                <a:lnTo>
                  <a:pt x="3526255" y="6858000"/>
                </a:lnTo>
                <a:lnTo>
                  <a:pt x="1984138" y="4513142"/>
                </a:lnTo>
                <a:lnTo>
                  <a:pt x="891769" y="5306018"/>
                </a:lnTo>
                <a:lnTo>
                  <a:pt x="1918000" y="6858000"/>
                </a:lnTo>
                <a:lnTo>
                  <a:pt x="1887834" y="6858000"/>
                </a:lnTo>
                <a:lnTo>
                  <a:pt x="871342" y="5320844"/>
                </a:lnTo>
                <a:lnTo>
                  <a:pt x="155806" y="5840203"/>
                </a:lnTo>
                <a:cubicBezTo>
                  <a:pt x="117267" y="5868197"/>
                  <a:pt x="70851" y="5894852"/>
                  <a:pt x="19915" y="5919089"/>
                </a:cubicBezTo>
                <a:lnTo>
                  <a:pt x="0" y="5926954"/>
                </a:lnTo>
                <a:lnTo>
                  <a:pt x="0" y="5899935"/>
                </a:lnTo>
                <a:lnTo>
                  <a:pt x="7698" y="5896907"/>
                </a:lnTo>
                <a:cubicBezTo>
                  <a:pt x="57670" y="5873200"/>
                  <a:pt x="103207" y="5847107"/>
                  <a:pt x="140985" y="5819683"/>
                </a:cubicBezTo>
                <a:lnTo>
                  <a:pt x="857367" y="5299711"/>
                </a:lnTo>
                <a:lnTo>
                  <a:pt x="352197" y="4535784"/>
                </a:lnTo>
                <a:lnTo>
                  <a:pt x="0" y="4786856"/>
                </a:lnTo>
                <a:lnTo>
                  <a:pt x="0" y="4755761"/>
                </a:lnTo>
                <a:lnTo>
                  <a:pt x="338225" y="4514655"/>
                </a:lnTo>
                <a:lnTo>
                  <a:pt x="0" y="4003185"/>
                </a:lnTo>
                <a:lnTo>
                  <a:pt x="0" y="3957383"/>
                </a:lnTo>
                <a:lnTo>
                  <a:pt x="358794" y="4499992"/>
                </a:lnTo>
                <a:lnTo>
                  <a:pt x="1459475" y="3715366"/>
                </a:lnTo>
                <a:lnTo>
                  <a:pt x="380514" y="2074757"/>
                </a:lnTo>
                <a:cubicBezTo>
                  <a:pt x="272846" y="1911102"/>
                  <a:pt x="315027" y="1685508"/>
                  <a:pt x="474628" y="1571760"/>
                </a:cubicBezTo>
                <a:lnTo>
                  <a:pt x="646019" y="1449578"/>
                </a:lnTo>
                <a:lnTo>
                  <a:pt x="149236" y="694310"/>
                </a:lnTo>
                <a:lnTo>
                  <a:pt x="0" y="802636"/>
                </a:lnTo>
                <a:lnTo>
                  <a:pt x="0" y="771406"/>
                </a:lnTo>
                <a:lnTo>
                  <a:pt x="135334" y="673176"/>
                </a:lnTo>
                <a:lnTo>
                  <a:pt x="0" y="467426"/>
                </a:lnTo>
                <a:lnTo>
                  <a:pt x="0" y="421674"/>
                </a:lnTo>
                <a:lnTo>
                  <a:pt x="155696" y="658396"/>
                </a:lnTo>
                <a:close/>
              </a:path>
            </a:pathLst>
          </a:custGeom>
          <a:solidFill>
            <a:schemeClr val="lt1"/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pic>
        <p:nvPicPr>
          <p:cNvPr id="36" name="qr code imagefilm" descr="Ein Bild, das Text enthält.&#10;&#10;Automatisch generierte Beschreibung">
            <a:extLst>
              <a:ext uri="{FF2B5EF4-FFF2-40B4-BE49-F238E27FC236}">
                <a16:creationId xmlns:a16="http://schemas.microsoft.com/office/drawing/2014/main" id="{AB488BA8-DCED-2AA6-EE34-1B6B932BCDA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3300000">
            <a:off x="2671798" y="4077282"/>
            <a:ext cx="1313706" cy="1313706"/>
          </a:xfrm>
          <a:prstGeom prst="rect">
            <a:avLst/>
          </a:prstGeom>
          <a:noFill/>
        </p:spPr>
      </p:pic>
      <p:pic>
        <p:nvPicPr>
          <p:cNvPr id="3" name="purpose" descr="Ein Bild, das Text, Schrift, Grafiken, Grafikdesign enthält.&#10;&#10;Automatisch generierte Beschreibung">
            <a:extLst>
              <a:ext uri="{FF2B5EF4-FFF2-40B4-BE49-F238E27FC236}">
                <a16:creationId xmlns:a16="http://schemas.microsoft.com/office/drawing/2014/main" id="{7424DEAB-7B3D-DD63-4391-1A5F63BD7DF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23630" y="1270202"/>
            <a:ext cx="3970751" cy="4394704"/>
          </a:xfrm>
          <a:prstGeom prst="rect">
            <a:avLst/>
          </a:prstGeom>
        </p:spPr>
      </p:pic>
      <p:sp>
        <p:nvSpPr>
          <p:cNvPr id="52" name="logo dreso white">
            <a:extLst>
              <a:ext uri="{FF2B5EF4-FFF2-40B4-BE49-F238E27FC236}">
                <a16:creationId xmlns:a16="http://schemas.microsoft.com/office/drawing/2014/main" id="{D7048ACC-DBD0-BD45-AA2D-1E58E81316E4}"/>
              </a:ext>
            </a:extLst>
          </p:cNvPr>
          <p:cNvSpPr>
            <a:spLocks noChangeAspect="1"/>
          </p:cNvSpPr>
          <p:nvPr/>
        </p:nvSpPr>
        <p:spPr bwMode="gray">
          <a:xfrm>
            <a:off x="10167725" y="5961909"/>
            <a:ext cx="1494693" cy="451064"/>
          </a:xfrm>
          <a:custGeom>
            <a:avLst/>
            <a:gdLst>
              <a:gd name="connsiteX0" fmla="*/ 303535 w 1494693"/>
              <a:gd name="connsiteY0" fmla="*/ 321539 h 451064"/>
              <a:gd name="connsiteX1" fmla="*/ 303535 w 1494693"/>
              <a:gd name="connsiteY1" fmla="*/ 420643 h 451064"/>
              <a:gd name="connsiteX2" fmla="*/ 434103 w 1494693"/>
              <a:gd name="connsiteY2" fmla="*/ 420643 h 451064"/>
              <a:gd name="connsiteX3" fmla="*/ 434103 w 1494693"/>
              <a:gd name="connsiteY3" fmla="*/ 321539 h 451064"/>
              <a:gd name="connsiteX4" fmla="*/ 1334379 w 1494693"/>
              <a:gd name="connsiteY4" fmla="*/ 319666 h 451064"/>
              <a:gd name="connsiteX5" fmla="*/ 1334379 w 1494693"/>
              <a:gd name="connsiteY5" fmla="*/ 363584 h 451064"/>
              <a:gd name="connsiteX6" fmla="*/ 1422594 w 1494693"/>
              <a:gd name="connsiteY6" fmla="*/ 363584 h 451064"/>
              <a:gd name="connsiteX7" fmla="*/ 1440242 w 1494693"/>
              <a:gd name="connsiteY7" fmla="*/ 350823 h 451064"/>
              <a:gd name="connsiteX8" fmla="*/ 1440242 w 1494693"/>
              <a:gd name="connsiteY8" fmla="*/ 332428 h 451064"/>
              <a:gd name="connsiteX9" fmla="*/ 1422594 w 1494693"/>
              <a:gd name="connsiteY9" fmla="*/ 319666 h 451064"/>
              <a:gd name="connsiteX10" fmla="*/ 305053 w 1494693"/>
              <a:gd name="connsiteY10" fmla="*/ 292280 h 451064"/>
              <a:gd name="connsiteX11" fmla="*/ 430260 w 1494693"/>
              <a:gd name="connsiteY11" fmla="*/ 292280 h 451064"/>
              <a:gd name="connsiteX12" fmla="*/ 472375 w 1494693"/>
              <a:gd name="connsiteY12" fmla="*/ 329806 h 451064"/>
              <a:gd name="connsiteX13" fmla="*/ 472375 w 1494693"/>
              <a:gd name="connsiteY13" fmla="*/ 413515 h 451064"/>
              <a:gd name="connsiteX14" fmla="*/ 430260 w 1494693"/>
              <a:gd name="connsiteY14" fmla="*/ 451064 h 451064"/>
              <a:gd name="connsiteX15" fmla="*/ 305053 w 1494693"/>
              <a:gd name="connsiteY15" fmla="*/ 451064 h 451064"/>
              <a:gd name="connsiteX16" fmla="*/ 262938 w 1494693"/>
              <a:gd name="connsiteY16" fmla="*/ 413515 h 451064"/>
              <a:gd name="connsiteX17" fmla="*/ 262938 w 1494693"/>
              <a:gd name="connsiteY17" fmla="*/ 329806 h 451064"/>
              <a:gd name="connsiteX18" fmla="*/ 305053 w 1494693"/>
              <a:gd name="connsiteY18" fmla="*/ 292280 h 451064"/>
              <a:gd name="connsiteX19" fmla="*/ 1296119 w 1494693"/>
              <a:gd name="connsiteY19" fmla="*/ 292269 h 451064"/>
              <a:gd name="connsiteX20" fmla="*/ 1439139 w 1494693"/>
              <a:gd name="connsiteY20" fmla="*/ 292269 h 451064"/>
              <a:gd name="connsiteX21" fmla="*/ 1476297 w 1494693"/>
              <a:gd name="connsiteY21" fmla="*/ 323046 h 451064"/>
              <a:gd name="connsiteX22" fmla="*/ 1476297 w 1494693"/>
              <a:gd name="connsiteY22" fmla="*/ 360572 h 451064"/>
              <a:gd name="connsiteX23" fmla="*/ 1439139 w 1494693"/>
              <a:gd name="connsiteY23" fmla="*/ 390981 h 451064"/>
              <a:gd name="connsiteX24" fmla="*/ 1417364 w 1494693"/>
              <a:gd name="connsiteY24" fmla="*/ 390981 h 451064"/>
              <a:gd name="connsiteX25" fmla="*/ 1492806 w 1494693"/>
              <a:gd name="connsiteY25" fmla="*/ 451053 h 451064"/>
              <a:gd name="connsiteX26" fmla="*/ 1437242 w 1494693"/>
              <a:gd name="connsiteY26" fmla="*/ 451053 h 451064"/>
              <a:gd name="connsiteX27" fmla="*/ 1370802 w 1494693"/>
              <a:gd name="connsiteY27" fmla="*/ 390981 h 451064"/>
              <a:gd name="connsiteX28" fmla="*/ 1334391 w 1494693"/>
              <a:gd name="connsiteY28" fmla="*/ 390981 h 451064"/>
              <a:gd name="connsiteX29" fmla="*/ 1334391 w 1494693"/>
              <a:gd name="connsiteY29" fmla="*/ 451053 h 451064"/>
              <a:gd name="connsiteX30" fmla="*/ 1296119 w 1494693"/>
              <a:gd name="connsiteY30" fmla="*/ 451053 h 451064"/>
              <a:gd name="connsiteX31" fmla="*/ 1079613 w 1494693"/>
              <a:gd name="connsiteY31" fmla="*/ 292269 h 451064"/>
              <a:gd name="connsiteX32" fmla="*/ 1253434 w 1494693"/>
              <a:gd name="connsiteY32" fmla="*/ 292269 h 451064"/>
              <a:gd name="connsiteX33" fmla="*/ 1253434 w 1494693"/>
              <a:gd name="connsiteY33" fmla="*/ 320437 h 451064"/>
              <a:gd name="connsiteX34" fmla="*/ 1119439 w 1494693"/>
              <a:gd name="connsiteY34" fmla="*/ 320437 h 451064"/>
              <a:gd name="connsiteX35" fmla="*/ 1119439 w 1494693"/>
              <a:gd name="connsiteY35" fmla="*/ 354950 h 451064"/>
              <a:gd name="connsiteX36" fmla="*/ 1197549 w 1494693"/>
              <a:gd name="connsiteY36" fmla="*/ 354950 h 451064"/>
              <a:gd name="connsiteX37" fmla="*/ 1197549 w 1494693"/>
              <a:gd name="connsiteY37" fmla="*/ 382347 h 451064"/>
              <a:gd name="connsiteX38" fmla="*/ 1119439 w 1494693"/>
              <a:gd name="connsiteY38" fmla="*/ 382347 h 451064"/>
              <a:gd name="connsiteX39" fmla="*/ 1119439 w 1494693"/>
              <a:gd name="connsiteY39" fmla="*/ 421391 h 451064"/>
              <a:gd name="connsiteX40" fmla="*/ 1255343 w 1494693"/>
              <a:gd name="connsiteY40" fmla="*/ 421391 h 451064"/>
              <a:gd name="connsiteX41" fmla="*/ 1255343 w 1494693"/>
              <a:gd name="connsiteY41" fmla="*/ 451053 h 451064"/>
              <a:gd name="connsiteX42" fmla="*/ 1079613 w 1494693"/>
              <a:gd name="connsiteY42" fmla="*/ 451053 h 451064"/>
              <a:gd name="connsiteX43" fmla="*/ 801861 w 1494693"/>
              <a:gd name="connsiteY43" fmla="*/ 292269 h 451064"/>
              <a:gd name="connsiteX44" fmla="*/ 838070 w 1494693"/>
              <a:gd name="connsiteY44" fmla="*/ 292269 h 451064"/>
              <a:gd name="connsiteX45" fmla="*/ 917307 w 1494693"/>
              <a:gd name="connsiteY45" fmla="*/ 386475 h 451064"/>
              <a:gd name="connsiteX46" fmla="*/ 996189 w 1494693"/>
              <a:gd name="connsiteY46" fmla="*/ 292269 h 451064"/>
              <a:gd name="connsiteX47" fmla="*/ 1027950 w 1494693"/>
              <a:gd name="connsiteY47" fmla="*/ 292269 h 451064"/>
              <a:gd name="connsiteX48" fmla="*/ 1027950 w 1494693"/>
              <a:gd name="connsiteY48" fmla="*/ 451053 h 451064"/>
              <a:gd name="connsiteX49" fmla="*/ 991196 w 1494693"/>
              <a:gd name="connsiteY49" fmla="*/ 451053 h 451064"/>
              <a:gd name="connsiteX50" fmla="*/ 991196 w 1494693"/>
              <a:gd name="connsiteY50" fmla="*/ 341809 h 451064"/>
              <a:gd name="connsiteX51" fmla="*/ 918849 w 1494693"/>
              <a:gd name="connsiteY51" fmla="*/ 431911 h 451064"/>
              <a:gd name="connsiteX52" fmla="*/ 911187 w 1494693"/>
              <a:gd name="connsiteY52" fmla="*/ 431911 h 451064"/>
              <a:gd name="connsiteX53" fmla="*/ 838070 w 1494693"/>
              <a:gd name="connsiteY53" fmla="*/ 344454 h 451064"/>
              <a:gd name="connsiteX54" fmla="*/ 838070 w 1494693"/>
              <a:gd name="connsiteY54" fmla="*/ 451053 h 451064"/>
              <a:gd name="connsiteX55" fmla="*/ 801861 w 1494693"/>
              <a:gd name="connsiteY55" fmla="*/ 451053 h 451064"/>
              <a:gd name="connsiteX56" fmla="*/ 522331 w 1494693"/>
              <a:gd name="connsiteY56" fmla="*/ 292269 h 451064"/>
              <a:gd name="connsiteX57" fmla="*/ 558528 w 1494693"/>
              <a:gd name="connsiteY57" fmla="*/ 292269 h 451064"/>
              <a:gd name="connsiteX58" fmla="*/ 637777 w 1494693"/>
              <a:gd name="connsiteY58" fmla="*/ 386475 h 451064"/>
              <a:gd name="connsiteX59" fmla="*/ 716647 w 1494693"/>
              <a:gd name="connsiteY59" fmla="*/ 292269 h 451064"/>
              <a:gd name="connsiteX60" fmla="*/ 748420 w 1494693"/>
              <a:gd name="connsiteY60" fmla="*/ 292269 h 451064"/>
              <a:gd name="connsiteX61" fmla="*/ 748420 w 1494693"/>
              <a:gd name="connsiteY61" fmla="*/ 451053 h 451064"/>
              <a:gd name="connsiteX62" fmla="*/ 711666 w 1494693"/>
              <a:gd name="connsiteY62" fmla="*/ 451053 h 451064"/>
              <a:gd name="connsiteX63" fmla="*/ 711666 w 1494693"/>
              <a:gd name="connsiteY63" fmla="*/ 341809 h 451064"/>
              <a:gd name="connsiteX64" fmla="*/ 639295 w 1494693"/>
              <a:gd name="connsiteY64" fmla="*/ 431911 h 451064"/>
              <a:gd name="connsiteX65" fmla="*/ 631646 w 1494693"/>
              <a:gd name="connsiteY65" fmla="*/ 431911 h 451064"/>
              <a:gd name="connsiteX66" fmla="*/ 558528 w 1494693"/>
              <a:gd name="connsiteY66" fmla="*/ 344454 h 451064"/>
              <a:gd name="connsiteX67" fmla="*/ 558528 w 1494693"/>
              <a:gd name="connsiteY67" fmla="*/ 451053 h 451064"/>
              <a:gd name="connsiteX68" fmla="*/ 522331 w 1494693"/>
              <a:gd name="connsiteY68" fmla="*/ 451053 h 451064"/>
              <a:gd name="connsiteX69" fmla="*/ 55932 w 1494693"/>
              <a:gd name="connsiteY69" fmla="*/ 257353 h 451064"/>
              <a:gd name="connsiteX70" fmla="*/ 165923 w 1494693"/>
              <a:gd name="connsiteY70" fmla="*/ 257353 h 451064"/>
              <a:gd name="connsiteX71" fmla="*/ 213968 w 1494693"/>
              <a:gd name="connsiteY71" fmla="*/ 299777 h 451064"/>
              <a:gd name="connsiteX72" fmla="*/ 213968 w 1494693"/>
              <a:gd name="connsiteY72" fmla="*/ 302742 h 451064"/>
              <a:gd name="connsiteX73" fmla="*/ 174178 w 1494693"/>
              <a:gd name="connsiteY73" fmla="*/ 312123 h 451064"/>
              <a:gd name="connsiteX74" fmla="*/ 174178 w 1494693"/>
              <a:gd name="connsiteY74" fmla="*/ 291143 h 451064"/>
              <a:gd name="connsiteX75" fmla="*/ 47298 w 1494693"/>
              <a:gd name="connsiteY75" fmla="*/ 291143 h 451064"/>
              <a:gd name="connsiteX76" fmla="*/ 47298 w 1494693"/>
              <a:gd name="connsiteY76" fmla="*/ 332795 h 451064"/>
              <a:gd name="connsiteX77" fmla="*/ 168188 w 1494693"/>
              <a:gd name="connsiteY77" fmla="*/ 332795 h 451064"/>
              <a:gd name="connsiteX78" fmla="*/ 216613 w 1494693"/>
              <a:gd name="connsiteY78" fmla="*/ 378599 h 451064"/>
              <a:gd name="connsiteX79" fmla="*/ 216613 w 1494693"/>
              <a:gd name="connsiteY79" fmla="*/ 405249 h 451064"/>
              <a:gd name="connsiteX80" fmla="*/ 168188 w 1494693"/>
              <a:gd name="connsiteY80" fmla="*/ 451040 h 451064"/>
              <a:gd name="connsiteX81" fmla="*/ 48425 w 1494693"/>
              <a:gd name="connsiteY81" fmla="*/ 451040 h 451064"/>
              <a:gd name="connsiteX82" fmla="*/ 0 w 1494693"/>
              <a:gd name="connsiteY82" fmla="*/ 405249 h 451064"/>
              <a:gd name="connsiteX83" fmla="*/ 0 w 1494693"/>
              <a:gd name="connsiteY83" fmla="*/ 402046 h 451064"/>
              <a:gd name="connsiteX84" fmla="*/ 39814 w 1494693"/>
              <a:gd name="connsiteY84" fmla="*/ 393780 h 451064"/>
              <a:gd name="connsiteX85" fmla="*/ 39814 w 1494693"/>
              <a:gd name="connsiteY85" fmla="*/ 414630 h 451064"/>
              <a:gd name="connsiteX86" fmla="*/ 176811 w 1494693"/>
              <a:gd name="connsiteY86" fmla="*/ 414630 h 451064"/>
              <a:gd name="connsiteX87" fmla="*/ 176811 w 1494693"/>
              <a:gd name="connsiteY87" fmla="*/ 370332 h 451064"/>
              <a:gd name="connsiteX88" fmla="*/ 55932 w 1494693"/>
              <a:gd name="connsiteY88" fmla="*/ 370332 h 451064"/>
              <a:gd name="connsiteX89" fmla="*/ 7887 w 1494693"/>
              <a:gd name="connsiteY89" fmla="*/ 324529 h 451064"/>
              <a:gd name="connsiteX90" fmla="*/ 7887 w 1494693"/>
              <a:gd name="connsiteY90" fmla="*/ 303157 h 451064"/>
              <a:gd name="connsiteX91" fmla="*/ 55932 w 1494693"/>
              <a:gd name="connsiteY91" fmla="*/ 257353 h 451064"/>
              <a:gd name="connsiteX92" fmla="*/ 1320136 w 1494693"/>
              <a:gd name="connsiteY92" fmla="*/ 96103 h 451064"/>
              <a:gd name="connsiteX93" fmla="*/ 1270597 w 1494693"/>
              <a:gd name="connsiteY93" fmla="*/ 126880 h 451064"/>
              <a:gd name="connsiteX94" fmla="*/ 1270597 w 1494693"/>
              <a:gd name="connsiteY94" fmla="*/ 159898 h 451064"/>
              <a:gd name="connsiteX95" fmla="*/ 1270597 w 1494693"/>
              <a:gd name="connsiteY95" fmla="*/ 159910 h 451064"/>
              <a:gd name="connsiteX96" fmla="*/ 1360295 w 1494693"/>
              <a:gd name="connsiteY96" fmla="*/ 159910 h 451064"/>
              <a:gd name="connsiteX97" fmla="*/ 1378310 w 1494693"/>
              <a:gd name="connsiteY97" fmla="*/ 144527 h 451064"/>
              <a:gd name="connsiteX98" fmla="*/ 325903 w 1494693"/>
              <a:gd name="connsiteY98" fmla="*/ 62313 h 451064"/>
              <a:gd name="connsiteX99" fmla="*/ 325903 w 1494693"/>
              <a:gd name="connsiteY99" fmla="*/ 106231 h 451064"/>
              <a:gd name="connsiteX100" fmla="*/ 414119 w 1494693"/>
              <a:gd name="connsiteY100" fmla="*/ 106231 h 451064"/>
              <a:gd name="connsiteX101" fmla="*/ 431766 w 1494693"/>
              <a:gd name="connsiteY101" fmla="*/ 93470 h 451064"/>
              <a:gd name="connsiteX102" fmla="*/ 431766 w 1494693"/>
              <a:gd name="connsiteY102" fmla="*/ 75075 h 451064"/>
              <a:gd name="connsiteX103" fmla="*/ 414119 w 1494693"/>
              <a:gd name="connsiteY103" fmla="*/ 62313 h 451064"/>
              <a:gd name="connsiteX104" fmla="*/ 997103 w 1494693"/>
              <a:gd name="connsiteY104" fmla="*/ 34916 h 451064"/>
              <a:gd name="connsiteX105" fmla="*/ 1091308 w 1494693"/>
              <a:gd name="connsiteY105" fmla="*/ 34916 h 451064"/>
              <a:gd name="connsiteX106" fmla="*/ 1132961 w 1494693"/>
              <a:gd name="connsiteY106" fmla="*/ 69453 h 451064"/>
              <a:gd name="connsiteX107" fmla="*/ 1132961 w 1494693"/>
              <a:gd name="connsiteY107" fmla="*/ 71161 h 451064"/>
              <a:gd name="connsiteX108" fmla="*/ 1099562 w 1494693"/>
              <a:gd name="connsiteY108" fmla="*/ 78277 h 451064"/>
              <a:gd name="connsiteX109" fmla="*/ 1099562 w 1494693"/>
              <a:gd name="connsiteY109" fmla="*/ 63440 h 451064"/>
              <a:gd name="connsiteX110" fmla="*/ 990331 w 1494693"/>
              <a:gd name="connsiteY110" fmla="*/ 63440 h 451064"/>
              <a:gd name="connsiteX111" fmla="*/ 990331 w 1494693"/>
              <a:gd name="connsiteY111" fmla="*/ 96874 h 451064"/>
              <a:gd name="connsiteX112" fmla="*/ 1093573 w 1494693"/>
              <a:gd name="connsiteY112" fmla="*/ 96874 h 451064"/>
              <a:gd name="connsiteX113" fmla="*/ 1134858 w 1494693"/>
              <a:gd name="connsiteY113" fmla="*/ 134399 h 451064"/>
              <a:gd name="connsiteX114" fmla="*/ 1134858 w 1494693"/>
              <a:gd name="connsiteY114" fmla="*/ 156175 h 451064"/>
              <a:gd name="connsiteX115" fmla="*/ 1093573 w 1494693"/>
              <a:gd name="connsiteY115" fmla="*/ 193700 h 451064"/>
              <a:gd name="connsiteX116" fmla="*/ 990331 w 1494693"/>
              <a:gd name="connsiteY116" fmla="*/ 193700 h 451064"/>
              <a:gd name="connsiteX117" fmla="*/ 948678 w 1494693"/>
              <a:gd name="connsiteY117" fmla="*/ 156175 h 451064"/>
              <a:gd name="connsiteX118" fmla="*/ 948678 w 1494693"/>
              <a:gd name="connsiteY118" fmla="*/ 153731 h 451064"/>
              <a:gd name="connsiteX119" fmla="*/ 983191 w 1494693"/>
              <a:gd name="connsiteY119" fmla="*/ 147339 h 451064"/>
              <a:gd name="connsiteX120" fmla="*/ 983191 w 1494693"/>
              <a:gd name="connsiteY120" fmla="*/ 164062 h 451064"/>
              <a:gd name="connsiteX121" fmla="*/ 1099942 w 1494693"/>
              <a:gd name="connsiteY121" fmla="*/ 164062 h 451064"/>
              <a:gd name="connsiteX122" fmla="*/ 1099942 w 1494693"/>
              <a:gd name="connsiteY122" fmla="*/ 127639 h 451064"/>
              <a:gd name="connsiteX123" fmla="*/ 997103 w 1494693"/>
              <a:gd name="connsiteY123" fmla="*/ 127639 h 451064"/>
              <a:gd name="connsiteX124" fmla="*/ 955426 w 1494693"/>
              <a:gd name="connsiteY124" fmla="*/ 90114 h 451064"/>
              <a:gd name="connsiteX125" fmla="*/ 955426 w 1494693"/>
              <a:gd name="connsiteY125" fmla="*/ 72465 h 451064"/>
              <a:gd name="connsiteX126" fmla="*/ 997103 w 1494693"/>
              <a:gd name="connsiteY126" fmla="*/ 34916 h 451064"/>
              <a:gd name="connsiteX127" fmla="*/ 738042 w 1494693"/>
              <a:gd name="connsiteY127" fmla="*/ 34916 h 451064"/>
              <a:gd name="connsiteX128" fmla="*/ 908472 w 1494693"/>
              <a:gd name="connsiteY128" fmla="*/ 34916 h 451064"/>
              <a:gd name="connsiteX129" fmla="*/ 908472 w 1494693"/>
              <a:gd name="connsiteY129" fmla="*/ 63060 h 451064"/>
              <a:gd name="connsiteX130" fmla="*/ 777086 w 1494693"/>
              <a:gd name="connsiteY130" fmla="*/ 63060 h 451064"/>
              <a:gd name="connsiteX131" fmla="*/ 777086 w 1494693"/>
              <a:gd name="connsiteY131" fmla="*/ 97597 h 451064"/>
              <a:gd name="connsiteX132" fmla="*/ 853655 w 1494693"/>
              <a:gd name="connsiteY132" fmla="*/ 97597 h 451064"/>
              <a:gd name="connsiteX133" fmla="*/ 853655 w 1494693"/>
              <a:gd name="connsiteY133" fmla="*/ 124994 h 451064"/>
              <a:gd name="connsiteX134" fmla="*/ 777086 w 1494693"/>
              <a:gd name="connsiteY134" fmla="*/ 124994 h 451064"/>
              <a:gd name="connsiteX135" fmla="*/ 777086 w 1494693"/>
              <a:gd name="connsiteY135" fmla="*/ 164037 h 451064"/>
              <a:gd name="connsiteX136" fmla="*/ 910334 w 1494693"/>
              <a:gd name="connsiteY136" fmla="*/ 164037 h 451064"/>
              <a:gd name="connsiteX137" fmla="*/ 910334 w 1494693"/>
              <a:gd name="connsiteY137" fmla="*/ 193687 h 451064"/>
              <a:gd name="connsiteX138" fmla="*/ 738042 w 1494693"/>
              <a:gd name="connsiteY138" fmla="*/ 193687 h 451064"/>
              <a:gd name="connsiteX139" fmla="*/ 520955 w 1494693"/>
              <a:gd name="connsiteY139" fmla="*/ 34916 h 451064"/>
              <a:gd name="connsiteX140" fmla="*/ 691385 w 1494693"/>
              <a:gd name="connsiteY140" fmla="*/ 34916 h 451064"/>
              <a:gd name="connsiteX141" fmla="*/ 691385 w 1494693"/>
              <a:gd name="connsiteY141" fmla="*/ 63060 h 451064"/>
              <a:gd name="connsiteX142" fmla="*/ 559999 w 1494693"/>
              <a:gd name="connsiteY142" fmla="*/ 63060 h 451064"/>
              <a:gd name="connsiteX143" fmla="*/ 559999 w 1494693"/>
              <a:gd name="connsiteY143" fmla="*/ 97597 h 451064"/>
              <a:gd name="connsiteX144" fmla="*/ 636568 w 1494693"/>
              <a:gd name="connsiteY144" fmla="*/ 97597 h 451064"/>
              <a:gd name="connsiteX145" fmla="*/ 636568 w 1494693"/>
              <a:gd name="connsiteY145" fmla="*/ 124994 h 451064"/>
              <a:gd name="connsiteX146" fmla="*/ 559999 w 1494693"/>
              <a:gd name="connsiteY146" fmla="*/ 124994 h 451064"/>
              <a:gd name="connsiteX147" fmla="*/ 559999 w 1494693"/>
              <a:gd name="connsiteY147" fmla="*/ 164037 h 451064"/>
              <a:gd name="connsiteX148" fmla="*/ 693247 w 1494693"/>
              <a:gd name="connsiteY148" fmla="*/ 164037 h 451064"/>
              <a:gd name="connsiteX149" fmla="*/ 693247 w 1494693"/>
              <a:gd name="connsiteY149" fmla="*/ 193687 h 451064"/>
              <a:gd name="connsiteX150" fmla="*/ 520955 w 1494693"/>
              <a:gd name="connsiteY150" fmla="*/ 193687 h 451064"/>
              <a:gd name="connsiteX151" fmla="*/ 287619 w 1494693"/>
              <a:gd name="connsiteY151" fmla="*/ 34916 h 451064"/>
              <a:gd name="connsiteX152" fmla="*/ 430640 w 1494693"/>
              <a:gd name="connsiteY152" fmla="*/ 34916 h 451064"/>
              <a:gd name="connsiteX153" fmla="*/ 467809 w 1494693"/>
              <a:gd name="connsiteY153" fmla="*/ 65693 h 451064"/>
              <a:gd name="connsiteX154" fmla="*/ 467809 w 1494693"/>
              <a:gd name="connsiteY154" fmla="*/ 103230 h 451064"/>
              <a:gd name="connsiteX155" fmla="*/ 430640 w 1494693"/>
              <a:gd name="connsiteY155" fmla="*/ 133616 h 451064"/>
              <a:gd name="connsiteX156" fmla="*/ 408864 w 1494693"/>
              <a:gd name="connsiteY156" fmla="*/ 133616 h 451064"/>
              <a:gd name="connsiteX157" fmla="*/ 484330 w 1494693"/>
              <a:gd name="connsiteY157" fmla="*/ 193687 h 451064"/>
              <a:gd name="connsiteX158" fmla="*/ 428766 w 1494693"/>
              <a:gd name="connsiteY158" fmla="*/ 193687 h 451064"/>
              <a:gd name="connsiteX159" fmla="*/ 362326 w 1494693"/>
              <a:gd name="connsiteY159" fmla="*/ 133616 h 451064"/>
              <a:gd name="connsiteX160" fmla="*/ 325915 w 1494693"/>
              <a:gd name="connsiteY160" fmla="*/ 133616 h 451064"/>
              <a:gd name="connsiteX161" fmla="*/ 325915 w 1494693"/>
              <a:gd name="connsiteY161" fmla="*/ 193687 h 451064"/>
              <a:gd name="connsiteX162" fmla="*/ 287619 w 1494693"/>
              <a:gd name="connsiteY162" fmla="*/ 193687 h 451064"/>
              <a:gd name="connsiteX163" fmla="*/ 51437 w 1494693"/>
              <a:gd name="connsiteY163" fmla="*/ 34537 h 451064"/>
              <a:gd name="connsiteX164" fmla="*/ 51437 w 1494693"/>
              <a:gd name="connsiteY164" fmla="*/ 157289 h 451064"/>
              <a:gd name="connsiteX165" fmla="*/ 109611 w 1494693"/>
              <a:gd name="connsiteY165" fmla="*/ 157289 h 451064"/>
              <a:gd name="connsiteX166" fmla="*/ 195205 w 1494693"/>
              <a:gd name="connsiteY166" fmla="*/ 94976 h 451064"/>
              <a:gd name="connsiteX167" fmla="*/ 131386 w 1494693"/>
              <a:gd name="connsiteY167" fmla="*/ 34537 h 451064"/>
              <a:gd name="connsiteX168" fmla="*/ 1327656 w 1494693"/>
              <a:gd name="connsiteY168" fmla="*/ 0 h 451064"/>
              <a:gd name="connsiteX169" fmla="*/ 1366675 w 1494693"/>
              <a:gd name="connsiteY169" fmla="*/ 0 h 451064"/>
              <a:gd name="connsiteX170" fmla="*/ 1414720 w 1494693"/>
              <a:gd name="connsiteY170" fmla="*/ 39044 h 451064"/>
              <a:gd name="connsiteX171" fmla="*/ 1414720 w 1494693"/>
              <a:gd name="connsiteY171" fmla="*/ 50690 h 451064"/>
              <a:gd name="connsiteX172" fmla="*/ 1379828 w 1494693"/>
              <a:gd name="connsiteY172" fmla="*/ 56691 h 451064"/>
              <a:gd name="connsiteX173" fmla="*/ 1379828 w 1494693"/>
              <a:gd name="connsiteY173" fmla="*/ 30777 h 451064"/>
              <a:gd name="connsiteX174" fmla="*/ 1316377 w 1494693"/>
              <a:gd name="connsiteY174" fmla="*/ 30777 h 451064"/>
              <a:gd name="connsiteX175" fmla="*/ 1316377 w 1494693"/>
              <a:gd name="connsiteY175" fmla="*/ 44665 h 451064"/>
              <a:gd name="connsiteX176" fmla="*/ 1407593 w 1494693"/>
              <a:gd name="connsiteY176" fmla="*/ 120487 h 451064"/>
              <a:gd name="connsiteX177" fmla="*/ 1452637 w 1494693"/>
              <a:gd name="connsiteY177" fmla="*/ 82962 h 451064"/>
              <a:gd name="connsiteX178" fmla="*/ 1478172 w 1494693"/>
              <a:gd name="connsiteY178" fmla="*/ 105104 h 451064"/>
              <a:gd name="connsiteX179" fmla="*/ 1433507 w 1494693"/>
              <a:gd name="connsiteY179" fmla="*/ 142250 h 451064"/>
              <a:gd name="connsiteX180" fmla="*/ 1494693 w 1494693"/>
              <a:gd name="connsiteY180" fmla="*/ 193687 h 451064"/>
              <a:gd name="connsiteX181" fmla="*/ 1435748 w 1494693"/>
              <a:gd name="connsiteY181" fmla="*/ 193687 h 451064"/>
              <a:gd name="connsiteX182" fmla="*/ 1403845 w 1494693"/>
              <a:gd name="connsiteY182" fmla="*/ 166658 h 451064"/>
              <a:gd name="connsiteX183" fmla="*/ 1386576 w 1494693"/>
              <a:gd name="connsiteY183" fmla="*/ 182041 h 451064"/>
              <a:gd name="connsiteX184" fmla="*/ 1350166 w 1494693"/>
              <a:gd name="connsiteY184" fmla="*/ 193687 h 451064"/>
              <a:gd name="connsiteX185" fmla="*/ 1281093 w 1494693"/>
              <a:gd name="connsiteY185" fmla="*/ 193687 h 451064"/>
              <a:gd name="connsiteX186" fmla="*/ 1232680 w 1494693"/>
              <a:gd name="connsiteY186" fmla="*/ 147896 h 451064"/>
              <a:gd name="connsiteX187" fmla="*/ 1232680 w 1494693"/>
              <a:gd name="connsiteY187" fmla="*/ 135134 h 451064"/>
              <a:gd name="connsiteX188" fmla="*/ 1256697 w 1494693"/>
              <a:gd name="connsiteY188" fmla="*/ 99103 h 451064"/>
              <a:gd name="connsiteX189" fmla="*/ 1296132 w 1494693"/>
              <a:gd name="connsiteY189" fmla="*/ 75442 h 451064"/>
              <a:gd name="connsiteX190" fmla="*/ 1279610 w 1494693"/>
              <a:gd name="connsiteY190" fmla="*/ 46160 h 451064"/>
              <a:gd name="connsiteX191" fmla="*/ 1279610 w 1494693"/>
              <a:gd name="connsiteY191" fmla="*/ 35284 h 451064"/>
              <a:gd name="connsiteX192" fmla="*/ 1327656 w 1494693"/>
              <a:gd name="connsiteY192" fmla="*/ 0 h 451064"/>
              <a:gd name="connsiteX193" fmla="*/ 6392 w 1494693"/>
              <a:gd name="connsiteY193" fmla="*/ 0 h 451064"/>
              <a:gd name="connsiteX194" fmla="*/ 131006 w 1494693"/>
              <a:gd name="connsiteY194" fmla="*/ 0 h 451064"/>
              <a:gd name="connsiteX195" fmla="*/ 241744 w 1494693"/>
              <a:gd name="connsiteY195" fmla="*/ 95723 h 451064"/>
              <a:gd name="connsiteX196" fmla="*/ 198965 w 1494693"/>
              <a:gd name="connsiteY196" fmla="*/ 178684 h 451064"/>
              <a:gd name="connsiteX197" fmla="*/ 119383 w 1494693"/>
              <a:gd name="connsiteY197" fmla="*/ 193687 h 451064"/>
              <a:gd name="connsiteX198" fmla="*/ 6392 w 1494693"/>
              <a:gd name="connsiteY198" fmla="*/ 193687 h 451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</a:cxnLst>
            <a:rect l="l" t="t" r="r" b="b"/>
            <a:pathLst>
              <a:path w="1494693" h="451064">
                <a:moveTo>
                  <a:pt x="303535" y="321539"/>
                </a:moveTo>
                <a:lnTo>
                  <a:pt x="303535" y="420643"/>
                </a:lnTo>
                <a:lnTo>
                  <a:pt x="434103" y="420643"/>
                </a:lnTo>
                <a:lnTo>
                  <a:pt x="434103" y="321539"/>
                </a:lnTo>
                <a:close/>
                <a:moveTo>
                  <a:pt x="1334379" y="319666"/>
                </a:moveTo>
                <a:lnTo>
                  <a:pt x="1334379" y="363584"/>
                </a:lnTo>
                <a:lnTo>
                  <a:pt x="1422594" y="363584"/>
                </a:lnTo>
                <a:cubicBezTo>
                  <a:pt x="1434217" y="363584"/>
                  <a:pt x="1440242" y="361343"/>
                  <a:pt x="1440242" y="350823"/>
                </a:cubicBezTo>
                <a:lnTo>
                  <a:pt x="1440242" y="332428"/>
                </a:lnTo>
                <a:cubicBezTo>
                  <a:pt x="1440242" y="321932"/>
                  <a:pt x="1434217" y="319666"/>
                  <a:pt x="1422594" y="319666"/>
                </a:cubicBezTo>
                <a:close/>
                <a:moveTo>
                  <a:pt x="305053" y="292280"/>
                </a:moveTo>
                <a:lnTo>
                  <a:pt x="430260" y="292280"/>
                </a:lnTo>
                <a:cubicBezTo>
                  <a:pt x="462021" y="292280"/>
                  <a:pt x="472375" y="299396"/>
                  <a:pt x="472375" y="329806"/>
                </a:cubicBezTo>
                <a:lnTo>
                  <a:pt x="472375" y="413515"/>
                </a:lnTo>
                <a:cubicBezTo>
                  <a:pt x="472375" y="443545"/>
                  <a:pt x="462033" y="451064"/>
                  <a:pt x="430260" y="451064"/>
                </a:cubicBezTo>
                <a:lnTo>
                  <a:pt x="305053" y="451064"/>
                </a:lnTo>
                <a:cubicBezTo>
                  <a:pt x="272889" y="451064"/>
                  <a:pt x="262938" y="443545"/>
                  <a:pt x="262938" y="413515"/>
                </a:cubicBezTo>
                <a:lnTo>
                  <a:pt x="262938" y="329806"/>
                </a:lnTo>
                <a:cubicBezTo>
                  <a:pt x="262938" y="299396"/>
                  <a:pt x="273292" y="292280"/>
                  <a:pt x="305053" y="292280"/>
                </a:cubicBezTo>
                <a:close/>
                <a:moveTo>
                  <a:pt x="1296119" y="292269"/>
                </a:moveTo>
                <a:lnTo>
                  <a:pt x="1439139" y="292269"/>
                </a:lnTo>
                <a:cubicBezTo>
                  <a:pt x="1464650" y="292269"/>
                  <a:pt x="1476297" y="300903"/>
                  <a:pt x="1476297" y="323046"/>
                </a:cubicBezTo>
                <a:lnTo>
                  <a:pt x="1476297" y="360572"/>
                </a:lnTo>
                <a:cubicBezTo>
                  <a:pt x="1476297" y="382347"/>
                  <a:pt x="1464650" y="390981"/>
                  <a:pt x="1439139" y="390981"/>
                </a:cubicBezTo>
                <a:lnTo>
                  <a:pt x="1417364" y="390981"/>
                </a:lnTo>
                <a:lnTo>
                  <a:pt x="1492806" y="451053"/>
                </a:lnTo>
                <a:lnTo>
                  <a:pt x="1437242" y="451053"/>
                </a:lnTo>
                <a:lnTo>
                  <a:pt x="1370802" y="390981"/>
                </a:lnTo>
                <a:lnTo>
                  <a:pt x="1334391" y="390981"/>
                </a:lnTo>
                <a:lnTo>
                  <a:pt x="1334391" y="451053"/>
                </a:lnTo>
                <a:lnTo>
                  <a:pt x="1296119" y="451053"/>
                </a:lnTo>
                <a:close/>
                <a:moveTo>
                  <a:pt x="1079613" y="292269"/>
                </a:moveTo>
                <a:lnTo>
                  <a:pt x="1253434" y="292269"/>
                </a:lnTo>
                <a:lnTo>
                  <a:pt x="1253434" y="320437"/>
                </a:lnTo>
                <a:lnTo>
                  <a:pt x="1119439" y="320437"/>
                </a:lnTo>
                <a:lnTo>
                  <a:pt x="1119439" y="354950"/>
                </a:lnTo>
                <a:lnTo>
                  <a:pt x="1197549" y="354950"/>
                </a:lnTo>
                <a:lnTo>
                  <a:pt x="1197549" y="382347"/>
                </a:lnTo>
                <a:lnTo>
                  <a:pt x="1119439" y="382347"/>
                </a:lnTo>
                <a:lnTo>
                  <a:pt x="1119439" y="421391"/>
                </a:lnTo>
                <a:lnTo>
                  <a:pt x="1255343" y="421391"/>
                </a:lnTo>
                <a:lnTo>
                  <a:pt x="1255343" y="451053"/>
                </a:lnTo>
                <a:lnTo>
                  <a:pt x="1079613" y="451053"/>
                </a:lnTo>
                <a:close/>
                <a:moveTo>
                  <a:pt x="801861" y="292269"/>
                </a:moveTo>
                <a:lnTo>
                  <a:pt x="838070" y="292269"/>
                </a:lnTo>
                <a:lnTo>
                  <a:pt x="917307" y="386475"/>
                </a:lnTo>
                <a:lnTo>
                  <a:pt x="996189" y="292269"/>
                </a:lnTo>
                <a:lnTo>
                  <a:pt x="1027950" y="292269"/>
                </a:lnTo>
                <a:lnTo>
                  <a:pt x="1027950" y="451053"/>
                </a:lnTo>
                <a:lnTo>
                  <a:pt x="991196" y="451053"/>
                </a:lnTo>
                <a:lnTo>
                  <a:pt x="991196" y="341809"/>
                </a:lnTo>
                <a:lnTo>
                  <a:pt x="918849" y="431911"/>
                </a:lnTo>
                <a:lnTo>
                  <a:pt x="911187" y="431911"/>
                </a:lnTo>
                <a:lnTo>
                  <a:pt x="838070" y="344454"/>
                </a:lnTo>
                <a:lnTo>
                  <a:pt x="838070" y="451053"/>
                </a:lnTo>
                <a:lnTo>
                  <a:pt x="801861" y="451053"/>
                </a:lnTo>
                <a:close/>
                <a:moveTo>
                  <a:pt x="522331" y="292269"/>
                </a:moveTo>
                <a:lnTo>
                  <a:pt x="558528" y="292269"/>
                </a:lnTo>
                <a:lnTo>
                  <a:pt x="637777" y="386475"/>
                </a:lnTo>
                <a:lnTo>
                  <a:pt x="716647" y="292269"/>
                </a:lnTo>
                <a:lnTo>
                  <a:pt x="748420" y="292269"/>
                </a:lnTo>
                <a:lnTo>
                  <a:pt x="748420" y="451053"/>
                </a:lnTo>
                <a:lnTo>
                  <a:pt x="711666" y="451053"/>
                </a:lnTo>
                <a:lnTo>
                  <a:pt x="711666" y="341809"/>
                </a:lnTo>
                <a:lnTo>
                  <a:pt x="639295" y="431911"/>
                </a:lnTo>
                <a:lnTo>
                  <a:pt x="631646" y="431911"/>
                </a:lnTo>
                <a:lnTo>
                  <a:pt x="558528" y="344454"/>
                </a:lnTo>
                <a:lnTo>
                  <a:pt x="558528" y="451053"/>
                </a:lnTo>
                <a:lnTo>
                  <a:pt x="522331" y="451053"/>
                </a:lnTo>
                <a:close/>
                <a:moveTo>
                  <a:pt x="55932" y="257353"/>
                </a:moveTo>
                <a:lnTo>
                  <a:pt x="165923" y="257353"/>
                </a:lnTo>
                <a:cubicBezTo>
                  <a:pt x="200460" y="257353"/>
                  <a:pt x="213968" y="266355"/>
                  <a:pt x="213968" y="299777"/>
                </a:cubicBezTo>
                <a:lnTo>
                  <a:pt x="213968" y="302742"/>
                </a:lnTo>
                <a:lnTo>
                  <a:pt x="174178" y="312123"/>
                </a:lnTo>
                <a:lnTo>
                  <a:pt x="174178" y="291143"/>
                </a:lnTo>
                <a:lnTo>
                  <a:pt x="47298" y="291143"/>
                </a:lnTo>
                <a:lnTo>
                  <a:pt x="47298" y="332795"/>
                </a:lnTo>
                <a:lnTo>
                  <a:pt x="168188" y="332795"/>
                </a:lnTo>
                <a:cubicBezTo>
                  <a:pt x="204599" y="332795"/>
                  <a:pt x="216613" y="342177"/>
                  <a:pt x="216613" y="378599"/>
                </a:cubicBezTo>
                <a:lnTo>
                  <a:pt x="216613" y="405249"/>
                </a:lnTo>
                <a:cubicBezTo>
                  <a:pt x="216613" y="441659"/>
                  <a:pt x="204599" y="451040"/>
                  <a:pt x="168188" y="451040"/>
                </a:cubicBezTo>
                <a:lnTo>
                  <a:pt x="48425" y="451040"/>
                </a:lnTo>
                <a:cubicBezTo>
                  <a:pt x="12014" y="451040"/>
                  <a:pt x="0" y="441659"/>
                  <a:pt x="0" y="405249"/>
                </a:cubicBezTo>
                <a:lnTo>
                  <a:pt x="0" y="402046"/>
                </a:lnTo>
                <a:lnTo>
                  <a:pt x="39814" y="393780"/>
                </a:lnTo>
                <a:lnTo>
                  <a:pt x="39814" y="414630"/>
                </a:lnTo>
                <a:lnTo>
                  <a:pt x="176811" y="414630"/>
                </a:lnTo>
                <a:lnTo>
                  <a:pt x="176811" y="370332"/>
                </a:lnTo>
                <a:lnTo>
                  <a:pt x="55932" y="370332"/>
                </a:lnTo>
                <a:cubicBezTo>
                  <a:pt x="19534" y="370332"/>
                  <a:pt x="7887" y="360951"/>
                  <a:pt x="7887" y="324529"/>
                </a:cubicBezTo>
                <a:lnTo>
                  <a:pt x="7887" y="303157"/>
                </a:lnTo>
                <a:cubicBezTo>
                  <a:pt x="7887" y="266735"/>
                  <a:pt x="19522" y="257353"/>
                  <a:pt x="55932" y="257353"/>
                </a:cubicBezTo>
                <a:close/>
                <a:moveTo>
                  <a:pt x="1320136" y="96103"/>
                </a:moveTo>
                <a:lnTo>
                  <a:pt x="1270597" y="126880"/>
                </a:lnTo>
                <a:lnTo>
                  <a:pt x="1270597" y="159898"/>
                </a:lnTo>
                <a:lnTo>
                  <a:pt x="1270597" y="159910"/>
                </a:lnTo>
                <a:lnTo>
                  <a:pt x="1360295" y="159910"/>
                </a:lnTo>
                <a:lnTo>
                  <a:pt x="1378310" y="144527"/>
                </a:lnTo>
                <a:close/>
                <a:moveTo>
                  <a:pt x="325903" y="62313"/>
                </a:moveTo>
                <a:lnTo>
                  <a:pt x="325903" y="106231"/>
                </a:lnTo>
                <a:lnTo>
                  <a:pt x="414119" y="106231"/>
                </a:lnTo>
                <a:cubicBezTo>
                  <a:pt x="425741" y="106231"/>
                  <a:pt x="431766" y="103989"/>
                  <a:pt x="431766" y="93470"/>
                </a:cubicBezTo>
                <a:lnTo>
                  <a:pt x="431766" y="75075"/>
                </a:lnTo>
                <a:cubicBezTo>
                  <a:pt x="431766" y="64578"/>
                  <a:pt x="425741" y="62313"/>
                  <a:pt x="414119" y="62313"/>
                </a:cubicBezTo>
                <a:close/>
                <a:moveTo>
                  <a:pt x="997103" y="34916"/>
                </a:moveTo>
                <a:lnTo>
                  <a:pt x="1091308" y="34916"/>
                </a:lnTo>
                <a:cubicBezTo>
                  <a:pt x="1120590" y="34916"/>
                  <a:pt x="1132961" y="41688"/>
                  <a:pt x="1132961" y="69453"/>
                </a:cubicBezTo>
                <a:lnTo>
                  <a:pt x="1132961" y="71161"/>
                </a:lnTo>
                <a:lnTo>
                  <a:pt x="1099562" y="78277"/>
                </a:lnTo>
                <a:lnTo>
                  <a:pt x="1099562" y="63440"/>
                </a:lnTo>
                <a:lnTo>
                  <a:pt x="990331" y="63440"/>
                </a:lnTo>
                <a:lnTo>
                  <a:pt x="990331" y="96874"/>
                </a:lnTo>
                <a:lnTo>
                  <a:pt x="1093573" y="96874"/>
                </a:lnTo>
                <a:cubicBezTo>
                  <a:pt x="1125109" y="96874"/>
                  <a:pt x="1134858" y="104369"/>
                  <a:pt x="1134858" y="134399"/>
                </a:cubicBezTo>
                <a:lnTo>
                  <a:pt x="1134858" y="156175"/>
                </a:lnTo>
                <a:cubicBezTo>
                  <a:pt x="1134858" y="185837"/>
                  <a:pt x="1125097" y="193700"/>
                  <a:pt x="1093573" y="193700"/>
                </a:cubicBezTo>
                <a:lnTo>
                  <a:pt x="990331" y="193700"/>
                </a:lnTo>
                <a:cubicBezTo>
                  <a:pt x="958806" y="193700"/>
                  <a:pt x="948678" y="185837"/>
                  <a:pt x="948678" y="156175"/>
                </a:cubicBezTo>
                <a:lnTo>
                  <a:pt x="948678" y="153731"/>
                </a:lnTo>
                <a:lnTo>
                  <a:pt x="983191" y="147339"/>
                </a:lnTo>
                <a:lnTo>
                  <a:pt x="983191" y="164062"/>
                </a:lnTo>
                <a:lnTo>
                  <a:pt x="1099942" y="164062"/>
                </a:lnTo>
                <a:lnTo>
                  <a:pt x="1099942" y="127639"/>
                </a:lnTo>
                <a:lnTo>
                  <a:pt x="997103" y="127639"/>
                </a:lnTo>
                <a:cubicBezTo>
                  <a:pt x="965946" y="127639"/>
                  <a:pt x="955426" y="120144"/>
                  <a:pt x="955426" y="90114"/>
                </a:cubicBezTo>
                <a:lnTo>
                  <a:pt x="955426" y="72465"/>
                </a:lnTo>
                <a:cubicBezTo>
                  <a:pt x="955426" y="42436"/>
                  <a:pt x="965946" y="34916"/>
                  <a:pt x="997103" y="34916"/>
                </a:cubicBezTo>
                <a:close/>
                <a:moveTo>
                  <a:pt x="738042" y="34916"/>
                </a:moveTo>
                <a:lnTo>
                  <a:pt x="908472" y="34916"/>
                </a:lnTo>
                <a:lnTo>
                  <a:pt x="908472" y="63060"/>
                </a:lnTo>
                <a:lnTo>
                  <a:pt x="777086" y="63060"/>
                </a:lnTo>
                <a:lnTo>
                  <a:pt x="777086" y="97597"/>
                </a:lnTo>
                <a:lnTo>
                  <a:pt x="853655" y="97597"/>
                </a:lnTo>
                <a:lnTo>
                  <a:pt x="853655" y="124994"/>
                </a:lnTo>
                <a:lnTo>
                  <a:pt x="777086" y="124994"/>
                </a:lnTo>
                <a:lnTo>
                  <a:pt x="777086" y="164037"/>
                </a:lnTo>
                <a:lnTo>
                  <a:pt x="910334" y="164037"/>
                </a:lnTo>
                <a:lnTo>
                  <a:pt x="910334" y="193687"/>
                </a:lnTo>
                <a:lnTo>
                  <a:pt x="738042" y="193687"/>
                </a:lnTo>
                <a:close/>
                <a:moveTo>
                  <a:pt x="520955" y="34916"/>
                </a:moveTo>
                <a:lnTo>
                  <a:pt x="691385" y="34916"/>
                </a:lnTo>
                <a:lnTo>
                  <a:pt x="691385" y="63060"/>
                </a:lnTo>
                <a:lnTo>
                  <a:pt x="559999" y="63060"/>
                </a:lnTo>
                <a:lnTo>
                  <a:pt x="559999" y="97597"/>
                </a:lnTo>
                <a:lnTo>
                  <a:pt x="636568" y="97597"/>
                </a:lnTo>
                <a:lnTo>
                  <a:pt x="636568" y="124994"/>
                </a:lnTo>
                <a:lnTo>
                  <a:pt x="559999" y="124994"/>
                </a:lnTo>
                <a:lnTo>
                  <a:pt x="559999" y="164037"/>
                </a:lnTo>
                <a:lnTo>
                  <a:pt x="693247" y="164037"/>
                </a:lnTo>
                <a:lnTo>
                  <a:pt x="693247" y="193687"/>
                </a:lnTo>
                <a:lnTo>
                  <a:pt x="520955" y="193687"/>
                </a:lnTo>
                <a:close/>
                <a:moveTo>
                  <a:pt x="287619" y="34916"/>
                </a:moveTo>
                <a:lnTo>
                  <a:pt x="430640" y="34916"/>
                </a:lnTo>
                <a:cubicBezTo>
                  <a:pt x="456162" y="34916"/>
                  <a:pt x="467809" y="43550"/>
                  <a:pt x="467809" y="65693"/>
                </a:cubicBezTo>
                <a:lnTo>
                  <a:pt x="467809" y="103230"/>
                </a:lnTo>
                <a:cubicBezTo>
                  <a:pt x="467809" y="124982"/>
                  <a:pt x="456174" y="133616"/>
                  <a:pt x="430640" y="133616"/>
                </a:cubicBezTo>
                <a:lnTo>
                  <a:pt x="408864" y="133616"/>
                </a:lnTo>
                <a:lnTo>
                  <a:pt x="484330" y="193687"/>
                </a:lnTo>
                <a:lnTo>
                  <a:pt x="428766" y="193687"/>
                </a:lnTo>
                <a:lnTo>
                  <a:pt x="362326" y="133616"/>
                </a:lnTo>
                <a:lnTo>
                  <a:pt x="325915" y="133616"/>
                </a:lnTo>
                <a:lnTo>
                  <a:pt x="325915" y="193687"/>
                </a:lnTo>
                <a:lnTo>
                  <a:pt x="287619" y="193687"/>
                </a:lnTo>
                <a:close/>
                <a:moveTo>
                  <a:pt x="51437" y="34537"/>
                </a:moveTo>
                <a:lnTo>
                  <a:pt x="51437" y="157289"/>
                </a:lnTo>
                <a:lnTo>
                  <a:pt x="109611" y="157289"/>
                </a:lnTo>
                <a:cubicBezTo>
                  <a:pt x="166670" y="157289"/>
                  <a:pt x="195205" y="143021"/>
                  <a:pt x="195205" y="94976"/>
                </a:cubicBezTo>
                <a:cubicBezTo>
                  <a:pt x="195205" y="55565"/>
                  <a:pt x="173809" y="34537"/>
                  <a:pt x="131386" y="34537"/>
                </a:cubicBezTo>
                <a:close/>
                <a:moveTo>
                  <a:pt x="1327656" y="0"/>
                </a:moveTo>
                <a:lnTo>
                  <a:pt x="1366675" y="0"/>
                </a:lnTo>
                <a:cubicBezTo>
                  <a:pt x="1401580" y="0"/>
                  <a:pt x="1414720" y="7520"/>
                  <a:pt x="1414720" y="39044"/>
                </a:cubicBezTo>
                <a:lnTo>
                  <a:pt x="1414720" y="50690"/>
                </a:lnTo>
                <a:lnTo>
                  <a:pt x="1379828" y="56691"/>
                </a:lnTo>
                <a:lnTo>
                  <a:pt x="1379828" y="30777"/>
                </a:lnTo>
                <a:lnTo>
                  <a:pt x="1316377" y="30777"/>
                </a:lnTo>
                <a:lnTo>
                  <a:pt x="1316377" y="44665"/>
                </a:lnTo>
                <a:lnTo>
                  <a:pt x="1407593" y="120487"/>
                </a:lnTo>
                <a:lnTo>
                  <a:pt x="1452637" y="82962"/>
                </a:lnTo>
                <a:lnTo>
                  <a:pt x="1478172" y="105104"/>
                </a:lnTo>
                <a:lnTo>
                  <a:pt x="1433507" y="142250"/>
                </a:lnTo>
                <a:lnTo>
                  <a:pt x="1494693" y="193687"/>
                </a:lnTo>
                <a:lnTo>
                  <a:pt x="1435748" y="193687"/>
                </a:lnTo>
                <a:lnTo>
                  <a:pt x="1403845" y="166658"/>
                </a:lnTo>
                <a:lnTo>
                  <a:pt x="1386576" y="182041"/>
                </a:lnTo>
                <a:cubicBezTo>
                  <a:pt x="1374183" y="192940"/>
                  <a:pt x="1366296" y="193687"/>
                  <a:pt x="1350166" y="193687"/>
                </a:cubicBezTo>
                <a:lnTo>
                  <a:pt x="1281093" y="193687"/>
                </a:lnTo>
                <a:cubicBezTo>
                  <a:pt x="1244694" y="193687"/>
                  <a:pt x="1232680" y="184306"/>
                  <a:pt x="1232680" y="147896"/>
                </a:cubicBezTo>
                <a:lnTo>
                  <a:pt x="1232680" y="135134"/>
                </a:lnTo>
                <a:cubicBezTo>
                  <a:pt x="1232680" y="115233"/>
                  <a:pt x="1239820" y="109232"/>
                  <a:pt x="1256697" y="99103"/>
                </a:cubicBezTo>
                <a:lnTo>
                  <a:pt x="1296132" y="75442"/>
                </a:lnTo>
                <a:cubicBezTo>
                  <a:pt x="1284864" y="66061"/>
                  <a:pt x="1279610" y="57427"/>
                  <a:pt x="1279610" y="46160"/>
                </a:cubicBezTo>
                <a:lnTo>
                  <a:pt x="1279610" y="35284"/>
                </a:lnTo>
                <a:cubicBezTo>
                  <a:pt x="1279610" y="7520"/>
                  <a:pt x="1294613" y="0"/>
                  <a:pt x="1327656" y="0"/>
                </a:cubicBezTo>
                <a:close/>
                <a:moveTo>
                  <a:pt x="6392" y="0"/>
                </a:moveTo>
                <a:lnTo>
                  <a:pt x="131006" y="0"/>
                </a:lnTo>
                <a:cubicBezTo>
                  <a:pt x="203471" y="0"/>
                  <a:pt x="241744" y="35664"/>
                  <a:pt x="241744" y="95723"/>
                </a:cubicBezTo>
                <a:cubicBezTo>
                  <a:pt x="241744" y="132133"/>
                  <a:pt x="225994" y="162163"/>
                  <a:pt x="198965" y="178684"/>
                </a:cubicBezTo>
                <a:cubicBezTo>
                  <a:pt x="180178" y="190307"/>
                  <a:pt x="153896" y="193687"/>
                  <a:pt x="119383" y="193687"/>
                </a:cubicBezTo>
                <a:lnTo>
                  <a:pt x="6392" y="193687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wrap="square" lIns="0" tIns="0" rIns="0" bIns="0" rtlCol="0" anchor="ctr">
            <a:noAutofit/>
          </a:bodyPr>
          <a:lstStyle/>
          <a:p>
            <a:endParaRPr lang="de-DE" sz="100" dirty="0">
              <a:latin typeface="Calibri" panose="020F0502020204030204" pitchFamily="34" charset="0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90B54C2D-8235-4852-8EB7-5E05529B24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25600" y="7200000"/>
            <a:ext cx="234000" cy="180000"/>
          </a:xfrm>
        </p:spPr>
        <p:txBody>
          <a:bodyPr lIns="0" tIns="0" rIns="0" bIns="0"/>
          <a:lstStyle/>
          <a:p>
            <a:fld id="{9829449A-3FF3-45CE-9F4F-09BADC0910C6}" type="slidenum">
              <a:rPr lang="de-DE" noProof="0"/>
              <a:t>‹Nr.›</a:t>
            </a:fld>
            <a:endParaRPr lang="de-DE" noProof="0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A4534FC4-D037-44B0-B266-D9E820FC1D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63200" y="7200000"/>
            <a:ext cx="7880400" cy="180000"/>
          </a:xfrm>
        </p:spPr>
        <p:txBody>
          <a:bodyPr lIns="0" tIns="0" rIns="0" bIns="0"/>
          <a:lstStyle/>
          <a:p>
            <a:endParaRPr lang="de-DE" noProof="0" dirty="0"/>
          </a:p>
        </p:txBody>
      </p:sp>
      <p:sp>
        <p:nvSpPr>
          <p:cNvPr id="2" name="MIO_AGENDA_LAST_SLIDE" hidden="1">
            <a:extLst>
              <a:ext uri="{FF2B5EF4-FFF2-40B4-BE49-F238E27FC236}">
                <a16:creationId xmlns:a16="http://schemas.microsoft.com/office/drawing/2014/main" id="{A8E41079-294B-06CD-A072-D869CE3CA9A5}"/>
              </a:ext>
            </a:extLst>
          </p:cNvPr>
          <p:cNvSpPr/>
          <p:nvPr userDrawn="1"/>
        </p:nvSpPr>
        <p:spPr>
          <a:xfrm>
            <a:off x="11194443" y="249944"/>
            <a:ext cx="731461" cy="963677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de-DE" sz="1400" dirty="0" err="1"/>
          </a:p>
        </p:txBody>
      </p:sp>
    </p:spTree>
    <p:extLst>
      <p:ext uri="{BB962C8B-B14F-4D97-AF65-F5344CB8AC3E}">
        <p14:creationId xmlns:p14="http://schemas.microsoft.com/office/powerpoint/2010/main" val="855885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 xmlns:a14="http://schemas.microsoft.com/office/drawing/2010/main" xmlns:a16="http://schemas.microsoft.com/office/drawing/2014/main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genda 1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3875" y="5524961"/>
            <a:ext cx="11668125" cy="1333039"/>
          </a:xfrm>
        </p:spPr>
        <p:txBody>
          <a:bodyPr vert="horz" wrap="square" lIns="0" tIns="0" rIns="396000" bIns="144000" rtlCol="0" anchor="ctr" anchorCtr="0">
            <a:spAutoFit/>
          </a:bodyPr>
          <a:lstStyle>
            <a:lvl1pPr algn="r">
              <a:defRPr lang="de-DE" sz="9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genda</a:t>
            </a:r>
            <a:endParaRPr lang="de-DE" dirty="0"/>
          </a:p>
        </p:txBody>
      </p:sp>
      <p:sp>
        <p:nvSpPr>
          <p:cNvPr id="5" name="MIO_VALID_LAYOUT" hidden="1"/>
          <p:cNvSpPr/>
          <p:nvPr userDrawn="1">
            <p:custDataLst>
              <p:tags r:id="rId1"/>
            </p:custDataLst>
          </p:nvPr>
        </p:nvSpPr>
        <p:spPr>
          <a:xfrm>
            <a:off x="7536161" y="592213"/>
            <a:ext cx="632377" cy="524631"/>
          </a:xfrm>
          <a:prstGeom prst="noSmoking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33" dirty="0" err="1">
              <a:solidFill>
                <a:schemeClr val="tx1"/>
              </a:solidFill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242EA6DE-DB28-3B9A-AC51-9CBD13C98D6D}"/>
              </a:ext>
            </a:extLst>
          </p:cNvPr>
          <p:cNvGrpSpPr/>
          <p:nvPr userDrawn="1"/>
        </p:nvGrpSpPr>
        <p:grpSpPr>
          <a:xfrm>
            <a:off x="5728702" y="0"/>
            <a:ext cx="5369372" cy="5296404"/>
            <a:chOff x="5728702" y="0"/>
            <a:chExt cx="5369372" cy="5296404"/>
          </a:xfrm>
        </p:grpSpPr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CDD99E04-73BA-B346-5AC3-90E470AE42EF}"/>
                </a:ext>
              </a:extLst>
            </p:cNvPr>
            <p:cNvSpPr/>
            <p:nvPr/>
          </p:nvSpPr>
          <p:spPr>
            <a:xfrm>
              <a:off x="6079818" y="0"/>
              <a:ext cx="5018256" cy="5296404"/>
            </a:xfrm>
            <a:custGeom>
              <a:avLst/>
              <a:gdLst>
                <a:gd name="connsiteX0" fmla="*/ 0 w 5018256"/>
                <a:gd name="connsiteY0" fmla="*/ 0 h 5296404"/>
                <a:gd name="connsiteX1" fmla="*/ 30365 w 5018256"/>
                <a:gd name="connsiteY1" fmla="*/ 0 h 5296404"/>
                <a:gd name="connsiteX2" fmla="*/ 3330443 w 5018256"/>
                <a:gd name="connsiteY2" fmla="*/ 4990755 h 5296404"/>
                <a:gd name="connsiteX3" fmla="*/ 3851933 w 5018256"/>
                <a:gd name="connsiteY3" fmla="*/ 5271070 h 5296404"/>
                <a:gd name="connsiteX4" fmla="*/ 4802573 w 5018256"/>
                <a:gd name="connsiteY4" fmla="*/ 5271070 h 5296404"/>
                <a:gd name="connsiteX5" fmla="*/ 4978768 w 5018256"/>
                <a:gd name="connsiteY5" fmla="*/ 5193803 h 5296404"/>
                <a:gd name="connsiteX6" fmla="*/ 4946594 w 5018256"/>
                <a:gd name="connsiteY6" fmla="*/ 5004182 h 5296404"/>
                <a:gd name="connsiteX7" fmla="*/ 1655552 w 5018256"/>
                <a:gd name="connsiteY7" fmla="*/ 0 h 5296404"/>
                <a:gd name="connsiteX8" fmla="*/ 1685661 w 5018256"/>
                <a:gd name="connsiteY8" fmla="*/ 0 h 5296404"/>
                <a:gd name="connsiteX9" fmla="*/ 4967621 w 5018256"/>
                <a:gd name="connsiteY9" fmla="*/ 4990121 h 5296404"/>
                <a:gd name="connsiteX10" fmla="*/ 5000935 w 5018256"/>
                <a:gd name="connsiteY10" fmla="*/ 5205709 h 5296404"/>
                <a:gd name="connsiteX11" fmla="*/ 4802447 w 5018256"/>
                <a:gd name="connsiteY11" fmla="*/ 5296404 h 5296404"/>
                <a:gd name="connsiteX12" fmla="*/ 4802700 w 5018256"/>
                <a:gd name="connsiteY12" fmla="*/ 5296277 h 5296404"/>
                <a:gd name="connsiteX13" fmla="*/ 3852060 w 5018256"/>
                <a:gd name="connsiteY13" fmla="*/ 5296277 h 5296404"/>
                <a:gd name="connsiteX14" fmla="*/ 3309417 w 5018256"/>
                <a:gd name="connsiteY14" fmla="*/ 5004561 h 5296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018256" h="5296404">
                  <a:moveTo>
                    <a:pt x="0" y="0"/>
                  </a:moveTo>
                  <a:lnTo>
                    <a:pt x="30365" y="0"/>
                  </a:lnTo>
                  <a:lnTo>
                    <a:pt x="3330443" y="4990755"/>
                  </a:lnTo>
                  <a:cubicBezTo>
                    <a:pt x="3432664" y="5145289"/>
                    <a:pt x="3666619" y="5271070"/>
                    <a:pt x="3851933" y="5271070"/>
                  </a:cubicBezTo>
                  <a:lnTo>
                    <a:pt x="4802573" y="5271070"/>
                  </a:lnTo>
                  <a:cubicBezTo>
                    <a:pt x="4889341" y="5271070"/>
                    <a:pt x="4951915" y="5243583"/>
                    <a:pt x="4978768" y="5193803"/>
                  </a:cubicBezTo>
                  <a:cubicBezTo>
                    <a:pt x="5005622" y="5143896"/>
                    <a:pt x="4994222" y="5076635"/>
                    <a:pt x="4946594" y="5004182"/>
                  </a:cubicBezTo>
                  <a:lnTo>
                    <a:pt x="1655552" y="0"/>
                  </a:lnTo>
                  <a:lnTo>
                    <a:pt x="1685661" y="0"/>
                  </a:lnTo>
                  <a:lnTo>
                    <a:pt x="4967621" y="4990121"/>
                  </a:lnTo>
                  <a:cubicBezTo>
                    <a:pt x="5020695" y="5070682"/>
                    <a:pt x="5032475" y="5147316"/>
                    <a:pt x="5000935" y="5205709"/>
                  </a:cubicBezTo>
                  <a:cubicBezTo>
                    <a:pt x="4969394" y="5264230"/>
                    <a:pt x="4898967" y="5296404"/>
                    <a:pt x="4802447" y="5296404"/>
                  </a:cubicBezTo>
                  <a:lnTo>
                    <a:pt x="4802700" y="5296277"/>
                  </a:lnTo>
                  <a:lnTo>
                    <a:pt x="3852060" y="5296277"/>
                  </a:lnTo>
                  <a:cubicBezTo>
                    <a:pt x="3659145" y="5296277"/>
                    <a:pt x="3415691" y="5165429"/>
                    <a:pt x="3309417" y="5004561"/>
                  </a:cubicBezTo>
                  <a:close/>
                </a:path>
              </a:pathLst>
            </a:custGeom>
            <a:solidFill>
              <a:srgbClr val="F2F2F2"/>
            </a:solidFill>
            <a:ln w="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49E540D5-7AA2-C7EC-4A6D-86AD06969BB3}"/>
                </a:ext>
              </a:extLst>
            </p:cNvPr>
            <p:cNvSpPr/>
            <p:nvPr userDrawn="1"/>
          </p:nvSpPr>
          <p:spPr>
            <a:xfrm>
              <a:off x="5728702" y="0"/>
              <a:ext cx="5039375" cy="3914588"/>
            </a:xfrm>
            <a:custGeom>
              <a:avLst/>
              <a:gdLst>
                <a:gd name="connsiteX0" fmla="*/ 2683395 w 5039375"/>
                <a:gd name="connsiteY0" fmla="*/ 0 h 3914588"/>
                <a:gd name="connsiteX1" fmla="*/ 2713417 w 5039375"/>
                <a:gd name="connsiteY1" fmla="*/ 0 h 3914588"/>
                <a:gd name="connsiteX2" fmla="*/ 3350451 w 5039375"/>
                <a:gd name="connsiteY2" fmla="*/ 968554 h 3914588"/>
                <a:gd name="connsiteX3" fmla="*/ 3256337 w 5039375"/>
                <a:gd name="connsiteY3" fmla="*/ 1471551 h 3914588"/>
                <a:gd name="connsiteX4" fmla="*/ 119290 w 5039375"/>
                <a:gd name="connsiteY4" fmla="*/ 3707866 h 3914588"/>
                <a:gd name="connsiteX5" fmla="*/ 26950 w 5039375"/>
                <a:gd name="connsiteY5" fmla="*/ 3834914 h 3914588"/>
                <a:gd name="connsiteX6" fmla="*/ 175658 w 5039375"/>
                <a:gd name="connsiteY6" fmla="*/ 3885328 h 3914588"/>
                <a:gd name="connsiteX7" fmla="*/ 1118951 w 5039375"/>
                <a:gd name="connsiteY7" fmla="*/ 3889127 h 3914588"/>
                <a:gd name="connsiteX8" fmla="*/ 1732021 w 5039375"/>
                <a:gd name="connsiteY8" fmla="*/ 3691526 h 3914588"/>
                <a:gd name="connsiteX9" fmla="*/ 4872742 w 5039375"/>
                <a:gd name="connsiteY9" fmla="*/ 1411890 h 3914588"/>
                <a:gd name="connsiteX10" fmla="*/ 4957989 w 5039375"/>
                <a:gd name="connsiteY10" fmla="*/ 941574 h 3914588"/>
                <a:gd name="connsiteX11" fmla="*/ 4335392 w 5039375"/>
                <a:gd name="connsiteY11" fmla="*/ 0 h 3914588"/>
                <a:gd name="connsiteX12" fmla="*/ 4365759 w 5039375"/>
                <a:gd name="connsiteY12" fmla="*/ 0 h 3914588"/>
                <a:gd name="connsiteX13" fmla="*/ 4979143 w 5039375"/>
                <a:gd name="connsiteY13" fmla="*/ 927641 h 3914588"/>
                <a:gd name="connsiteX14" fmla="*/ 4887562 w 5039375"/>
                <a:gd name="connsiteY14" fmla="*/ 1432411 h 3914588"/>
                <a:gd name="connsiteX15" fmla="*/ 1746842 w 5039375"/>
                <a:gd name="connsiteY15" fmla="*/ 3712046 h 3914588"/>
                <a:gd name="connsiteX16" fmla="*/ 1121104 w 5039375"/>
                <a:gd name="connsiteY16" fmla="*/ 3914588 h 3914588"/>
                <a:gd name="connsiteX17" fmla="*/ 1118951 w 5039375"/>
                <a:gd name="connsiteY17" fmla="*/ 3914588 h 3914588"/>
                <a:gd name="connsiteX18" fmla="*/ 175658 w 5039375"/>
                <a:gd name="connsiteY18" fmla="*/ 3910788 h 3914588"/>
                <a:gd name="connsiteX19" fmla="*/ 2883 w 5039375"/>
                <a:gd name="connsiteY19" fmla="*/ 3842641 h 3914588"/>
                <a:gd name="connsiteX20" fmla="*/ 104597 w 5039375"/>
                <a:gd name="connsiteY20" fmla="*/ 3687219 h 3914588"/>
                <a:gd name="connsiteX21" fmla="*/ 3241898 w 5039375"/>
                <a:gd name="connsiteY21" fmla="*/ 1450777 h 3914588"/>
                <a:gd name="connsiteX22" fmla="*/ 3329551 w 5039375"/>
                <a:gd name="connsiteY22" fmla="*/ 982361 h 3914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039375" h="3914588">
                  <a:moveTo>
                    <a:pt x="2683395" y="0"/>
                  </a:moveTo>
                  <a:lnTo>
                    <a:pt x="2713417" y="0"/>
                  </a:lnTo>
                  <a:lnTo>
                    <a:pt x="3350451" y="968554"/>
                  </a:lnTo>
                  <a:cubicBezTo>
                    <a:pt x="3458119" y="1132209"/>
                    <a:pt x="3415939" y="1357803"/>
                    <a:pt x="3256337" y="1471551"/>
                  </a:cubicBezTo>
                  <a:lnTo>
                    <a:pt x="119290" y="3707866"/>
                  </a:lnTo>
                  <a:cubicBezTo>
                    <a:pt x="50510" y="3756887"/>
                    <a:pt x="16943" y="3803247"/>
                    <a:pt x="26950" y="3834914"/>
                  </a:cubicBezTo>
                  <a:cubicBezTo>
                    <a:pt x="36957" y="3866581"/>
                    <a:pt x="91170" y="3885074"/>
                    <a:pt x="175658" y="3885328"/>
                  </a:cubicBezTo>
                  <a:lnTo>
                    <a:pt x="1118951" y="3889127"/>
                  </a:lnTo>
                  <a:cubicBezTo>
                    <a:pt x="1305659" y="3889634"/>
                    <a:pt x="1580907" y="3801220"/>
                    <a:pt x="1732021" y="3691526"/>
                  </a:cubicBezTo>
                  <a:lnTo>
                    <a:pt x="4872742" y="1411890"/>
                  </a:lnTo>
                  <a:cubicBezTo>
                    <a:pt x="5020310" y="1304730"/>
                    <a:pt x="5058563" y="1093702"/>
                    <a:pt x="4957989" y="941574"/>
                  </a:cubicBezTo>
                  <a:lnTo>
                    <a:pt x="4335392" y="0"/>
                  </a:lnTo>
                  <a:lnTo>
                    <a:pt x="4365759" y="0"/>
                  </a:lnTo>
                  <a:lnTo>
                    <a:pt x="4979143" y="927641"/>
                  </a:lnTo>
                  <a:cubicBezTo>
                    <a:pt x="5087063" y="1090915"/>
                    <a:pt x="5046023" y="1317396"/>
                    <a:pt x="4887562" y="1432411"/>
                  </a:cubicBezTo>
                  <a:lnTo>
                    <a:pt x="1746842" y="3712046"/>
                  </a:lnTo>
                  <a:cubicBezTo>
                    <a:pt x="1592687" y="3824020"/>
                    <a:pt x="1312499" y="3914588"/>
                    <a:pt x="1121104" y="3914588"/>
                  </a:cubicBezTo>
                  <a:lnTo>
                    <a:pt x="1118951" y="3914588"/>
                  </a:lnTo>
                  <a:lnTo>
                    <a:pt x="175658" y="3910788"/>
                  </a:lnTo>
                  <a:cubicBezTo>
                    <a:pt x="78124" y="3910408"/>
                    <a:pt x="16816" y="3886214"/>
                    <a:pt x="2883" y="3842641"/>
                  </a:cubicBezTo>
                  <a:cubicBezTo>
                    <a:pt x="-10924" y="3799067"/>
                    <a:pt x="25177" y="3743966"/>
                    <a:pt x="104597" y="3687219"/>
                  </a:cubicBezTo>
                  <a:lnTo>
                    <a:pt x="3241898" y="1450777"/>
                  </a:lnTo>
                  <a:cubicBezTo>
                    <a:pt x="3390478" y="1344883"/>
                    <a:pt x="3429745" y="1134742"/>
                    <a:pt x="3329551" y="982361"/>
                  </a:cubicBezTo>
                  <a:close/>
                </a:path>
              </a:pathLst>
            </a:custGeom>
            <a:solidFill>
              <a:srgbClr val="F2F2F2"/>
            </a:solidFill>
            <a:ln w="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322228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 xmlns:p15="http://schemas.microsoft.com/office/powerpoint/2012/main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ank long tex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">
            <a:extLst>
              <a:ext uri="{FF2B5EF4-FFF2-40B4-BE49-F238E27FC236}">
                <a16:creationId xmlns:a16="http://schemas.microsoft.com/office/drawing/2014/main" id="{45ED790F-6C6D-C751-5F31-593FF5BBCACE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 bwMode="gray">
          <a:xfrm>
            <a:off x="4110989" y="1"/>
            <a:ext cx="8081011" cy="6857998"/>
          </a:xfrm>
          <a:custGeom>
            <a:avLst/>
            <a:gdLst>
              <a:gd name="connsiteX0" fmla="*/ 2394807 w 8081011"/>
              <a:gd name="connsiteY0" fmla="*/ 3210329 h 6857998"/>
              <a:gd name="connsiteX1" fmla="*/ 3470159 w 8081011"/>
              <a:gd name="connsiteY1" fmla="*/ 4845204 h 6857998"/>
              <a:gd name="connsiteX2" fmla="*/ 3472966 w 8081011"/>
              <a:gd name="connsiteY2" fmla="*/ 5216084 h 6857998"/>
              <a:gd name="connsiteX3" fmla="*/ 3449361 w 8081011"/>
              <a:gd name="connsiteY3" fmla="*/ 5246915 h 6857998"/>
              <a:gd name="connsiteX4" fmla="*/ 2202809 w 8081011"/>
              <a:gd name="connsiteY4" fmla="*/ 3350752 h 6857998"/>
              <a:gd name="connsiteX5" fmla="*/ 2224535 w 8081011"/>
              <a:gd name="connsiteY5" fmla="*/ 3331713 h 6857998"/>
              <a:gd name="connsiteX6" fmla="*/ 1885583 w 8081011"/>
              <a:gd name="connsiteY6" fmla="*/ 2436149 h 6857998"/>
              <a:gd name="connsiteX7" fmla="*/ 2380896 w 8081011"/>
              <a:gd name="connsiteY7" fmla="*/ 3189181 h 6857998"/>
              <a:gd name="connsiteX8" fmla="*/ 2210012 w 8081011"/>
              <a:gd name="connsiteY8" fmla="*/ 3311001 h 6857998"/>
              <a:gd name="connsiteX9" fmla="*/ 2188860 w 8081011"/>
              <a:gd name="connsiteY9" fmla="*/ 3329534 h 6857998"/>
              <a:gd name="connsiteX10" fmla="*/ 1693299 w 8081011"/>
              <a:gd name="connsiteY10" fmla="*/ 2575723 h 6857998"/>
              <a:gd name="connsiteX11" fmla="*/ 3512691 w 8081011"/>
              <a:gd name="connsiteY11" fmla="*/ 2413407 h 6857998"/>
              <a:gd name="connsiteX12" fmla="*/ 5093778 w 8081011"/>
              <a:gd name="connsiteY12" fmla="*/ 4804538 h 6857998"/>
              <a:gd name="connsiteX13" fmla="*/ 5008783 w 8081011"/>
              <a:gd name="connsiteY13" fmla="*/ 5273462 h 6857998"/>
              <a:gd name="connsiteX14" fmla="*/ 3964914 w 8081011"/>
              <a:gd name="connsiteY14" fmla="*/ 6031137 h 6857998"/>
              <a:gd name="connsiteX15" fmla="*/ 3463909 w 8081011"/>
              <a:gd name="connsiteY15" fmla="*/ 5269045 h 6857998"/>
              <a:gd name="connsiteX16" fmla="*/ 3494052 w 8081011"/>
              <a:gd name="connsiteY16" fmla="*/ 5229686 h 6857998"/>
              <a:gd name="connsiteX17" fmla="*/ 3490997 w 8081011"/>
              <a:gd name="connsiteY17" fmla="*/ 4831438 h 6857998"/>
              <a:gd name="connsiteX18" fmla="*/ 2415204 w 8081011"/>
              <a:gd name="connsiteY18" fmla="*/ 3195789 h 6857998"/>
              <a:gd name="connsiteX19" fmla="*/ 2995165 w 8081011"/>
              <a:gd name="connsiteY19" fmla="*/ 1630734 h 6857998"/>
              <a:gd name="connsiteX20" fmla="*/ 3498731 w 8081011"/>
              <a:gd name="connsiteY20" fmla="*/ 2392294 h 6857998"/>
              <a:gd name="connsiteX21" fmla="*/ 2401293 w 8081011"/>
              <a:gd name="connsiteY21" fmla="*/ 3174640 h 6857998"/>
              <a:gd name="connsiteX22" fmla="*/ 1905884 w 8081011"/>
              <a:gd name="connsiteY22" fmla="*/ 2421413 h 6857998"/>
              <a:gd name="connsiteX23" fmla="*/ 4338422 w 8081011"/>
              <a:gd name="connsiteY23" fmla="*/ 900453 h 6857998"/>
              <a:gd name="connsiteX24" fmla="*/ 4338548 w 8081011"/>
              <a:gd name="connsiteY24" fmla="*/ 900453 h 6857998"/>
              <a:gd name="connsiteX25" fmla="*/ 4341200 w 8081011"/>
              <a:gd name="connsiteY25" fmla="*/ 900453 h 6857998"/>
              <a:gd name="connsiteX26" fmla="*/ 5281702 w 8081011"/>
              <a:gd name="connsiteY26" fmla="*/ 904241 h 6857998"/>
              <a:gd name="connsiteX27" fmla="*/ 5429969 w 8081011"/>
              <a:gd name="connsiteY27" fmla="*/ 954506 h 6857998"/>
              <a:gd name="connsiteX28" fmla="*/ 5337902 w 8081011"/>
              <a:gd name="connsiteY28" fmla="*/ 1081177 h 6857998"/>
              <a:gd name="connsiteX29" fmla="*/ 3519308 w 8081011"/>
              <a:gd name="connsiteY29" fmla="*/ 2377624 h 6857998"/>
              <a:gd name="connsiteX30" fmla="*/ 3015623 w 8081011"/>
              <a:gd name="connsiteY30" fmla="*/ 1615884 h 6857998"/>
              <a:gd name="connsiteX31" fmla="*/ 3729818 w 8081011"/>
              <a:gd name="connsiteY31" fmla="*/ 1097469 h 6857998"/>
              <a:gd name="connsiteX32" fmla="*/ 4338422 w 8081011"/>
              <a:gd name="connsiteY32" fmla="*/ 900453 h 6857998"/>
              <a:gd name="connsiteX33" fmla="*/ 1947152 w 8081011"/>
              <a:gd name="connsiteY33" fmla="*/ 0 h 6857998"/>
              <a:gd name="connsiteX34" fmla="*/ 8081011 w 8081011"/>
              <a:gd name="connsiteY34" fmla="*/ 0 h 6857998"/>
              <a:gd name="connsiteX35" fmla="*/ 8081011 w 8081011"/>
              <a:gd name="connsiteY35" fmla="*/ 6857998 h 6857998"/>
              <a:gd name="connsiteX36" fmla="*/ 4508499 w 8081011"/>
              <a:gd name="connsiteY36" fmla="*/ 6857998 h 6857998"/>
              <a:gd name="connsiteX37" fmla="*/ 3978793 w 8081011"/>
              <a:gd name="connsiteY37" fmla="*/ 6052248 h 6857998"/>
              <a:gd name="connsiteX38" fmla="*/ 5023559 w 8081011"/>
              <a:gd name="connsiteY38" fmla="*/ 5293922 h 6857998"/>
              <a:gd name="connsiteX39" fmla="*/ 5114869 w 8081011"/>
              <a:gd name="connsiteY39" fmla="*/ 4790645 h 6857998"/>
              <a:gd name="connsiteX40" fmla="*/ 3533269 w 8081011"/>
              <a:gd name="connsiteY40" fmla="*/ 2398738 h 6857998"/>
              <a:gd name="connsiteX41" fmla="*/ 5352426 w 8081011"/>
              <a:gd name="connsiteY41" fmla="*/ 1101889 h 6857998"/>
              <a:gd name="connsiteX42" fmla="*/ 5453965 w 8081011"/>
              <a:gd name="connsiteY42" fmla="*/ 946928 h 6857998"/>
              <a:gd name="connsiteX43" fmla="*/ 5281702 w 8081011"/>
              <a:gd name="connsiteY43" fmla="*/ 878983 h 6857998"/>
              <a:gd name="connsiteX44" fmla="*/ 4341200 w 8081011"/>
              <a:gd name="connsiteY44" fmla="*/ 875194 h 6857998"/>
              <a:gd name="connsiteX45" fmla="*/ 4338422 w 8081011"/>
              <a:gd name="connsiteY45" fmla="*/ 875194 h 6857998"/>
              <a:gd name="connsiteX46" fmla="*/ 3715042 w 8081011"/>
              <a:gd name="connsiteY46" fmla="*/ 1077136 h 6857998"/>
              <a:gd name="connsiteX47" fmla="*/ 3001733 w 8081011"/>
              <a:gd name="connsiteY47" fmla="*/ 1594879 h 6857998"/>
              <a:gd name="connsiteX48" fmla="*/ 313280 w 8081011"/>
              <a:gd name="connsiteY48" fmla="*/ 0 h 6857998"/>
              <a:gd name="connsiteX49" fmla="*/ 1916875 w 8081011"/>
              <a:gd name="connsiteY49" fmla="*/ 0 h 6857998"/>
              <a:gd name="connsiteX50" fmla="*/ 2981275 w 8081011"/>
              <a:gd name="connsiteY50" fmla="*/ 1609728 h 6857998"/>
              <a:gd name="connsiteX51" fmla="*/ 1892024 w 8081011"/>
              <a:gd name="connsiteY51" fmla="*/ 2400341 h 6857998"/>
              <a:gd name="connsiteX52" fmla="*/ 0 w 8081011"/>
              <a:gd name="connsiteY52" fmla="*/ 0 h 6857998"/>
              <a:gd name="connsiteX53" fmla="*/ 283186 w 8081011"/>
              <a:gd name="connsiteY53" fmla="*/ 0 h 6857998"/>
              <a:gd name="connsiteX54" fmla="*/ 1871723 w 8081011"/>
              <a:gd name="connsiteY54" fmla="*/ 2415077 h 6857998"/>
              <a:gd name="connsiteX55" fmla="*/ 1679440 w 8081011"/>
              <a:gd name="connsiteY55" fmla="*/ 2554642 h 6857998"/>
              <a:gd name="connsiteX56" fmla="*/ 0 w 8081011"/>
              <a:gd name="connsiteY56" fmla="*/ 1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8081011" h="6857998">
                <a:moveTo>
                  <a:pt x="2394807" y="3210329"/>
                </a:moveTo>
                <a:lnTo>
                  <a:pt x="3470159" y="4845204"/>
                </a:lnTo>
                <a:cubicBezTo>
                  <a:pt x="3545083" y="4959152"/>
                  <a:pt x="3541791" y="5105493"/>
                  <a:pt x="3472966" y="5216084"/>
                </a:cubicBezTo>
                <a:lnTo>
                  <a:pt x="3449361" y="5246915"/>
                </a:lnTo>
                <a:lnTo>
                  <a:pt x="2202809" y="3350752"/>
                </a:lnTo>
                <a:lnTo>
                  <a:pt x="2224535" y="3331713"/>
                </a:lnTo>
                <a:close/>
                <a:moveTo>
                  <a:pt x="1885583" y="2436149"/>
                </a:moveTo>
                <a:lnTo>
                  <a:pt x="2380896" y="3189181"/>
                </a:lnTo>
                <a:lnTo>
                  <a:pt x="2210012" y="3311001"/>
                </a:lnTo>
                <a:lnTo>
                  <a:pt x="2188860" y="3329534"/>
                </a:lnTo>
                <a:lnTo>
                  <a:pt x="1693299" y="2575723"/>
                </a:lnTo>
                <a:close/>
                <a:moveTo>
                  <a:pt x="3512691" y="2413407"/>
                </a:moveTo>
                <a:lnTo>
                  <a:pt x="5093778" y="4804538"/>
                </a:lnTo>
                <a:cubicBezTo>
                  <a:pt x="5194054" y="4956215"/>
                  <a:pt x="5155914" y="5166619"/>
                  <a:pt x="5008783" y="5273462"/>
                </a:cubicBezTo>
                <a:lnTo>
                  <a:pt x="3964914" y="6031137"/>
                </a:lnTo>
                <a:lnTo>
                  <a:pt x="3463909" y="5269045"/>
                </a:lnTo>
                <a:lnTo>
                  <a:pt x="3494052" y="5229686"/>
                </a:lnTo>
                <a:cubicBezTo>
                  <a:pt x="3567981" y="5110932"/>
                  <a:pt x="3571509" y="4953816"/>
                  <a:pt x="3490997" y="4831438"/>
                </a:cubicBezTo>
                <a:lnTo>
                  <a:pt x="2415204" y="3195789"/>
                </a:lnTo>
                <a:close/>
                <a:moveTo>
                  <a:pt x="2995165" y="1630734"/>
                </a:moveTo>
                <a:lnTo>
                  <a:pt x="3498731" y="2392294"/>
                </a:lnTo>
                <a:lnTo>
                  <a:pt x="2401293" y="3174640"/>
                </a:lnTo>
                <a:lnTo>
                  <a:pt x="1905884" y="2421413"/>
                </a:lnTo>
                <a:close/>
                <a:moveTo>
                  <a:pt x="4338422" y="900453"/>
                </a:moveTo>
                <a:lnTo>
                  <a:pt x="4338548" y="900453"/>
                </a:lnTo>
                <a:cubicBezTo>
                  <a:pt x="4339433" y="900453"/>
                  <a:pt x="4340316" y="900453"/>
                  <a:pt x="4341200" y="900453"/>
                </a:cubicBezTo>
                <a:lnTo>
                  <a:pt x="5281702" y="904241"/>
                </a:lnTo>
                <a:cubicBezTo>
                  <a:pt x="5365813" y="904494"/>
                  <a:pt x="5419866" y="922933"/>
                  <a:pt x="5429969" y="954506"/>
                </a:cubicBezTo>
                <a:cubicBezTo>
                  <a:pt x="5440073" y="986079"/>
                  <a:pt x="5406479" y="1032302"/>
                  <a:pt x="5337902" y="1081177"/>
                </a:cubicBezTo>
                <a:lnTo>
                  <a:pt x="3519308" y="2377624"/>
                </a:lnTo>
                <a:lnTo>
                  <a:pt x="3015623" y="1615884"/>
                </a:lnTo>
                <a:lnTo>
                  <a:pt x="3729818" y="1097469"/>
                </a:lnTo>
                <a:cubicBezTo>
                  <a:pt x="3879980" y="988479"/>
                  <a:pt x="4152267" y="900453"/>
                  <a:pt x="4338422" y="900453"/>
                </a:cubicBezTo>
                <a:close/>
                <a:moveTo>
                  <a:pt x="1947152" y="0"/>
                </a:moveTo>
                <a:lnTo>
                  <a:pt x="8081011" y="0"/>
                </a:lnTo>
                <a:lnTo>
                  <a:pt x="8081011" y="6857998"/>
                </a:lnTo>
                <a:lnTo>
                  <a:pt x="4508499" y="6857998"/>
                </a:lnTo>
                <a:lnTo>
                  <a:pt x="3978793" y="6052248"/>
                </a:lnTo>
                <a:lnTo>
                  <a:pt x="5023559" y="5293922"/>
                </a:lnTo>
                <a:cubicBezTo>
                  <a:pt x="5181551" y="5179248"/>
                  <a:pt x="5222470" y="4953436"/>
                  <a:pt x="5114869" y="4790645"/>
                </a:cubicBezTo>
                <a:lnTo>
                  <a:pt x="3533269" y="2398738"/>
                </a:lnTo>
                <a:lnTo>
                  <a:pt x="5352426" y="1101889"/>
                </a:lnTo>
                <a:cubicBezTo>
                  <a:pt x="5431738" y="1045310"/>
                  <a:pt x="5467731" y="990373"/>
                  <a:pt x="5453965" y="946928"/>
                </a:cubicBezTo>
                <a:cubicBezTo>
                  <a:pt x="5440199" y="903484"/>
                  <a:pt x="5378948" y="879362"/>
                  <a:pt x="5281702" y="878983"/>
                </a:cubicBezTo>
                <a:lnTo>
                  <a:pt x="4341200" y="875194"/>
                </a:lnTo>
                <a:cubicBezTo>
                  <a:pt x="4340190" y="875194"/>
                  <a:pt x="4339306" y="875194"/>
                  <a:pt x="4338422" y="875194"/>
                </a:cubicBezTo>
                <a:cubicBezTo>
                  <a:pt x="4147846" y="875194"/>
                  <a:pt x="3868866" y="965493"/>
                  <a:pt x="3715042" y="1077136"/>
                </a:cubicBezTo>
                <a:lnTo>
                  <a:pt x="3001733" y="1594879"/>
                </a:lnTo>
                <a:close/>
                <a:moveTo>
                  <a:pt x="313280" y="0"/>
                </a:moveTo>
                <a:lnTo>
                  <a:pt x="1916875" y="0"/>
                </a:lnTo>
                <a:lnTo>
                  <a:pt x="2981275" y="1609728"/>
                </a:lnTo>
                <a:lnTo>
                  <a:pt x="1892024" y="2400341"/>
                </a:lnTo>
                <a:close/>
                <a:moveTo>
                  <a:pt x="0" y="0"/>
                </a:moveTo>
                <a:lnTo>
                  <a:pt x="283186" y="0"/>
                </a:lnTo>
                <a:lnTo>
                  <a:pt x="1871723" y="2415077"/>
                </a:lnTo>
                <a:lnTo>
                  <a:pt x="1679440" y="2554642"/>
                </a:lnTo>
                <a:lnTo>
                  <a:pt x="0" y="1"/>
                </a:lnTo>
                <a:close/>
              </a:path>
            </a:pathLst>
          </a:custGeom>
          <a:pattFill prst="lt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5" name="design element grey">
            <a:extLst>
              <a:ext uri="{FF2B5EF4-FFF2-40B4-BE49-F238E27FC236}">
                <a16:creationId xmlns:a16="http://schemas.microsoft.com/office/drawing/2014/main" id="{3132DB7F-169F-70AD-02D5-21651FB04978}"/>
              </a:ext>
            </a:extLst>
          </p:cNvPr>
          <p:cNvSpPr>
            <a:spLocks noChangeAspect="1"/>
          </p:cNvSpPr>
          <p:nvPr/>
        </p:nvSpPr>
        <p:spPr>
          <a:xfrm>
            <a:off x="4543151" y="2554642"/>
            <a:ext cx="3717028" cy="4303358"/>
          </a:xfrm>
          <a:custGeom>
            <a:avLst/>
            <a:gdLst>
              <a:gd name="connsiteX0" fmla="*/ 1247279 w 3717028"/>
              <a:gd name="connsiteY0" fmla="*/ 0 h 4303358"/>
              <a:gd name="connsiteX1" fmla="*/ 1261138 w 3717028"/>
              <a:gd name="connsiteY1" fmla="*/ 21081 h 4303358"/>
              <a:gd name="connsiteX2" fmla="*/ 166230 w 3717028"/>
              <a:gd name="connsiteY2" fmla="*/ 815844 h 4303358"/>
              <a:gd name="connsiteX3" fmla="*/ 81235 w 3717028"/>
              <a:gd name="connsiteY3" fmla="*/ 1284768 h 4303358"/>
              <a:gd name="connsiteX4" fmla="*/ 1662360 w 3717028"/>
              <a:gd name="connsiteY4" fmla="*/ 3675925 h 4303358"/>
              <a:gd name="connsiteX5" fmla="*/ 2759783 w 3717028"/>
              <a:gd name="connsiteY5" fmla="*/ 2893621 h 4303358"/>
              <a:gd name="connsiteX6" fmla="*/ 1684016 w 3717028"/>
              <a:gd name="connsiteY6" fmla="*/ 1257868 h 4303358"/>
              <a:gd name="connsiteX7" fmla="*/ 1723729 w 3717028"/>
              <a:gd name="connsiteY7" fmla="*/ 803778 h 4303358"/>
              <a:gd name="connsiteX8" fmla="*/ 1756699 w 3717028"/>
              <a:gd name="connsiteY8" fmla="*/ 774892 h 4303358"/>
              <a:gd name="connsiteX9" fmla="*/ 1770648 w 3717028"/>
              <a:gd name="connsiteY9" fmla="*/ 796110 h 4303358"/>
              <a:gd name="connsiteX10" fmla="*/ 1741989 w 3717028"/>
              <a:gd name="connsiteY10" fmla="*/ 821222 h 4303358"/>
              <a:gd name="connsiteX11" fmla="*/ 1704980 w 3717028"/>
              <a:gd name="connsiteY11" fmla="*/ 1244102 h 4303358"/>
              <a:gd name="connsiteX12" fmla="*/ 2780257 w 3717028"/>
              <a:gd name="connsiteY12" fmla="*/ 2879026 h 4303358"/>
              <a:gd name="connsiteX13" fmla="*/ 2950604 w 3717028"/>
              <a:gd name="connsiteY13" fmla="*/ 2757593 h 4303358"/>
              <a:gd name="connsiteX14" fmla="*/ 3000990 w 3717028"/>
              <a:gd name="connsiteY14" fmla="*/ 2713444 h 4303358"/>
              <a:gd name="connsiteX15" fmla="*/ 3017199 w 3717028"/>
              <a:gd name="connsiteY15" fmla="*/ 2692273 h 4303358"/>
              <a:gd name="connsiteX16" fmla="*/ 3031748 w 3717028"/>
              <a:gd name="connsiteY16" fmla="*/ 2714403 h 4303358"/>
              <a:gd name="connsiteX17" fmla="*/ 3019124 w 3717028"/>
              <a:gd name="connsiteY17" fmla="*/ 2730887 h 4303358"/>
              <a:gd name="connsiteX18" fmla="*/ 2965001 w 3717028"/>
              <a:gd name="connsiteY18" fmla="*/ 2778305 h 4303358"/>
              <a:gd name="connsiteX19" fmla="*/ 2794127 w 3717028"/>
              <a:gd name="connsiteY19" fmla="*/ 2900116 h 4303358"/>
              <a:gd name="connsiteX20" fmla="*/ 3289385 w 3717028"/>
              <a:gd name="connsiteY20" fmla="*/ 3653140 h 4303358"/>
              <a:gd name="connsiteX21" fmla="*/ 3532753 w 3717028"/>
              <a:gd name="connsiteY21" fmla="*/ 3476495 h 4303358"/>
              <a:gd name="connsiteX22" fmla="*/ 3546632 w 3717028"/>
              <a:gd name="connsiteY22" fmla="*/ 3497606 h 4303358"/>
              <a:gd name="connsiteX23" fmla="*/ 3303268 w 3717028"/>
              <a:gd name="connsiteY23" fmla="*/ 3674248 h 4303358"/>
              <a:gd name="connsiteX24" fmla="*/ 3717028 w 3717028"/>
              <a:gd name="connsiteY24" fmla="*/ 4303358 h 4303358"/>
              <a:gd name="connsiteX25" fmla="*/ 3686908 w 3717028"/>
              <a:gd name="connsiteY25" fmla="*/ 4303358 h 4303358"/>
              <a:gd name="connsiteX26" fmla="*/ 3282894 w 3717028"/>
              <a:gd name="connsiteY26" fmla="*/ 3689036 h 4303358"/>
              <a:gd name="connsiteX27" fmla="*/ 2436523 w 3717028"/>
              <a:gd name="connsiteY27" fmla="*/ 4303358 h 4303358"/>
              <a:gd name="connsiteX28" fmla="*/ 2393559 w 3717028"/>
              <a:gd name="connsiteY28" fmla="*/ 4303358 h 4303358"/>
              <a:gd name="connsiteX29" fmla="*/ 3269012 w 3717028"/>
              <a:gd name="connsiteY29" fmla="*/ 3667927 h 4303358"/>
              <a:gd name="connsiteX30" fmla="*/ 2773653 w 3717028"/>
              <a:gd name="connsiteY30" fmla="*/ 2914712 h 4303358"/>
              <a:gd name="connsiteX31" fmla="*/ 1676291 w 3717028"/>
              <a:gd name="connsiteY31" fmla="*/ 3696992 h 4303358"/>
              <a:gd name="connsiteX32" fmla="*/ 2077243 w 3717028"/>
              <a:gd name="connsiteY32" fmla="*/ 4303358 h 4303358"/>
              <a:gd name="connsiteX33" fmla="*/ 2047092 w 3717028"/>
              <a:gd name="connsiteY33" fmla="*/ 4303358 h 4303358"/>
              <a:gd name="connsiteX34" fmla="*/ 1655782 w 3717028"/>
              <a:gd name="connsiteY34" fmla="*/ 3711612 h 4303358"/>
              <a:gd name="connsiteX35" fmla="*/ 825695 w 3717028"/>
              <a:gd name="connsiteY35" fmla="*/ 4303358 h 4303358"/>
              <a:gd name="connsiteX36" fmla="*/ 782191 w 3717028"/>
              <a:gd name="connsiteY36" fmla="*/ 4303358 h 4303358"/>
              <a:gd name="connsiteX37" fmla="*/ 1641851 w 3717028"/>
              <a:gd name="connsiteY37" fmla="*/ 3690545 h 4303358"/>
              <a:gd name="connsiteX38" fmla="*/ 60145 w 3717028"/>
              <a:gd name="connsiteY38" fmla="*/ 1298661 h 4303358"/>
              <a:gd name="connsiteX39" fmla="*/ 151454 w 3717028"/>
              <a:gd name="connsiteY39" fmla="*/ 795384 h 4303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3717028" h="4303358">
                <a:moveTo>
                  <a:pt x="1247279" y="0"/>
                </a:moveTo>
                <a:lnTo>
                  <a:pt x="1261138" y="21081"/>
                </a:lnTo>
                <a:lnTo>
                  <a:pt x="166230" y="815844"/>
                </a:lnTo>
                <a:cubicBezTo>
                  <a:pt x="18973" y="922688"/>
                  <a:pt x="-19168" y="1133091"/>
                  <a:pt x="81235" y="1284768"/>
                </a:cubicBezTo>
                <a:lnTo>
                  <a:pt x="1662360" y="3675925"/>
                </a:lnTo>
                <a:lnTo>
                  <a:pt x="2759783" y="2893621"/>
                </a:lnTo>
                <a:lnTo>
                  <a:pt x="1684016" y="1257868"/>
                </a:lnTo>
                <a:cubicBezTo>
                  <a:pt x="1590086" y="1115094"/>
                  <a:pt x="1610543" y="925038"/>
                  <a:pt x="1723729" y="803778"/>
                </a:cubicBezTo>
                <a:lnTo>
                  <a:pt x="1756699" y="774892"/>
                </a:lnTo>
                <a:lnTo>
                  <a:pt x="1770648" y="796110"/>
                </a:lnTo>
                <a:lnTo>
                  <a:pt x="1741989" y="821222"/>
                </a:lnTo>
                <a:cubicBezTo>
                  <a:pt x="1636619" y="934133"/>
                  <a:pt x="1617570" y="1111163"/>
                  <a:pt x="1704980" y="1244102"/>
                </a:cubicBezTo>
                <a:lnTo>
                  <a:pt x="2780257" y="2879026"/>
                </a:lnTo>
                <a:lnTo>
                  <a:pt x="2950604" y="2757593"/>
                </a:lnTo>
                <a:cubicBezTo>
                  <a:pt x="2969122" y="2744396"/>
                  <a:pt x="2985937" y="2729574"/>
                  <a:pt x="3000990" y="2713444"/>
                </a:cubicBezTo>
                <a:lnTo>
                  <a:pt x="3017199" y="2692273"/>
                </a:lnTo>
                <a:lnTo>
                  <a:pt x="3031748" y="2714403"/>
                </a:lnTo>
                <a:lnTo>
                  <a:pt x="3019124" y="2730887"/>
                </a:lnTo>
                <a:cubicBezTo>
                  <a:pt x="3002954" y="2748210"/>
                  <a:pt x="2984893" y="2764129"/>
                  <a:pt x="2965001" y="2778305"/>
                </a:cubicBezTo>
                <a:lnTo>
                  <a:pt x="2794127" y="2900116"/>
                </a:lnTo>
                <a:lnTo>
                  <a:pt x="3289385" y="3653140"/>
                </a:lnTo>
                <a:lnTo>
                  <a:pt x="3532753" y="3476495"/>
                </a:lnTo>
                <a:lnTo>
                  <a:pt x="3546632" y="3497606"/>
                </a:lnTo>
                <a:lnTo>
                  <a:pt x="3303268" y="3674248"/>
                </a:lnTo>
                <a:lnTo>
                  <a:pt x="3717028" y="4303358"/>
                </a:lnTo>
                <a:lnTo>
                  <a:pt x="3686908" y="4303358"/>
                </a:lnTo>
                <a:lnTo>
                  <a:pt x="3282894" y="3689036"/>
                </a:lnTo>
                <a:lnTo>
                  <a:pt x="2436523" y="4303358"/>
                </a:lnTo>
                <a:lnTo>
                  <a:pt x="2393559" y="4303358"/>
                </a:lnTo>
                <a:lnTo>
                  <a:pt x="3269012" y="3667927"/>
                </a:lnTo>
                <a:lnTo>
                  <a:pt x="2773653" y="2914712"/>
                </a:lnTo>
                <a:lnTo>
                  <a:pt x="1676291" y="3696992"/>
                </a:lnTo>
                <a:lnTo>
                  <a:pt x="2077243" y="4303358"/>
                </a:lnTo>
                <a:lnTo>
                  <a:pt x="2047092" y="4303358"/>
                </a:lnTo>
                <a:lnTo>
                  <a:pt x="1655782" y="3711612"/>
                </a:lnTo>
                <a:lnTo>
                  <a:pt x="825695" y="4303358"/>
                </a:lnTo>
                <a:lnTo>
                  <a:pt x="782191" y="4303358"/>
                </a:lnTo>
                <a:lnTo>
                  <a:pt x="1641851" y="3690545"/>
                </a:lnTo>
                <a:lnTo>
                  <a:pt x="60145" y="1298661"/>
                </a:lnTo>
                <a:cubicBezTo>
                  <a:pt x="-47584" y="1135869"/>
                  <a:pt x="-6665" y="910184"/>
                  <a:pt x="151454" y="795384"/>
                </a:cubicBezTo>
                <a:close/>
              </a:path>
            </a:pathLst>
          </a:custGeom>
          <a:solidFill>
            <a:srgbClr val="F2F2F2"/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grpSp>
        <p:nvGrpSpPr>
          <p:cNvPr id="20" name="logo drees&amp;sommer blue">
            <a:extLst>
              <a:ext uri="{FF2B5EF4-FFF2-40B4-BE49-F238E27FC236}">
                <a16:creationId xmlns:a16="http://schemas.microsoft.com/office/drawing/2014/main" id="{1959C79B-0EC4-F061-AA52-335F8BA7A1E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60000" y="360000"/>
            <a:ext cx="1346399" cy="406312"/>
            <a:chOff x="95247" y="1619247"/>
            <a:chExt cx="12004075" cy="3622552"/>
          </a:xfrm>
          <a:solidFill>
            <a:srgbClr val="002965"/>
          </a:solidFill>
        </p:grpSpPr>
        <p:sp>
          <p:nvSpPr>
            <p:cNvPr id="21" name="d">
              <a:extLst>
                <a:ext uri="{FF2B5EF4-FFF2-40B4-BE49-F238E27FC236}">
                  <a16:creationId xmlns:a16="http://schemas.microsoft.com/office/drawing/2014/main" id="{94760A3E-56D1-0A43-6357-4972BEEE3B88}"/>
                </a:ext>
              </a:extLst>
            </p:cNvPr>
            <p:cNvSpPr/>
            <p:nvPr/>
          </p:nvSpPr>
          <p:spPr bwMode="gray">
            <a:xfrm>
              <a:off x="146585" y="1619247"/>
              <a:ext cx="1890145" cy="1555528"/>
            </a:xfrm>
            <a:custGeom>
              <a:avLst/>
              <a:gdLst>
                <a:gd name="connsiteX0" fmla="*/ 361760 w 1890141"/>
                <a:gd name="connsiteY0" fmla="*/ 1263206 h 1555527"/>
                <a:gd name="connsiteX1" fmla="*/ 361760 w 1890141"/>
                <a:gd name="connsiteY1" fmla="*/ 277368 h 1555527"/>
                <a:gd name="connsiteX2" fmla="*/ 1003840 w 1890141"/>
                <a:gd name="connsiteY2" fmla="*/ 277368 h 1555527"/>
                <a:gd name="connsiteX3" fmla="*/ 1516380 w 1890141"/>
                <a:gd name="connsiteY3" fmla="*/ 762762 h 1555527"/>
                <a:gd name="connsiteX4" fmla="*/ 828961 w 1890141"/>
                <a:gd name="connsiteY4" fmla="*/ 1263206 h 1555527"/>
                <a:gd name="connsiteX5" fmla="*/ 361760 w 1890141"/>
                <a:gd name="connsiteY5" fmla="*/ 1263206 h 1555527"/>
                <a:gd name="connsiteX6" fmla="*/ 0 w 1890141"/>
                <a:gd name="connsiteY6" fmla="*/ 1555528 h 1555527"/>
                <a:gd name="connsiteX7" fmla="*/ 907447 w 1890141"/>
                <a:gd name="connsiteY7" fmla="*/ 1555528 h 1555527"/>
                <a:gd name="connsiteX8" fmla="*/ 1546574 w 1890141"/>
                <a:gd name="connsiteY8" fmla="*/ 1435037 h 1555527"/>
                <a:gd name="connsiteX9" fmla="*/ 1890141 w 1890141"/>
                <a:gd name="connsiteY9" fmla="*/ 768763 h 1555527"/>
                <a:gd name="connsiteX10" fmla="*/ 1000792 w 1890141"/>
                <a:gd name="connsiteY10" fmla="*/ 0 h 1555527"/>
                <a:gd name="connsiteX11" fmla="*/ 0 w 1890141"/>
                <a:gd name="connsiteY11" fmla="*/ 0 h 1555527"/>
                <a:gd name="connsiteX12" fmla="*/ 0 w 1890141"/>
                <a:gd name="connsiteY12" fmla="*/ 1555528 h 1555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90141" h="1555527">
                  <a:moveTo>
                    <a:pt x="361760" y="1263206"/>
                  </a:moveTo>
                  <a:lnTo>
                    <a:pt x="361760" y="277368"/>
                  </a:lnTo>
                  <a:lnTo>
                    <a:pt x="1003840" y="277368"/>
                  </a:lnTo>
                  <a:cubicBezTo>
                    <a:pt x="1344549" y="277368"/>
                    <a:pt x="1516380" y="446246"/>
                    <a:pt x="1516380" y="762762"/>
                  </a:cubicBezTo>
                  <a:cubicBezTo>
                    <a:pt x="1516380" y="1148620"/>
                    <a:pt x="1287209" y="1263206"/>
                    <a:pt x="828961" y="1263206"/>
                  </a:cubicBezTo>
                  <a:lnTo>
                    <a:pt x="361760" y="1263206"/>
                  </a:lnTo>
                  <a:close/>
                  <a:moveTo>
                    <a:pt x="0" y="1555528"/>
                  </a:moveTo>
                  <a:lnTo>
                    <a:pt x="907447" y="1555528"/>
                  </a:lnTo>
                  <a:cubicBezTo>
                    <a:pt x="1184624" y="1555528"/>
                    <a:pt x="1395698" y="1528382"/>
                    <a:pt x="1546574" y="1435037"/>
                  </a:cubicBezTo>
                  <a:cubicBezTo>
                    <a:pt x="1763649" y="1302353"/>
                    <a:pt x="1890141" y="1061180"/>
                    <a:pt x="1890141" y="768763"/>
                  </a:cubicBezTo>
                  <a:cubicBezTo>
                    <a:pt x="1890141" y="286417"/>
                    <a:pt x="1582769" y="0"/>
                    <a:pt x="1000792" y="0"/>
                  </a:cubicBezTo>
                  <a:lnTo>
                    <a:pt x="0" y="0"/>
                  </a:lnTo>
                  <a:lnTo>
                    <a:pt x="0" y="15555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  <p:sp>
          <p:nvSpPr>
            <p:cNvPr id="23" name="r">
              <a:extLst>
                <a:ext uri="{FF2B5EF4-FFF2-40B4-BE49-F238E27FC236}">
                  <a16:creationId xmlns:a16="http://schemas.microsoft.com/office/drawing/2014/main" id="{53DD54E1-E232-02AA-71B0-8AB9E05D7722}"/>
                </a:ext>
              </a:extLst>
            </p:cNvPr>
            <p:cNvSpPr/>
            <p:nvPr/>
          </p:nvSpPr>
          <p:spPr bwMode="gray">
            <a:xfrm>
              <a:off x="2405150" y="1899664"/>
              <a:ext cx="1579811" cy="1275112"/>
            </a:xfrm>
            <a:custGeom>
              <a:avLst/>
              <a:gdLst>
                <a:gd name="connsiteX0" fmla="*/ 1015937 w 1579816"/>
                <a:gd name="connsiteY0" fmla="*/ 220028 h 1275111"/>
                <a:gd name="connsiteX1" fmla="*/ 1157668 w 1579816"/>
                <a:gd name="connsiteY1" fmla="*/ 322517 h 1275111"/>
                <a:gd name="connsiteX2" fmla="*/ 1157668 w 1579816"/>
                <a:gd name="connsiteY2" fmla="*/ 470249 h 1275111"/>
                <a:gd name="connsiteX3" fmla="*/ 1015937 w 1579816"/>
                <a:gd name="connsiteY3" fmla="*/ 572738 h 1275111"/>
                <a:gd name="connsiteX4" fmla="*/ 307467 w 1579816"/>
                <a:gd name="connsiteY4" fmla="*/ 572738 h 1275111"/>
                <a:gd name="connsiteX5" fmla="*/ 307467 w 1579816"/>
                <a:gd name="connsiteY5" fmla="*/ 220028 h 1275111"/>
                <a:gd name="connsiteX6" fmla="*/ 1015937 w 1579816"/>
                <a:gd name="connsiteY6" fmla="*/ 220028 h 1275111"/>
                <a:gd name="connsiteX7" fmla="*/ 0 w 1579816"/>
                <a:gd name="connsiteY7" fmla="*/ 1275112 h 1275111"/>
                <a:gd name="connsiteX8" fmla="*/ 307562 w 1579816"/>
                <a:gd name="connsiteY8" fmla="*/ 1275112 h 1275111"/>
                <a:gd name="connsiteX9" fmla="*/ 307562 w 1579816"/>
                <a:gd name="connsiteY9" fmla="*/ 792671 h 1275111"/>
                <a:gd name="connsiteX10" fmla="*/ 599980 w 1579816"/>
                <a:gd name="connsiteY10" fmla="*/ 792671 h 1275111"/>
                <a:gd name="connsiteX11" fmla="*/ 1133570 w 1579816"/>
                <a:gd name="connsiteY11" fmla="*/ 1275112 h 1275111"/>
                <a:gd name="connsiteX12" fmla="*/ 1579817 w 1579816"/>
                <a:gd name="connsiteY12" fmla="*/ 1275112 h 1275111"/>
                <a:gd name="connsiteX13" fmla="*/ 973741 w 1579816"/>
                <a:gd name="connsiteY13" fmla="*/ 792671 h 1275111"/>
                <a:gd name="connsiteX14" fmla="*/ 1148620 w 1579816"/>
                <a:gd name="connsiteY14" fmla="*/ 792671 h 1275111"/>
                <a:gd name="connsiteX15" fmla="*/ 1447133 w 1579816"/>
                <a:gd name="connsiteY15" fmla="*/ 548640 h 1275111"/>
                <a:gd name="connsiteX16" fmla="*/ 1447133 w 1579816"/>
                <a:gd name="connsiteY16" fmla="*/ 247174 h 1275111"/>
                <a:gd name="connsiteX17" fmla="*/ 1148620 w 1579816"/>
                <a:gd name="connsiteY17" fmla="*/ 0 h 1275111"/>
                <a:gd name="connsiteX18" fmla="*/ 0 w 1579816"/>
                <a:gd name="connsiteY18" fmla="*/ 0 h 1275111"/>
                <a:gd name="connsiteX19" fmla="*/ 0 w 1579816"/>
                <a:gd name="connsiteY19" fmla="*/ 1275112 h 1275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79816" h="1275111">
                  <a:moveTo>
                    <a:pt x="1015937" y="220028"/>
                  </a:moveTo>
                  <a:cubicBezTo>
                    <a:pt x="1109282" y="220028"/>
                    <a:pt x="1157668" y="238220"/>
                    <a:pt x="1157668" y="322517"/>
                  </a:cubicBezTo>
                  <a:lnTo>
                    <a:pt x="1157668" y="470249"/>
                  </a:lnTo>
                  <a:cubicBezTo>
                    <a:pt x="1157668" y="554736"/>
                    <a:pt x="1109282" y="572738"/>
                    <a:pt x="1015937" y="572738"/>
                  </a:cubicBezTo>
                  <a:lnTo>
                    <a:pt x="307467" y="572738"/>
                  </a:lnTo>
                  <a:lnTo>
                    <a:pt x="307467" y="220028"/>
                  </a:lnTo>
                  <a:lnTo>
                    <a:pt x="1015937" y="220028"/>
                  </a:lnTo>
                  <a:close/>
                  <a:moveTo>
                    <a:pt x="0" y="1275112"/>
                  </a:moveTo>
                  <a:lnTo>
                    <a:pt x="307562" y="1275112"/>
                  </a:lnTo>
                  <a:lnTo>
                    <a:pt x="307562" y="792671"/>
                  </a:lnTo>
                  <a:lnTo>
                    <a:pt x="599980" y="792671"/>
                  </a:lnTo>
                  <a:lnTo>
                    <a:pt x="1133570" y="1275112"/>
                  </a:lnTo>
                  <a:lnTo>
                    <a:pt x="1579817" y="1275112"/>
                  </a:lnTo>
                  <a:lnTo>
                    <a:pt x="973741" y="792671"/>
                  </a:lnTo>
                  <a:lnTo>
                    <a:pt x="1148620" y="792671"/>
                  </a:lnTo>
                  <a:cubicBezTo>
                    <a:pt x="1353693" y="792671"/>
                    <a:pt x="1447133" y="723329"/>
                    <a:pt x="1447133" y="548640"/>
                  </a:cubicBezTo>
                  <a:lnTo>
                    <a:pt x="1447133" y="247174"/>
                  </a:lnTo>
                  <a:cubicBezTo>
                    <a:pt x="1447133" y="69342"/>
                    <a:pt x="1353598" y="0"/>
                    <a:pt x="1148620" y="0"/>
                  </a:cubicBezTo>
                  <a:lnTo>
                    <a:pt x="0" y="0"/>
                  </a:lnTo>
                  <a:lnTo>
                    <a:pt x="0" y="12751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  <p:sp>
          <p:nvSpPr>
            <p:cNvPr id="24" name="e">
              <a:extLst>
                <a:ext uri="{FF2B5EF4-FFF2-40B4-BE49-F238E27FC236}">
                  <a16:creationId xmlns:a16="http://schemas.microsoft.com/office/drawing/2014/main" id="{DD0014E8-D9F0-E255-FE83-DBBF069948BE}"/>
                </a:ext>
              </a:extLst>
            </p:cNvPr>
            <p:cNvSpPr/>
            <p:nvPr/>
          </p:nvSpPr>
          <p:spPr bwMode="gray">
            <a:xfrm>
              <a:off x="4279102" y="1899664"/>
              <a:ext cx="1383701" cy="1275112"/>
            </a:xfrm>
            <a:custGeom>
              <a:avLst/>
              <a:gdLst>
                <a:gd name="connsiteX0" fmla="*/ 0 w 1383696"/>
                <a:gd name="connsiteY0" fmla="*/ 1275112 h 1275111"/>
                <a:gd name="connsiteX1" fmla="*/ 1383697 w 1383696"/>
                <a:gd name="connsiteY1" fmla="*/ 1275112 h 1275111"/>
                <a:gd name="connsiteX2" fmla="*/ 1383697 w 1383696"/>
                <a:gd name="connsiteY2" fmla="*/ 1036987 h 1275111"/>
                <a:gd name="connsiteX3" fmla="*/ 313563 w 1383696"/>
                <a:gd name="connsiteY3" fmla="*/ 1036987 h 1275111"/>
                <a:gd name="connsiteX4" fmla="*/ 313563 w 1383696"/>
                <a:gd name="connsiteY4" fmla="*/ 723424 h 1275111"/>
                <a:gd name="connsiteX5" fmla="*/ 928497 w 1383696"/>
                <a:gd name="connsiteY5" fmla="*/ 723424 h 1275111"/>
                <a:gd name="connsiteX6" fmla="*/ 928497 w 1383696"/>
                <a:gd name="connsiteY6" fmla="*/ 503396 h 1275111"/>
                <a:gd name="connsiteX7" fmla="*/ 313563 w 1383696"/>
                <a:gd name="connsiteY7" fmla="*/ 503396 h 1275111"/>
                <a:gd name="connsiteX8" fmla="*/ 313563 w 1383696"/>
                <a:gd name="connsiteY8" fmla="*/ 226028 h 1275111"/>
                <a:gd name="connsiteX9" fmla="*/ 1368743 w 1383696"/>
                <a:gd name="connsiteY9" fmla="*/ 226028 h 1275111"/>
                <a:gd name="connsiteX10" fmla="*/ 1368743 w 1383696"/>
                <a:gd name="connsiteY10" fmla="*/ 0 h 1275111"/>
                <a:gd name="connsiteX11" fmla="*/ 0 w 1383696"/>
                <a:gd name="connsiteY11" fmla="*/ 0 h 1275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83696" h="1275111">
                  <a:moveTo>
                    <a:pt x="0" y="1275112"/>
                  </a:moveTo>
                  <a:lnTo>
                    <a:pt x="1383697" y="1275112"/>
                  </a:lnTo>
                  <a:lnTo>
                    <a:pt x="1383697" y="1036987"/>
                  </a:lnTo>
                  <a:lnTo>
                    <a:pt x="313563" y="1036987"/>
                  </a:lnTo>
                  <a:lnTo>
                    <a:pt x="313563" y="723424"/>
                  </a:lnTo>
                  <a:lnTo>
                    <a:pt x="928497" y="723424"/>
                  </a:lnTo>
                  <a:lnTo>
                    <a:pt x="928497" y="503396"/>
                  </a:lnTo>
                  <a:lnTo>
                    <a:pt x="313563" y="503396"/>
                  </a:lnTo>
                  <a:lnTo>
                    <a:pt x="313563" y="226028"/>
                  </a:lnTo>
                  <a:lnTo>
                    <a:pt x="1368743" y="226028"/>
                  </a:lnTo>
                  <a:lnTo>
                    <a:pt x="136874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  <p:sp>
          <p:nvSpPr>
            <p:cNvPr id="25" name="e">
              <a:extLst>
                <a:ext uri="{FF2B5EF4-FFF2-40B4-BE49-F238E27FC236}">
                  <a16:creationId xmlns:a16="http://schemas.microsoft.com/office/drawing/2014/main" id="{2BD5D2CD-A5AF-826C-BB40-E5C11CBFCA0C}"/>
                </a:ext>
              </a:extLst>
            </p:cNvPr>
            <p:cNvSpPr/>
            <p:nvPr/>
          </p:nvSpPr>
          <p:spPr bwMode="gray">
            <a:xfrm>
              <a:off x="6022562" y="1899664"/>
              <a:ext cx="1383701" cy="1275112"/>
            </a:xfrm>
            <a:custGeom>
              <a:avLst/>
              <a:gdLst>
                <a:gd name="connsiteX0" fmla="*/ 0 w 1383696"/>
                <a:gd name="connsiteY0" fmla="*/ 1275112 h 1275111"/>
                <a:gd name="connsiteX1" fmla="*/ 1383697 w 1383696"/>
                <a:gd name="connsiteY1" fmla="*/ 1275112 h 1275111"/>
                <a:gd name="connsiteX2" fmla="*/ 1383697 w 1383696"/>
                <a:gd name="connsiteY2" fmla="*/ 1036987 h 1275111"/>
                <a:gd name="connsiteX3" fmla="*/ 313563 w 1383696"/>
                <a:gd name="connsiteY3" fmla="*/ 1036987 h 1275111"/>
                <a:gd name="connsiteX4" fmla="*/ 313563 w 1383696"/>
                <a:gd name="connsiteY4" fmla="*/ 723424 h 1275111"/>
                <a:gd name="connsiteX5" fmla="*/ 928497 w 1383696"/>
                <a:gd name="connsiteY5" fmla="*/ 723424 h 1275111"/>
                <a:gd name="connsiteX6" fmla="*/ 928497 w 1383696"/>
                <a:gd name="connsiteY6" fmla="*/ 503396 h 1275111"/>
                <a:gd name="connsiteX7" fmla="*/ 313563 w 1383696"/>
                <a:gd name="connsiteY7" fmla="*/ 503396 h 1275111"/>
                <a:gd name="connsiteX8" fmla="*/ 313563 w 1383696"/>
                <a:gd name="connsiteY8" fmla="*/ 226028 h 1275111"/>
                <a:gd name="connsiteX9" fmla="*/ 1368743 w 1383696"/>
                <a:gd name="connsiteY9" fmla="*/ 226028 h 1275111"/>
                <a:gd name="connsiteX10" fmla="*/ 1368743 w 1383696"/>
                <a:gd name="connsiteY10" fmla="*/ 0 h 1275111"/>
                <a:gd name="connsiteX11" fmla="*/ 0 w 1383696"/>
                <a:gd name="connsiteY11" fmla="*/ 0 h 1275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83696" h="1275111">
                  <a:moveTo>
                    <a:pt x="0" y="1275112"/>
                  </a:moveTo>
                  <a:lnTo>
                    <a:pt x="1383697" y="1275112"/>
                  </a:lnTo>
                  <a:lnTo>
                    <a:pt x="1383697" y="1036987"/>
                  </a:lnTo>
                  <a:lnTo>
                    <a:pt x="313563" y="1036987"/>
                  </a:lnTo>
                  <a:lnTo>
                    <a:pt x="313563" y="723424"/>
                  </a:lnTo>
                  <a:lnTo>
                    <a:pt x="928497" y="723424"/>
                  </a:lnTo>
                  <a:lnTo>
                    <a:pt x="928497" y="503396"/>
                  </a:lnTo>
                  <a:lnTo>
                    <a:pt x="313563" y="503396"/>
                  </a:lnTo>
                  <a:lnTo>
                    <a:pt x="313563" y="226028"/>
                  </a:lnTo>
                  <a:lnTo>
                    <a:pt x="1368743" y="226028"/>
                  </a:lnTo>
                  <a:lnTo>
                    <a:pt x="136874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  <p:sp>
          <p:nvSpPr>
            <p:cNvPr id="26" name="s">
              <a:extLst>
                <a:ext uri="{FF2B5EF4-FFF2-40B4-BE49-F238E27FC236}">
                  <a16:creationId xmlns:a16="http://schemas.microsoft.com/office/drawing/2014/main" id="{35A9CC71-C344-A46C-B581-04A60AA676AE}"/>
                </a:ext>
              </a:extLst>
            </p:cNvPr>
            <p:cNvSpPr/>
            <p:nvPr/>
          </p:nvSpPr>
          <p:spPr bwMode="gray">
            <a:xfrm>
              <a:off x="7714204" y="1899664"/>
              <a:ext cx="1495239" cy="1275213"/>
            </a:xfrm>
            <a:custGeom>
              <a:avLst/>
              <a:gdLst>
                <a:gd name="connsiteX0" fmla="*/ 1211770 w 1495234"/>
                <a:gd name="connsiteY0" fmla="*/ 229076 h 1275207"/>
                <a:gd name="connsiteX1" fmla="*/ 1211770 w 1495234"/>
                <a:gd name="connsiteY1" fmla="*/ 348234 h 1275207"/>
                <a:gd name="connsiteX2" fmla="*/ 1479995 w 1495234"/>
                <a:gd name="connsiteY2" fmla="*/ 291084 h 1275207"/>
                <a:gd name="connsiteX3" fmla="*/ 1479995 w 1495234"/>
                <a:gd name="connsiteY3" fmla="*/ 277368 h 1275207"/>
                <a:gd name="connsiteX4" fmla="*/ 1145477 w 1495234"/>
                <a:gd name="connsiteY4" fmla="*/ 0 h 1275207"/>
                <a:gd name="connsiteX5" fmla="*/ 388905 w 1495234"/>
                <a:gd name="connsiteY5" fmla="*/ 0 h 1275207"/>
                <a:gd name="connsiteX6" fmla="*/ 54197 w 1495234"/>
                <a:gd name="connsiteY6" fmla="*/ 301561 h 1275207"/>
                <a:gd name="connsiteX7" fmla="*/ 54197 w 1495234"/>
                <a:gd name="connsiteY7" fmla="*/ 443294 h 1275207"/>
                <a:gd name="connsiteX8" fmla="*/ 388905 w 1495234"/>
                <a:gd name="connsiteY8" fmla="*/ 744665 h 1275207"/>
                <a:gd name="connsiteX9" fmla="*/ 1214818 w 1495234"/>
                <a:gd name="connsiteY9" fmla="*/ 744665 h 1275207"/>
                <a:gd name="connsiteX10" fmla="*/ 1214818 w 1495234"/>
                <a:gd name="connsiteY10" fmla="*/ 1037177 h 1275207"/>
                <a:gd name="connsiteX11" fmla="*/ 277177 w 1495234"/>
                <a:gd name="connsiteY11" fmla="*/ 1037177 h 1275207"/>
                <a:gd name="connsiteX12" fmla="*/ 277177 w 1495234"/>
                <a:gd name="connsiteY12" fmla="*/ 902875 h 1275207"/>
                <a:gd name="connsiteX13" fmla="*/ 0 w 1495234"/>
                <a:gd name="connsiteY13" fmla="*/ 954214 h 1275207"/>
                <a:gd name="connsiteX14" fmla="*/ 0 w 1495234"/>
                <a:gd name="connsiteY14" fmla="*/ 973836 h 1275207"/>
                <a:gd name="connsiteX15" fmla="*/ 334518 w 1495234"/>
                <a:gd name="connsiteY15" fmla="*/ 1275207 h 1275207"/>
                <a:gd name="connsiteX16" fmla="*/ 1163669 w 1495234"/>
                <a:gd name="connsiteY16" fmla="*/ 1275207 h 1275207"/>
                <a:gd name="connsiteX17" fmla="*/ 1495234 w 1495234"/>
                <a:gd name="connsiteY17" fmla="*/ 973836 h 1275207"/>
                <a:gd name="connsiteX18" fmla="*/ 1495234 w 1495234"/>
                <a:gd name="connsiteY18" fmla="*/ 798957 h 1275207"/>
                <a:gd name="connsiteX19" fmla="*/ 1163669 w 1495234"/>
                <a:gd name="connsiteY19" fmla="*/ 497586 h 1275207"/>
                <a:gd name="connsiteX20" fmla="*/ 334518 w 1495234"/>
                <a:gd name="connsiteY20" fmla="*/ 497586 h 1275207"/>
                <a:gd name="connsiteX21" fmla="*/ 334518 w 1495234"/>
                <a:gd name="connsiteY21" fmla="*/ 229076 h 1275207"/>
                <a:gd name="connsiteX22" fmla="*/ 1211770 w 1495234"/>
                <a:gd name="connsiteY22" fmla="*/ 229076 h 127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95234" h="1275207">
                  <a:moveTo>
                    <a:pt x="1211770" y="229076"/>
                  </a:moveTo>
                  <a:lnTo>
                    <a:pt x="1211770" y="348234"/>
                  </a:lnTo>
                  <a:lnTo>
                    <a:pt x="1479995" y="291084"/>
                  </a:lnTo>
                  <a:lnTo>
                    <a:pt x="1479995" y="277368"/>
                  </a:lnTo>
                  <a:cubicBezTo>
                    <a:pt x="1479995" y="54388"/>
                    <a:pt x="1380649" y="0"/>
                    <a:pt x="1145477" y="0"/>
                  </a:cubicBezTo>
                  <a:lnTo>
                    <a:pt x="388905" y="0"/>
                  </a:lnTo>
                  <a:cubicBezTo>
                    <a:pt x="138684" y="0"/>
                    <a:pt x="54197" y="60388"/>
                    <a:pt x="54197" y="301561"/>
                  </a:cubicBezTo>
                  <a:lnTo>
                    <a:pt x="54197" y="443294"/>
                  </a:lnTo>
                  <a:cubicBezTo>
                    <a:pt x="54197" y="684467"/>
                    <a:pt x="138684" y="744665"/>
                    <a:pt x="388905" y="744665"/>
                  </a:cubicBezTo>
                  <a:lnTo>
                    <a:pt x="1214818" y="744665"/>
                  </a:lnTo>
                  <a:lnTo>
                    <a:pt x="1214818" y="1037177"/>
                  </a:lnTo>
                  <a:lnTo>
                    <a:pt x="277177" y="1037177"/>
                  </a:lnTo>
                  <a:lnTo>
                    <a:pt x="277177" y="902875"/>
                  </a:lnTo>
                  <a:lnTo>
                    <a:pt x="0" y="954214"/>
                  </a:lnTo>
                  <a:lnTo>
                    <a:pt x="0" y="973836"/>
                  </a:lnTo>
                  <a:cubicBezTo>
                    <a:pt x="0" y="1212056"/>
                    <a:pt x="81343" y="1275207"/>
                    <a:pt x="334518" y="1275207"/>
                  </a:cubicBezTo>
                  <a:lnTo>
                    <a:pt x="1163669" y="1275207"/>
                  </a:lnTo>
                  <a:cubicBezTo>
                    <a:pt x="1416844" y="1275207"/>
                    <a:pt x="1495234" y="1212056"/>
                    <a:pt x="1495234" y="973836"/>
                  </a:cubicBezTo>
                  <a:lnTo>
                    <a:pt x="1495234" y="798957"/>
                  </a:lnTo>
                  <a:cubicBezTo>
                    <a:pt x="1495234" y="557784"/>
                    <a:pt x="1416939" y="497586"/>
                    <a:pt x="1163669" y="497586"/>
                  </a:cubicBezTo>
                  <a:lnTo>
                    <a:pt x="334518" y="497586"/>
                  </a:lnTo>
                  <a:lnTo>
                    <a:pt x="334518" y="229076"/>
                  </a:lnTo>
                  <a:lnTo>
                    <a:pt x="1211770" y="22907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  <p:sp>
          <p:nvSpPr>
            <p:cNvPr id="27" name="&amp;">
              <a:extLst>
                <a:ext uri="{FF2B5EF4-FFF2-40B4-BE49-F238E27FC236}">
                  <a16:creationId xmlns:a16="http://schemas.microsoft.com/office/drawing/2014/main" id="{831C9289-BCF7-FCAC-5826-B08A01B9438C}"/>
                </a:ext>
              </a:extLst>
            </p:cNvPr>
            <p:cNvSpPr/>
            <p:nvPr/>
          </p:nvSpPr>
          <p:spPr bwMode="gray">
            <a:xfrm>
              <a:off x="9995063" y="1619247"/>
              <a:ext cx="2104259" cy="1555528"/>
            </a:xfrm>
            <a:custGeom>
              <a:avLst/>
              <a:gdLst>
                <a:gd name="connsiteX0" fmla="*/ 304514 w 2104263"/>
                <a:gd name="connsiteY0" fmla="*/ 1284161 h 1555527"/>
                <a:gd name="connsiteX1" fmla="*/ 304514 w 2104263"/>
                <a:gd name="connsiteY1" fmla="*/ 1018985 h 1555527"/>
                <a:gd name="connsiteX2" fmla="*/ 702373 w 2104263"/>
                <a:gd name="connsiteY2" fmla="*/ 771811 h 1555527"/>
                <a:gd name="connsiteX3" fmla="*/ 1169575 w 2104263"/>
                <a:gd name="connsiteY3" fmla="*/ 1160717 h 1555527"/>
                <a:gd name="connsiteX4" fmla="*/ 1024890 w 2104263"/>
                <a:gd name="connsiteY4" fmla="*/ 1284256 h 1555527"/>
                <a:gd name="connsiteX5" fmla="*/ 304514 w 2104263"/>
                <a:gd name="connsiteY5" fmla="*/ 1284256 h 1555527"/>
                <a:gd name="connsiteX6" fmla="*/ 388811 w 2104263"/>
                <a:gd name="connsiteY6" fmla="*/ 1555528 h 1555527"/>
                <a:gd name="connsiteX7" fmla="*/ 943547 w 2104263"/>
                <a:gd name="connsiteY7" fmla="*/ 1555528 h 1555527"/>
                <a:gd name="connsiteX8" fmla="*/ 1235964 w 2104263"/>
                <a:gd name="connsiteY8" fmla="*/ 1461992 h 1555527"/>
                <a:gd name="connsiteX9" fmla="*/ 1374649 w 2104263"/>
                <a:gd name="connsiteY9" fmla="*/ 1338453 h 1555527"/>
                <a:gd name="connsiteX10" fmla="*/ 1630870 w 2104263"/>
                <a:gd name="connsiteY10" fmla="*/ 1555528 h 1555527"/>
                <a:gd name="connsiteX11" fmla="*/ 2104264 w 2104263"/>
                <a:gd name="connsiteY11" fmla="*/ 1555528 h 1555527"/>
                <a:gd name="connsiteX12" fmla="*/ 1612869 w 2104263"/>
                <a:gd name="connsiteY12" fmla="*/ 1142429 h 1555527"/>
                <a:gd name="connsiteX13" fmla="*/ 1971580 w 2104263"/>
                <a:gd name="connsiteY13" fmla="*/ 844106 h 1555527"/>
                <a:gd name="connsiteX14" fmla="*/ 1766507 w 2104263"/>
                <a:gd name="connsiteY14" fmla="*/ 666274 h 1555527"/>
                <a:gd name="connsiteX15" fmla="*/ 1404747 w 2104263"/>
                <a:gd name="connsiteY15" fmla="*/ 967645 h 1555527"/>
                <a:gd name="connsiteX16" fmla="*/ 672180 w 2104263"/>
                <a:gd name="connsiteY16" fmla="*/ 358712 h 1555527"/>
                <a:gd name="connsiteX17" fmla="*/ 672180 w 2104263"/>
                <a:gd name="connsiteY17" fmla="*/ 247174 h 1555527"/>
                <a:gd name="connsiteX18" fmla="*/ 1181767 w 2104263"/>
                <a:gd name="connsiteY18" fmla="*/ 247174 h 1555527"/>
                <a:gd name="connsiteX19" fmla="*/ 1181767 w 2104263"/>
                <a:gd name="connsiteY19" fmla="*/ 455295 h 1555527"/>
                <a:gd name="connsiteX20" fmla="*/ 1461992 w 2104263"/>
                <a:gd name="connsiteY20" fmla="*/ 407099 h 1555527"/>
                <a:gd name="connsiteX21" fmla="*/ 1461992 w 2104263"/>
                <a:gd name="connsiteY21" fmla="*/ 313563 h 1555527"/>
                <a:gd name="connsiteX22" fmla="*/ 1076134 w 2104263"/>
                <a:gd name="connsiteY22" fmla="*/ 0 h 1555527"/>
                <a:gd name="connsiteX23" fmla="*/ 762763 w 2104263"/>
                <a:gd name="connsiteY23" fmla="*/ 0 h 1555527"/>
                <a:gd name="connsiteX24" fmla="*/ 376905 w 2104263"/>
                <a:gd name="connsiteY24" fmla="*/ 283369 h 1555527"/>
                <a:gd name="connsiteX25" fmla="*/ 376905 w 2104263"/>
                <a:gd name="connsiteY25" fmla="*/ 370713 h 1555527"/>
                <a:gd name="connsiteX26" fmla="*/ 509588 w 2104263"/>
                <a:gd name="connsiteY26" fmla="*/ 605885 h 1555527"/>
                <a:gd name="connsiteX27" fmla="*/ 192881 w 2104263"/>
                <a:gd name="connsiteY27" fmla="*/ 795909 h 1555527"/>
                <a:gd name="connsiteX28" fmla="*/ 0 w 2104263"/>
                <a:gd name="connsiteY28" fmla="*/ 1085279 h 1555527"/>
                <a:gd name="connsiteX29" fmla="*/ 0 w 2104263"/>
                <a:gd name="connsiteY29" fmla="*/ 1187768 h 1555527"/>
                <a:gd name="connsiteX30" fmla="*/ 388811 w 2104263"/>
                <a:gd name="connsiteY30" fmla="*/ 1555528 h 1555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104263" h="1555527">
                  <a:moveTo>
                    <a:pt x="304514" y="1284161"/>
                  </a:moveTo>
                  <a:lnTo>
                    <a:pt x="304514" y="1018985"/>
                  </a:lnTo>
                  <a:lnTo>
                    <a:pt x="702373" y="771811"/>
                  </a:lnTo>
                  <a:lnTo>
                    <a:pt x="1169575" y="1160717"/>
                  </a:lnTo>
                  <a:lnTo>
                    <a:pt x="1024890" y="1284256"/>
                  </a:lnTo>
                  <a:lnTo>
                    <a:pt x="304514" y="1284256"/>
                  </a:lnTo>
                  <a:close/>
                  <a:moveTo>
                    <a:pt x="388811" y="1555528"/>
                  </a:moveTo>
                  <a:lnTo>
                    <a:pt x="943547" y="1555528"/>
                  </a:lnTo>
                  <a:cubicBezTo>
                    <a:pt x="1073087" y="1555528"/>
                    <a:pt x="1136428" y="1549527"/>
                    <a:pt x="1235964" y="1461992"/>
                  </a:cubicBezTo>
                  <a:lnTo>
                    <a:pt x="1374649" y="1338453"/>
                  </a:lnTo>
                  <a:lnTo>
                    <a:pt x="1630870" y="1555528"/>
                  </a:lnTo>
                  <a:lnTo>
                    <a:pt x="2104264" y="1555528"/>
                  </a:lnTo>
                  <a:lnTo>
                    <a:pt x="1612869" y="1142429"/>
                  </a:lnTo>
                  <a:lnTo>
                    <a:pt x="1971580" y="844106"/>
                  </a:lnTo>
                  <a:lnTo>
                    <a:pt x="1766507" y="666274"/>
                  </a:lnTo>
                  <a:lnTo>
                    <a:pt x="1404747" y="967645"/>
                  </a:lnTo>
                  <a:lnTo>
                    <a:pt x="672180" y="358712"/>
                  </a:lnTo>
                  <a:lnTo>
                    <a:pt x="672180" y="247174"/>
                  </a:lnTo>
                  <a:lnTo>
                    <a:pt x="1181767" y="247174"/>
                  </a:lnTo>
                  <a:lnTo>
                    <a:pt x="1181767" y="455295"/>
                  </a:lnTo>
                  <a:lnTo>
                    <a:pt x="1461992" y="407099"/>
                  </a:lnTo>
                  <a:lnTo>
                    <a:pt x="1461992" y="313563"/>
                  </a:lnTo>
                  <a:cubicBezTo>
                    <a:pt x="1461992" y="60389"/>
                    <a:pt x="1356456" y="0"/>
                    <a:pt x="1076134" y="0"/>
                  </a:cubicBezTo>
                  <a:lnTo>
                    <a:pt x="762763" y="0"/>
                  </a:lnTo>
                  <a:cubicBezTo>
                    <a:pt x="497395" y="0"/>
                    <a:pt x="376905" y="60389"/>
                    <a:pt x="376905" y="283369"/>
                  </a:cubicBezTo>
                  <a:lnTo>
                    <a:pt x="376905" y="370713"/>
                  </a:lnTo>
                  <a:cubicBezTo>
                    <a:pt x="376905" y="461200"/>
                    <a:pt x="419100" y="530543"/>
                    <a:pt x="509588" y="605885"/>
                  </a:cubicBezTo>
                  <a:lnTo>
                    <a:pt x="192881" y="795909"/>
                  </a:lnTo>
                  <a:cubicBezTo>
                    <a:pt x="57341" y="877253"/>
                    <a:pt x="0" y="925449"/>
                    <a:pt x="0" y="1085279"/>
                  </a:cubicBezTo>
                  <a:lnTo>
                    <a:pt x="0" y="1187768"/>
                  </a:lnTo>
                  <a:cubicBezTo>
                    <a:pt x="0" y="1480185"/>
                    <a:pt x="96488" y="1555528"/>
                    <a:pt x="388811" y="1555528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  <p:sp>
          <p:nvSpPr>
            <p:cNvPr id="28" name="s">
              <a:extLst>
                <a:ext uri="{FF2B5EF4-FFF2-40B4-BE49-F238E27FC236}">
                  <a16:creationId xmlns:a16="http://schemas.microsoft.com/office/drawing/2014/main" id="{786AFD27-5E6B-8BF5-461E-3DAE61223002}"/>
                </a:ext>
              </a:extLst>
            </p:cNvPr>
            <p:cNvSpPr/>
            <p:nvPr/>
          </p:nvSpPr>
          <p:spPr bwMode="gray">
            <a:xfrm>
              <a:off x="95247" y="3686081"/>
              <a:ext cx="1739650" cy="1555528"/>
            </a:xfrm>
            <a:custGeom>
              <a:avLst/>
              <a:gdLst>
                <a:gd name="connsiteX0" fmla="*/ 1398842 w 1739645"/>
                <a:gd name="connsiteY0" fmla="*/ 271367 h 1555527"/>
                <a:gd name="connsiteX1" fmla="*/ 1398842 w 1739645"/>
                <a:gd name="connsiteY1" fmla="*/ 439865 h 1555527"/>
                <a:gd name="connsiteX2" fmla="*/ 1718405 w 1739645"/>
                <a:gd name="connsiteY2" fmla="*/ 364522 h 1555527"/>
                <a:gd name="connsiteX3" fmla="*/ 1718405 w 1739645"/>
                <a:gd name="connsiteY3" fmla="*/ 340709 h 1555527"/>
                <a:gd name="connsiteX4" fmla="*/ 1332548 w 1739645"/>
                <a:gd name="connsiteY4" fmla="*/ 0 h 1555527"/>
                <a:gd name="connsiteX5" fmla="*/ 449199 w 1739645"/>
                <a:gd name="connsiteY5" fmla="*/ 0 h 1555527"/>
                <a:gd name="connsiteX6" fmla="*/ 63341 w 1739645"/>
                <a:gd name="connsiteY6" fmla="*/ 367855 h 1555527"/>
                <a:gd name="connsiteX7" fmla="*/ 63341 w 1739645"/>
                <a:gd name="connsiteY7" fmla="*/ 539496 h 1555527"/>
                <a:gd name="connsiteX8" fmla="*/ 449199 w 1739645"/>
                <a:gd name="connsiteY8" fmla="*/ 907351 h 1555527"/>
                <a:gd name="connsiteX9" fmla="*/ 1419987 w 1739645"/>
                <a:gd name="connsiteY9" fmla="*/ 907351 h 1555527"/>
                <a:gd name="connsiteX10" fmla="*/ 1419987 w 1739645"/>
                <a:gd name="connsiteY10" fmla="*/ 1263110 h 1555527"/>
                <a:gd name="connsiteX11" fmla="*/ 319754 w 1739645"/>
                <a:gd name="connsiteY11" fmla="*/ 1263110 h 1555527"/>
                <a:gd name="connsiteX12" fmla="*/ 319754 w 1739645"/>
                <a:gd name="connsiteY12" fmla="*/ 1095661 h 1555527"/>
                <a:gd name="connsiteX13" fmla="*/ 0 w 1739645"/>
                <a:gd name="connsiteY13" fmla="*/ 1162050 h 1555527"/>
                <a:gd name="connsiteX14" fmla="*/ 0 w 1739645"/>
                <a:gd name="connsiteY14" fmla="*/ 1187768 h 1555527"/>
                <a:gd name="connsiteX15" fmla="*/ 388906 w 1739645"/>
                <a:gd name="connsiteY15" fmla="*/ 1555528 h 1555527"/>
                <a:gd name="connsiteX16" fmla="*/ 1350740 w 1739645"/>
                <a:gd name="connsiteY16" fmla="*/ 1555528 h 1555527"/>
                <a:gd name="connsiteX17" fmla="*/ 1739646 w 1739645"/>
                <a:gd name="connsiteY17" fmla="*/ 1187768 h 1555527"/>
                <a:gd name="connsiteX18" fmla="*/ 1739646 w 1739645"/>
                <a:gd name="connsiteY18" fmla="*/ 973741 h 1555527"/>
                <a:gd name="connsiteX19" fmla="*/ 1350740 w 1739645"/>
                <a:gd name="connsiteY19" fmla="*/ 605885 h 1555527"/>
                <a:gd name="connsiteX20" fmla="*/ 379857 w 1739645"/>
                <a:gd name="connsiteY20" fmla="*/ 605885 h 1555527"/>
                <a:gd name="connsiteX21" fmla="*/ 379857 w 1739645"/>
                <a:gd name="connsiteY21" fmla="*/ 271367 h 1555527"/>
                <a:gd name="connsiteX22" fmla="*/ 1398842 w 1739645"/>
                <a:gd name="connsiteY22" fmla="*/ 271367 h 1555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39645" h="1555527">
                  <a:moveTo>
                    <a:pt x="1398842" y="271367"/>
                  </a:moveTo>
                  <a:lnTo>
                    <a:pt x="1398842" y="439865"/>
                  </a:lnTo>
                  <a:lnTo>
                    <a:pt x="1718405" y="364522"/>
                  </a:lnTo>
                  <a:lnTo>
                    <a:pt x="1718405" y="340709"/>
                  </a:lnTo>
                  <a:cubicBezTo>
                    <a:pt x="1718405" y="72295"/>
                    <a:pt x="1609916" y="0"/>
                    <a:pt x="1332548" y="0"/>
                  </a:cubicBezTo>
                  <a:lnTo>
                    <a:pt x="449199" y="0"/>
                  </a:lnTo>
                  <a:cubicBezTo>
                    <a:pt x="156781" y="0"/>
                    <a:pt x="63341" y="75343"/>
                    <a:pt x="63341" y="367855"/>
                  </a:cubicBezTo>
                  <a:lnTo>
                    <a:pt x="63341" y="539496"/>
                  </a:lnTo>
                  <a:cubicBezTo>
                    <a:pt x="63341" y="832009"/>
                    <a:pt x="156877" y="907351"/>
                    <a:pt x="449199" y="907351"/>
                  </a:cubicBezTo>
                  <a:lnTo>
                    <a:pt x="1419987" y="907351"/>
                  </a:lnTo>
                  <a:lnTo>
                    <a:pt x="1419987" y="1263110"/>
                  </a:lnTo>
                  <a:lnTo>
                    <a:pt x="319754" y="1263110"/>
                  </a:lnTo>
                  <a:lnTo>
                    <a:pt x="319754" y="1095661"/>
                  </a:lnTo>
                  <a:lnTo>
                    <a:pt x="0" y="1162050"/>
                  </a:lnTo>
                  <a:lnTo>
                    <a:pt x="0" y="1187768"/>
                  </a:lnTo>
                  <a:cubicBezTo>
                    <a:pt x="0" y="1480185"/>
                    <a:pt x="96488" y="1555528"/>
                    <a:pt x="388906" y="1555528"/>
                  </a:cubicBezTo>
                  <a:lnTo>
                    <a:pt x="1350740" y="1555528"/>
                  </a:lnTo>
                  <a:cubicBezTo>
                    <a:pt x="1643158" y="1555528"/>
                    <a:pt x="1739646" y="1480185"/>
                    <a:pt x="1739646" y="1187768"/>
                  </a:cubicBezTo>
                  <a:lnTo>
                    <a:pt x="1739646" y="973741"/>
                  </a:lnTo>
                  <a:cubicBezTo>
                    <a:pt x="1739646" y="681228"/>
                    <a:pt x="1643158" y="605885"/>
                    <a:pt x="1350740" y="605885"/>
                  </a:cubicBezTo>
                  <a:lnTo>
                    <a:pt x="379857" y="605885"/>
                  </a:lnTo>
                  <a:lnTo>
                    <a:pt x="379857" y="271367"/>
                  </a:lnTo>
                  <a:lnTo>
                    <a:pt x="1398842" y="2713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  <p:sp>
          <p:nvSpPr>
            <p:cNvPr id="29" name="o">
              <a:extLst>
                <a:ext uri="{FF2B5EF4-FFF2-40B4-BE49-F238E27FC236}">
                  <a16:creationId xmlns:a16="http://schemas.microsoft.com/office/drawing/2014/main" id="{104D88CA-BF41-E4C5-05AB-65BE744752C4}"/>
                </a:ext>
              </a:extLst>
            </p:cNvPr>
            <p:cNvSpPr/>
            <p:nvPr/>
          </p:nvSpPr>
          <p:spPr bwMode="gray">
            <a:xfrm>
              <a:off x="2206937" y="3966587"/>
              <a:ext cx="1682019" cy="1275212"/>
            </a:xfrm>
            <a:custGeom>
              <a:avLst/>
              <a:gdLst>
                <a:gd name="connsiteX0" fmla="*/ 326041 w 1682019"/>
                <a:gd name="connsiteY0" fmla="*/ 234982 h 1275207"/>
                <a:gd name="connsiteX1" fmla="*/ 1374648 w 1682019"/>
                <a:gd name="connsiteY1" fmla="*/ 234982 h 1275207"/>
                <a:gd name="connsiteX2" fmla="*/ 1374648 w 1682019"/>
                <a:gd name="connsiteY2" fmla="*/ 1030891 h 1275207"/>
                <a:gd name="connsiteX3" fmla="*/ 326041 w 1682019"/>
                <a:gd name="connsiteY3" fmla="*/ 1030891 h 1275207"/>
                <a:gd name="connsiteX4" fmla="*/ 326041 w 1682019"/>
                <a:gd name="connsiteY4" fmla="*/ 234982 h 1275207"/>
                <a:gd name="connsiteX5" fmla="*/ 0 w 1682019"/>
                <a:gd name="connsiteY5" fmla="*/ 301371 h 1275207"/>
                <a:gd name="connsiteX6" fmla="*/ 0 w 1682019"/>
                <a:gd name="connsiteY6" fmla="*/ 973646 h 1275207"/>
                <a:gd name="connsiteX7" fmla="*/ 338233 w 1682019"/>
                <a:gd name="connsiteY7" fmla="*/ 1275207 h 1275207"/>
                <a:gd name="connsiteX8" fmla="*/ 1343787 w 1682019"/>
                <a:gd name="connsiteY8" fmla="*/ 1275207 h 1275207"/>
                <a:gd name="connsiteX9" fmla="*/ 1682020 w 1682019"/>
                <a:gd name="connsiteY9" fmla="*/ 973646 h 1275207"/>
                <a:gd name="connsiteX10" fmla="*/ 1682020 w 1682019"/>
                <a:gd name="connsiteY10" fmla="*/ 301371 h 1275207"/>
                <a:gd name="connsiteX11" fmla="*/ 1343787 w 1682019"/>
                <a:gd name="connsiteY11" fmla="*/ 0 h 1275207"/>
                <a:gd name="connsiteX12" fmla="*/ 338233 w 1682019"/>
                <a:gd name="connsiteY12" fmla="*/ 0 h 1275207"/>
                <a:gd name="connsiteX13" fmla="*/ 0 w 1682019"/>
                <a:gd name="connsiteY13" fmla="*/ 301371 h 127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82019" h="1275207">
                  <a:moveTo>
                    <a:pt x="326041" y="234982"/>
                  </a:moveTo>
                  <a:lnTo>
                    <a:pt x="1374648" y="234982"/>
                  </a:lnTo>
                  <a:lnTo>
                    <a:pt x="1374648" y="1030891"/>
                  </a:lnTo>
                  <a:lnTo>
                    <a:pt x="326041" y="1030891"/>
                  </a:lnTo>
                  <a:lnTo>
                    <a:pt x="326041" y="234982"/>
                  </a:lnTo>
                  <a:close/>
                  <a:moveTo>
                    <a:pt x="0" y="301371"/>
                  </a:moveTo>
                  <a:lnTo>
                    <a:pt x="0" y="973646"/>
                  </a:lnTo>
                  <a:cubicBezTo>
                    <a:pt x="0" y="1214819"/>
                    <a:pt x="79915" y="1275207"/>
                    <a:pt x="338233" y="1275207"/>
                  </a:cubicBezTo>
                  <a:lnTo>
                    <a:pt x="1343787" y="1275207"/>
                  </a:lnTo>
                  <a:cubicBezTo>
                    <a:pt x="1598962" y="1275207"/>
                    <a:pt x="1682020" y="1214819"/>
                    <a:pt x="1682020" y="973646"/>
                  </a:cubicBezTo>
                  <a:lnTo>
                    <a:pt x="1682020" y="301371"/>
                  </a:lnTo>
                  <a:cubicBezTo>
                    <a:pt x="1682020" y="57150"/>
                    <a:pt x="1598867" y="0"/>
                    <a:pt x="1343787" y="0"/>
                  </a:cubicBezTo>
                  <a:lnTo>
                    <a:pt x="338233" y="0"/>
                  </a:lnTo>
                  <a:cubicBezTo>
                    <a:pt x="83153" y="0"/>
                    <a:pt x="0" y="57150"/>
                    <a:pt x="0" y="30137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  <p:sp>
          <p:nvSpPr>
            <p:cNvPr id="30" name="m">
              <a:extLst>
                <a:ext uri="{FF2B5EF4-FFF2-40B4-BE49-F238E27FC236}">
                  <a16:creationId xmlns:a16="http://schemas.microsoft.com/office/drawing/2014/main" id="{1242DE9F-5B8F-1149-2A64-61CC67D1E1D8}"/>
                </a:ext>
              </a:extLst>
            </p:cNvPr>
            <p:cNvSpPr/>
            <p:nvPr/>
          </p:nvSpPr>
          <p:spPr bwMode="gray">
            <a:xfrm>
              <a:off x="4290154" y="3966498"/>
              <a:ext cx="1815752" cy="1275212"/>
            </a:xfrm>
            <a:custGeom>
              <a:avLst/>
              <a:gdLst>
                <a:gd name="connsiteX0" fmla="*/ 1560576 w 1815750"/>
                <a:gd name="connsiteY0" fmla="*/ 0 h 1275207"/>
                <a:gd name="connsiteX1" fmla="*/ 927163 w 1815750"/>
                <a:gd name="connsiteY1" fmla="*/ 756571 h 1275207"/>
                <a:gd name="connsiteX2" fmla="*/ 290703 w 1815750"/>
                <a:gd name="connsiteY2" fmla="*/ 0 h 1275207"/>
                <a:gd name="connsiteX3" fmla="*/ 0 w 1815750"/>
                <a:gd name="connsiteY3" fmla="*/ 0 h 1275207"/>
                <a:gd name="connsiteX4" fmla="*/ 0 w 1815750"/>
                <a:gd name="connsiteY4" fmla="*/ 1275207 h 1275207"/>
                <a:gd name="connsiteX5" fmla="*/ 290703 w 1815750"/>
                <a:gd name="connsiteY5" fmla="*/ 1275207 h 1275207"/>
                <a:gd name="connsiteX6" fmla="*/ 290703 w 1815750"/>
                <a:gd name="connsiteY6" fmla="*/ 419100 h 1275207"/>
                <a:gd name="connsiteX7" fmla="*/ 877919 w 1815750"/>
                <a:gd name="connsiteY7" fmla="*/ 1121474 h 1275207"/>
                <a:gd name="connsiteX8" fmla="*/ 939356 w 1815750"/>
                <a:gd name="connsiteY8" fmla="*/ 1121474 h 1275207"/>
                <a:gd name="connsiteX9" fmla="*/ 1520571 w 1815750"/>
                <a:gd name="connsiteY9" fmla="*/ 397859 h 1275207"/>
                <a:gd name="connsiteX10" fmla="*/ 1520571 w 1815750"/>
                <a:gd name="connsiteY10" fmla="*/ 1275207 h 1275207"/>
                <a:gd name="connsiteX11" fmla="*/ 1815751 w 1815750"/>
                <a:gd name="connsiteY11" fmla="*/ 1275207 h 1275207"/>
                <a:gd name="connsiteX12" fmla="*/ 1815751 w 1815750"/>
                <a:gd name="connsiteY12" fmla="*/ 0 h 127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15750" h="1275207">
                  <a:moveTo>
                    <a:pt x="1560576" y="0"/>
                  </a:moveTo>
                  <a:lnTo>
                    <a:pt x="927163" y="756571"/>
                  </a:lnTo>
                  <a:lnTo>
                    <a:pt x="290703" y="0"/>
                  </a:lnTo>
                  <a:lnTo>
                    <a:pt x="0" y="0"/>
                  </a:lnTo>
                  <a:lnTo>
                    <a:pt x="0" y="1275207"/>
                  </a:lnTo>
                  <a:lnTo>
                    <a:pt x="290703" y="1275207"/>
                  </a:lnTo>
                  <a:lnTo>
                    <a:pt x="290703" y="419100"/>
                  </a:lnTo>
                  <a:lnTo>
                    <a:pt x="877919" y="1121474"/>
                  </a:lnTo>
                  <a:lnTo>
                    <a:pt x="939356" y="1121474"/>
                  </a:lnTo>
                  <a:lnTo>
                    <a:pt x="1520571" y="397859"/>
                  </a:lnTo>
                  <a:lnTo>
                    <a:pt x="1520571" y="1275207"/>
                  </a:lnTo>
                  <a:lnTo>
                    <a:pt x="1815751" y="1275207"/>
                  </a:lnTo>
                  <a:lnTo>
                    <a:pt x="181575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  <p:sp>
          <p:nvSpPr>
            <p:cNvPr id="31" name="m">
              <a:extLst>
                <a:ext uri="{FF2B5EF4-FFF2-40B4-BE49-F238E27FC236}">
                  <a16:creationId xmlns:a16="http://schemas.microsoft.com/office/drawing/2014/main" id="{4E6F8428-28EF-BACA-56F2-D92CF0402F6B}"/>
                </a:ext>
              </a:extLst>
            </p:cNvPr>
            <p:cNvSpPr/>
            <p:nvPr/>
          </p:nvSpPr>
          <p:spPr bwMode="gray">
            <a:xfrm>
              <a:off x="6535096" y="3966498"/>
              <a:ext cx="1815752" cy="1275212"/>
            </a:xfrm>
            <a:custGeom>
              <a:avLst/>
              <a:gdLst>
                <a:gd name="connsiteX0" fmla="*/ 1560672 w 1815750"/>
                <a:gd name="connsiteY0" fmla="*/ 0 h 1275207"/>
                <a:gd name="connsiteX1" fmla="*/ 927164 w 1815750"/>
                <a:gd name="connsiteY1" fmla="*/ 756571 h 1275207"/>
                <a:gd name="connsiteX2" fmla="*/ 290799 w 1815750"/>
                <a:gd name="connsiteY2" fmla="*/ 0 h 1275207"/>
                <a:gd name="connsiteX3" fmla="*/ 0 w 1815750"/>
                <a:gd name="connsiteY3" fmla="*/ 0 h 1275207"/>
                <a:gd name="connsiteX4" fmla="*/ 0 w 1815750"/>
                <a:gd name="connsiteY4" fmla="*/ 1275207 h 1275207"/>
                <a:gd name="connsiteX5" fmla="*/ 290799 w 1815750"/>
                <a:gd name="connsiteY5" fmla="*/ 1275207 h 1275207"/>
                <a:gd name="connsiteX6" fmla="*/ 290799 w 1815750"/>
                <a:gd name="connsiteY6" fmla="*/ 419100 h 1275207"/>
                <a:gd name="connsiteX7" fmla="*/ 878015 w 1815750"/>
                <a:gd name="connsiteY7" fmla="*/ 1121474 h 1275207"/>
                <a:gd name="connsiteX8" fmla="*/ 939546 w 1815750"/>
                <a:gd name="connsiteY8" fmla="*/ 1121474 h 1275207"/>
                <a:gd name="connsiteX9" fmla="*/ 1520571 w 1815750"/>
                <a:gd name="connsiteY9" fmla="*/ 397859 h 1275207"/>
                <a:gd name="connsiteX10" fmla="*/ 1520571 w 1815750"/>
                <a:gd name="connsiteY10" fmla="*/ 1275207 h 1275207"/>
                <a:gd name="connsiteX11" fmla="*/ 1815751 w 1815750"/>
                <a:gd name="connsiteY11" fmla="*/ 1275207 h 1275207"/>
                <a:gd name="connsiteX12" fmla="*/ 1815751 w 1815750"/>
                <a:gd name="connsiteY12" fmla="*/ 0 h 127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15750" h="1275207">
                  <a:moveTo>
                    <a:pt x="1560672" y="0"/>
                  </a:moveTo>
                  <a:lnTo>
                    <a:pt x="927164" y="756571"/>
                  </a:lnTo>
                  <a:lnTo>
                    <a:pt x="290799" y="0"/>
                  </a:lnTo>
                  <a:lnTo>
                    <a:pt x="0" y="0"/>
                  </a:lnTo>
                  <a:lnTo>
                    <a:pt x="0" y="1275207"/>
                  </a:lnTo>
                  <a:lnTo>
                    <a:pt x="290799" y="1275207"/>
                  </a:lnTo>
                  <a:lnTo>
                    <a:pt x="290799" y="419100"/>
                  </a:lnTo>
                  <a:lnTo>
                    <a:pt x="878015" y="1121474"/>
                  </a:lnTo>
                  <a:lnTo>
                    <a:pt x="939546" y="1121474"/>
                  </a:lnTo>
                  <a:lnTo>
                    <a:pt x="1520571" y="397859"/>
                  </a:lnTo>
                  <a:lnTo>
                    <a:pt x="1520571" y="1275207"/>
                  </a:lnTo>
                  <a:lnTo>
                    <a:pt x="1815751" y="1275207"/>
                  </a:lnTo>
                  <a:lnTo>
                    <a:pt x="181575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  <p:sp>
          <p:nvSpPr>
            <p:cNvPr id="32" name="e">
              <a:extLst>
                <a:ext uri="{FF2B5EF4-FFF2-40B4-BE49-F238E27FC236}">
                  <a16:creationId xmlns:a16="http://schemas.microsoft.com/office/drawing/2014/main" id="{A32A4802-2A9C-0E97-E1B2-EF5B8AC77B0E}"/>
                </a:ext>
              </a:extLst>
            </p:cNvPr>
            <p:cNvSpPr/>
            <p:nvPr/>
          </p:nvSpPr>
          <p:spPr bwMode="gray">
            <a:xfrm>
              <a:off x="8765757" y="3966498"/>
              <a:ext cx="1411313" cy="1275212"/>
            </a:xfrm>
            <a:custGeom>
              <a:avLst/>
              <a:gdLst>
                <a:gd name="connsiteX0" fmla="*/ 0 w 1411319"/>
                <a:gd name="connsiteY0" fmla="*/ 0 h 1275207"/>
                <a:gd name="connsiteX1" fmla="*/ 0 w 1411319"/>
                <a:gd name="connsiteY1" fmla="*/ 1275207 h 1275207"/>
                <a:gd name="connsiteX2" fmla="*/ 1411319 w 1411319"/>
                <a:gd name="connsiteY2" fmla="*/ 1275207 h 1275207"/>
                <a:gd name="connsiteX3" fmla="*/ 1411319 w 1411319"/>
                <a:gd name="connsiteY3" fmla="*/ 1036987 h 1275207"/>
                <a:gd name="connsiteX4" fmla="*/ 319850 w 1411319"/>
                <a:gd name="connsiteY4" fmla="*/ 1036987 h 1275207"/>
                <a:gd name="connsiteX5" fmla="*/ 319850 w 1411319"/>
                <a:gd name="connsiteY5" fmla="*/ 723424 h 1275207"/>
                <a:gd name="connsiteX6" fmla="*/ 947166 w 1411319"/>
                <a:gd name="connsiteY6" fmla="*/ 723424 h 1275207"/>
                <a:gd name="connsiteX7" fmla="*/ 947166 w 1411319"/>
                <a:gd name="connsiteY7" fmla="*/ 503396 h 1275207"/>
                <a:gd name="connsiteX8" fmla="*/ 319850 w 1411319"/>
                <a:gd name="connsiteY8" fmla="*/ 503396 h 1275207"/>
                <a:gd name="connsiteX9" fmla="*/ 319850 w 1411319"/>
                <a:gd name="connsiteY9" fmla="*/ 226219 h 1275207"/>
                <a:gd name="connsiteX10" fmla="*/ 1395984 w 1411319"/>
                <a:gd name="connsiteY10" fmla="*/ 226219 h 1275207"/>
                <a:gd name="connsiteX11" fmla="*/ 1395984 w 1411319"/>
                <a:gd name="connsiteY11" fmla="*/ 0 h 127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1319" h="1275207">
                  <a:moveTo>
                    <a:pt x="0" y="0"/>
                  </a:moveTo>
                  <a:lnTo>
                    <a:pt x="0" y="1275207"/>
                  </a:lnTo>
                  <a:lnTo>
                    <a:pt x="1411319" y="1275207"/>
                  </a:lnTo>
                  <a:lnTo>
                    <a:pt x="1411319" y="1036987"/>
                  </a:lnTo>
                  <a:lnTo>
                    <a:pt x="319850" y="1036987"/>
                  </a:lnTo>
                  <a:lnTo>
                    <a:pt x="319850" y="723424"/>
                  </a:lnTo>
                  <a:lnTo>
                    <a:pt x="947166" y="723424"/>
                  </a:lnTo>
                  <a:lnTo>
                    <a:pt x="947166" y="503396"/>
                  </a:lnTo>
                  <a:lnTo>
                    <a:pt x="319850" y="503396"/>
                  </a:lnTo>
                  <a:lnTo>
                    <a:pt x="319850" y="226219"/>
                  </a:lnTo>
                  <a:lnTo>
                    <a:pt x="1395984" y="226219"/>
                  </a:lnTo>
                  <a:lnTo>
                    <a:pt x="1395984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  <p:sp>
          <p:nvSpPr>
            <p:cNvPr id="33" name="r">
              <a:extLst>
                <a:ext uri="{FF2B5EF4-FFF2-40B4-BE49-F238E27FC236}">
                  <a16:creationId xmlns:a16="http://schemas.microsoft.com/office/drawing/2014/main" id="{50675A61-77EE-1DFC-09AF-649465E5B3A1}"/>
                </a:ext>
              </a:extLst>
            </p:cNvPr>
            <p:cNvSpPr/>
            <p:nvPr/>
          </p:nvSpPr>
          <p:spPr bwMode="gray">
            <a:xfrm>
              <a:off x="10504356" y="3966498"/>
              <a:ext cx="1579811" cy="1275212"/>
            </a:xfrm>
            <a:custGeom>
              <a:avLst/>
              <a:gdLst>
                <a:gd name="connsiteX0" fmla="*/ 1015937 w 1579817"/>
                <a:gd name="connsiteY0" fmla="*/ 220028 h 1275207"/>
                <a:gd name="connsiteX1" fmla="*/ 1157669 w 1579817"/>
                <a:gd name="connsiteY1" fmla="*/ 322517 h 1275207"/>
                <a:gd name="connsiteX2" fmla="*/ 1157669 w 1579817"/>
                <a:gd name="connsiteY2" fmla="*/ 470249 h 1275207"/>
                <a:gd name="connsiteX3" fmla="*/ 1015937 w 1579817"/>
                <a:gd name="connsiteY3" fmla="*/ 572738 h 1275207"/>
                <a:gd name="connsiteX4" fmla="*/ 307467 w 1579817"/>
                <a:gd name="connsiteY4" fmla="*/ 572738 h 1275207"/>
                <a:gd name="connsiteX5" fmla="*/ 307467 w 1579817"/>
                <a:gd name="connsiteY5" fmla="*/ 220028 h 1275207"/>
                <a:gd name="connsiteX6" fmla="*/ 1015937 w 1579817"/>
                <a:gd name="connsiteY6" fmla="*/ 220028 h 1275207"/>
                <a:gd name="connsiteX7" fmla="*/ 0 w 1579817"/>
                <a:gd name="connsiteY7" fmla="*/ 1275207 h 1275207"/>
                <a:gd name="connsiteX8" fmla="*/ 307563 w 1579817"/>
                <a:gd name="connsiteY8" fmla="*/ 1275207 h 1275207"/>
                <a:gd name="connsiteX9" fmla="*/ 307563 w 1579817"/>
                <a:gd name="connsiteY9" fmla="*/ 792766 h 1275207"/>
                <a:gd name="connsiteX10" fmla="*/ 599981 w 1579817"/>
                <a:gd name="connsiteY10" fmla="*/ 792766 h 1275207"/>
                <a:gd name="connsiteX11" fmla="*/ 1133570 w 1579817"/>
                <a:gd name="connsiteY11" fmla="*/ 1275207 h 1275207"/>
                <a:gd name="connsiteX12" fmla="*/ 1579818 w 1579817"/>
                <a:gd name="connsiteY12" fmla="*/ 1275207 h 1275207"/>
                <a:gd name="connsiteX13" fmla="*/ 973931 w 1579817"/>
                <a:gd name="connsiteY13" fmla="*/ 792766 h 1275207"/>
                <a:gd name="connsiteX14" fmla="*/ 1148811 w 1579817"/>
                <a:gd name="connsiteY14" fmla="*/ 792766 h 1275207"/>
                <a:gd name="connsiteX15" fmla="*/ 1447229 w 1579817"/>
                <a:gd name="connsiteY15" fmla="*/ 548545 h 1275207"/>
                <a:gd name="connsiteX16" fmla="*/ 1447229 w 1579817"/>
                <a:gd name="connsiteY16" fmla="*/ 247174 h 1275207"/>
                <a:gd name="connsiteX17" fmla="*/ 1148811 w 1579817"/>
                <a:gd name="connsiteY17" fmla="*/ 0 h 1275207"/>
                <a:gd name="connsiteX18" fmla="*/ 191 w 1579817"/>
                <a:gd name="connsiteY18" fmla="*/ 0 h 1275207"/>
                <a:gd name="connsiteX19" fmla="*/ 191 w 1579817"/>
                <a:gd name="connsiteY19" fmla="*/ 1275207 h 127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79817" h="1275207">
                  <a:moveTo>
                    <a:pt x="1015937" y="220028"/>
                  </a:moveTo>
                  <a:cubicBezTo>
                    <a:pt x="1109282" y="220028"/>
                    <a:pt x="1157669" y="238220"/>
                    <a:pt x="1157669" y="322517"/>
                  </a:cubicBezTo>
                  <a:lnTo>
                    <a:pt x="1157669" y="470249"/>
                  </a:lnTo>
                  <a:cubicBezTo>
                    <a:pt x="1157669" y="554736"/>
                    <a:pt x="1109282" y="572738"/>
                    <a:pt x="1015937" y="572738"/>
                  </a:cubicBezTo>
                  <a:lnTo>
                    <a:pt x="307467" y="572738"/>
                  </a:lnTo>
                  <a:lnTo>
                    <a:pt x="307467" y="220028"/>
                  </a:lnTo>
                  <a:lnTo>
                    <a:pt x="1015937" y="220028"/>
                  </a:lnTo>
                  <a:close/>
                  <a:moveTo>
                    <a:pt x="0" y="1275207"/>
                  </a:moveTo>
                  <a:lnTo>
                    <a:pt x="307563" y="1275207"/>
                  </a:lnTo>
                  <a:lnTo>
                    <a:pt x="307563" y="792766"/>
                  </a:lnTo>
                  <a:lnTo>
                    <a:pt x="599981" y="792766"/>
                  </a:lnTo>
                  <a:lnTo>
                    <a:pt x="1133570" y="1275207"/>
                  </a:lnTo>
                  <a:lnTo>
                    <a:pt x="1579818" y="1275207"/>
                  </a:lnTo>
                  <a:lnTo>
                    <a:pt x="973931" y="792766"/>
                  </a:lnTo>
                  <a:lnTo>
                    <a:pt x="1148811" y="792766"/>
                  </a:lnTo>
                  <a:cubicBezTo>
                    <a:pt x="1353693" y="792766"/>
                    <a:pt x="1447229" y="723424"/>
                    <a:pt x="1447229" y="548545"/>
                  </a:cubicBezTo>
                  <a:lnTo>
                    <a:pt x="1447229" y="247174"/>
                  </a:lnTo>
                  <a:cubicBezTo>
                    <a:pt x="1447229" y="69342"/>
                    <a:pt x="1353693" y="0"/>
                    <a:pt x="1148811" y="0"/>
                  </a:cubicBezTo>
                  <a:lnTo>
                    <a:pt x="191" y="0"/>
                  </a:lnTo>
                  <a:lnTo>
                    <a:pt x="191" y="127520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/>
            </a:p>
          </p:txBody>
        </p:sp>
      </p:grpSp>
      <p:sp>
        <p:nvSpPr>
          <p:cNvPr id="59" name="title">
            <a:extLst>
              <a:ext uri="{FF2B5EF4-FFF2-40B4-BE49-F238E27FC236}">
                <a16:creationId xmlns:a16="http://schemas.microsoft.com/office/drawing/2014/main" id="{22B0E369-2508-F005-CB3C-E92E5C671B16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0" y="1310400"/>
            <a:ext cx="6480000" cy="402480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wrap="square" lIns="316800" tIns="0" rIns="0" bIns="0" anchor="b">
            <a:noAutofit/>
          </a:bodyPr>
          <a:lstStyle>
            <a:lvl1pPr algn="l">
              <a:lnSpc>
                <a:spcPct val="75000"/>
              </a:lnSpc>
              <a:defRPr sz="5800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D3F50A68-F558-4D31-BE77-E20AB0A299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0" y="5677200"/>
            <a:ext cx="7200000" cy="1180800"/>
          </a:xfrm>
        </p:spPr>
        <p:txBody>
          <a:bodyPr lIns="342000" rIns="0" bIns="0">
            <a:noAutofit/>
          </a:bodyPr>
          <a:lstStyle>
            <a:lvl1pPr marL="0" indent="0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None/>
              <a:defRPr sz="2600" cap="all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Title / Speaker / Date / Location</a:t>
            </a:r>
            <a:endParaRPr lang="en-US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F1423FEB-CFD7-4376-A0C4-D91B3BE028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525600" y="7200000"/>
            <a:ext cx="234000" cy="180000"/>
          </a:xfrm>
        </p:spPr>
        <p:txBody>
          <a:bodyPr lIns="0" tIns="0" rIns="0" bIns="0"/>
          <a:lstStyle/>
          <a:p>
            <a:fld id="{9829449A-3FF3-45CE-9F4F-09BADC0910C6}" type="slidenum">
              <a:rPr lang="de-DE" noProof="0"/>
              <a:t>‹Nr.›</a:t>
            </a:fld>
            <a:endParaRPr lang="de-DE" noProof="0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190677E9-326C-4EF5-ADE8-5E9E2D32D3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763200" y="7200000"/>
            <a:ext cx="7880400" cy="180000"/>
          </a:xfrm>
        </p:spPr>
        <p:txBody>
          <a:bodyPr lIns="0" tIns="0" rIns="0" bIns="0"/>
          <a:lstStyle/>
          <a:p>
            <a:endParaRPr lang="de-DE" noProof="0" dirty="0"/>
          </a:p>
        </p:txBody>
      </p:sp>
      <p:sp>
        <p:nvSpPr>
          <p:cNvPr id="2" name="info">
            <a:extLst>
              <a:ext uri="{FF2B5EF4-FFF2-40B4-BE49-F238E27FC236}">
                <a16:creationId xmlns:a16="http://schemas.microsoft.com/office/drawing/2014/main" id="{1E8A10A0-6A82-2FD3-3E69-377397D0E776}"/>
              </a:ext>
            </a:extLst>
          </p:cNvPr>
          <p:cNvSpPr/>
          <p:nvPr/>
        </p:nvSpPr>
        <p:spPr bwMode="gray">
          <a:xfrm flipH="1">
            <a:off x="12247320" y="6288645"/>
            <a:ext cx="1579616" cy="370793"/>
          </a:xfrm>
          <a:prstGeom prst="homePlate">
            <a:avLst/>
          </a:prstGeom>
          <a:solidFill>
            <a:srgbClr val="0029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36000" rtlCol="0" anchor="ctr">
            <a:spAutoFit/>
          </a:bodyPr>
          <a:lstStyle/>
          <a:p>
            <a:pPr algn="l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sz="1050">
                <a:solidFill>
                  <a:schemeClr val="bg1"/>
                </a:solidFill>
              </a:rPr>
              <a:t>place image to</a:t>
            </a:r>
            <a:br>
              <a:rPr lang="en-US" sz="1050">
                <a:solidFill>
                  <a:schemeClr val="bg1"/>
                </a:solidFill>
              </a:rPr>
            </a:br>
            <a:r>
              <a:rPr lang="en-US" sz="1050">
                <a:solidFill>
                  <a:schemeClr val="bg1"/>
                </a:solidFill>
              </a:rPr>
              <a:t>the background</a:t>
            </a:r>
            <a:endParaRPr lang="de-DE" sz="1050">
              <a:solidFill>
                <a:schemeClr val="bg1"/>
              </a:solidFill>
            </a:endParaRPr>
          </a:p>
        </p:txBody>
      </p:sp>
      <p:grpSp>
        <p:nvGrpSpPr>
          <p:cNvPr id="4" name="info">
            <a:extLst>
              <a:ext uri="{FF2B5EF4-FFF2-40B4-BE49-F238E27FC236}">
                <a16:creationId xmlns:a16="http://schemas.microsoft.com/office/drawing/2014/main" id="{399EB80D-58F7-52F9-F618-A133B19E271B}"/>
              </a:ext>
            </a:extLst>
          </p:cNvPr>
          <p:cNvGrpSpPr/>
          <p:nvPr/>
        </p:nvGrpSpPr>
        <p:grpSpPr>
          <a:xfrm>
            <a:off x="12247320" y="3143250"/>
            <a:ext cx="1579616" cy="2823211"/>
            <a:chOff x="12399720" y="2598103"/>
            <a:chExt cx="1579616" cy="2823211"/>
          </a:xfrm>
          <a:solidFill>
            <a:srgbClr val="002965"/>
          </a:solidFill>
        </p:grpSpPr>
        <p:sp>
          <p:nvSpPr>
            <p:cNvPr id="7" name="info">
              <a:extLst>
                <a:ext uri="{FF2B5EF4-FFF2-40B4-BE49-F238E27FC236}">
                  <a16:creationId xmlns:a16="http://schemas.microsoft.com/office/drawing/2014/main" id="{7527B3B9-FAEB-55BB-9C04-37188AF19B91}"/>
                </a:ext>
              </a:extLst>
            </p:cNvPr>
            <p:cNvSpPr/>
            <p:nvPr userDrawn="1"/>
          </p:nvSpPr>
          <p:spPr bwMode="gray">
            <a:xfrm flipH="1">
              <a:off x="12399720" y="4947928"/>
              <a:ext cx="1579616" cy="473385"/>
            </a:xfrm>
            <a:prstGeom prst="homePlat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36000" rtlCol="0" anchor="ctr">
              <a:spAutoFit/>
            </a:bodyPr>
            <a:lstStyle/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>
                <a:solidFill>
                  <a:schemeClr val="tx2"/>
                </a:solidFill>
              </a:endParaRPr>
            </a:p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>
                <a:solidFill>
                  <a:schemeClr val="tx2"/>
                </a:solidFill>
              </a:endParaRPr>
            </a:p>
          </p:txBody>
        </p:sp>
        <p:sp>
          <p:nvSpPr>
            <p:cNvPr id="8" name="info">
              <a:extLst>
                <a:ext uri="{FF2B5EF4-FFF2-40B4-BE49-F238E27FC236}">
                  <a16:creationId xmlns:a16="http://schemas.microsoft.com/office/drawing/2014/main" id="{C96624FF-9BE6-83C1-B452-ACD690999A98}"/>
                </a:ext>
              </a:extLst>
            </p:cNvPr>
            <p:cNvSpPr/>
            <p:nvPr userDrawn="1"/>
          </p:nvSpPr>
          <p:spPr bwMode="gray">
            <a:xfrm flipH="1">
              <a:off x="12634899" y="2598103"/>
              <a:ext cx="1344423" cy="28232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36000" rtlCol="0" anchor="t">
              <a:noAutofit/>
            </a:bodyPr>
            <a:lstStyle/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b="1" cap="all">
                  <a:solidFill>
                    <a:schemeClr val="bg1"/>
                  </a:solidFill>
                </a:rPr>
                <a:t>image credit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 b="1">
                  <a:solidFill>
                    <a:schemeClr val="bg1"/>
                  </a:solidFill>
                </a:rPr>
                <a:t>Always include</a:t>
              </a:r>
              <a:br>
                <a:rPr lang="en-US" sz="1050" b="1">
                  <a:solidFill>
                    <a:schemeClr val="bg1"/>
                  </a:solidFill>
                </a:rPr>
              </a:br>
              <a:r>
                <a:rPr lang="en-US" sz="1050">
                  <a:solidFill>
                    <a:schemeClr val="bg1"/>
                  </a:solidFill>
                </a:rPr>
                <a:t>the image credit!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>
                  <a:solidFill>
                    <a:schemeClr val="bg1"/>
                  </a:solidFill>
                </a:rPr>
                <a:t>How to get </a:t>
              </a:r>
              <a:br>
                <a:rPr lang="en-US" sz="1050">
                  <a:solidFill>
                    <a:schemeClr val="bg1"/>
                  </a:solidFill>
                </a:rPr>
              </a:br>
              <a:r>
                <a:rPr lang="en-US" sz="1050">
                  <a:solidFill>
                    <a:schemeClr val="bg1"/>
                  </a:solidFill>
                </a:rPr>
                <a:t>the image credit </a:t>
              </a:r>
              <a:r>
                <a:rPr lang="en-US" sz="1050" b="1">
                  <a:solidFill>
                    <a:schemeClr val="bg1"/>
                  </a:solidFill>
                </a:rPr>
                <a:t>placeholder</a:t>
              </a:r>
              <a:r>
                <a:rPr lang="en-US" sz="1050">
                  <a:solidFill>
                    <a:schemeClr val="bg1"/>
                  </a:solidFill>
                </a:rPr>
                <a:t>: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>
                  <a:solidFill>
                    <a:schemeClr val="bg1"/>
                  </a:solidFill>
                </a:rPr>
                <a:t>&gt; empower menu</a:t>
              </a:r>
              <a:br>
                <a:rPr lang="en-US" sz="1050">
                  <a:solidFill>
                    <a:schemeClr val="bg1"/>
                  </a:solidFill>
                </a:rPr>
              </a:br>
              <a:r>
                <a:rPr lang="en-US" sz="1050">
                  <a:solidFill>
                    <a:schemeClr val="bg1"/>
                  </a:solidFill>
                </a:rPr>
                <a:t>&gt; text elements</a:t>
              </a:r>
              <a:br>
                <a:rPr lang="en-US" sz="1050">
                  <a:solidFill>
                    <a:schemeClr val="bg1"/>
                  </a:solidFill>
                </a:rPr>
              </a:br>
              <a:r>
                <a:rPr lang="en-US" sz="1050">
                  <a:solidFill>
                    <a:schemeClr val="bg1"/>
                  </a:solidFill>
                </a:rPr>
                <a:t>&gt; depending on </a:t>
              </a:r>
              <a:br>
                <a:rPr lang="en-US" sz="1050">
                  <a:solidFill>
                    <a:schemeClr val="bg1"/>
                  </a:solidFill>
                </a:rPr>
              </a:br>
              <a:r>
                <a:rPr lang="en-US" sz="1050">
                  <a:solidFill>
                    <a:schemeClr val="bg1"/>
                  </a:solidFill>
                </a:rPr>
                <a:t>the image choose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>
                  <a:solidFill>
                    <a:schemeClr val="bg1"/>
                  </a:solidFill>
                </a:rPr>
                <a:t>“</a:t>
              </a:r>
              <a:r>
                <a:rPr lang="en-US" sz="1050" b="1">
                  <a:solidFill>
                    <a:schemeClr val="bg1"/>
                  </a:solidFill>
                </a:rPr>
                <a:t>Copyright </a:t>
              </a:r>
              <a:r>
                <a:rPr lang="en-US" sz="1050" b="1" err="1">
                  <a:solidFill>
                    <a:schemeClr val="bg1"/>
                  </a:solidFill>
                </a:rPr>
                <a:t>Titleslide</a:t>
              </a:r>
              <a:r>
                <a:rPr lang="en-US" sz="1050" b="1">
                  <a:solidFill>
                    <a:schemeClr val="bg1"/>
                  </a:solidFill>
                </a:rPr>
                <a:t> grey</a:t>
              </a:r>
              <a:r>
                <a:rPr lang="en-US" sz="1050">
                  <a:solidFill>
                    <a:schemeClr val="bg1"/>
                  </a:solidFill>
                </a:rPr>
                <a:t>” 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>
                  <a:solidFill>
                    <a:schemeClr val="bg1"/>
                  </a:solidFill>
                </a:rPr>
                <a:t>or</a:t>
              </a:r>
            </a:p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r>
                <a:rPr lang="en-US" sz="1050">
                  <a:solidFill>
                    <a:schemeClr val="bg1"/>
                  </a:solidFill>
                </a:rPr>
                <a:t>“</a:t>
              </a:r>
              <a:r>
                <a:rPr lang="en-US" sz="1050" b="1">
                  <a:solidFill>
                    <a:schemeClr val="bg1"/>
                  </a:solidFill>
                </a:rPr>
                <a:t>Copyright </a:t>
              </a:r>
              <a:r>
                <a:rPr lang="en-US" sz="1050" b="1" err="1">
                  <a:solidFill>
                    <a:schemeClr val="bg1"/>
                  </a:solidFill>
                </a:rPr>
                <a:t>Titleslide</a:t>
              </a:r>
              <a:r>
                <a:rPr lang="en-US" sz="1050" b="1">
                  <a:solidFill>
                    <a:schemeClr val="bg1"/>
                  </a:solidFill>
                </a:rPr>
                <a:t> white</a:t>
              </a:r>
              <a:r>
                <a:rPr lang="en-US" sz="1050">
                  <a:solidFill>
                    <a:schemeClr val="bg1"/>
                  </a:solidFill>
                </a:rPr>
                <a:t>”</a:t>
              </a:r>
            </a:p>
          </p:txBody>
        </p:sp>
      </p:grpSp>
      <p:grpSp>
        <p:nvGrpSpPr>
          <p:cNvPr id="13" name="info">
            <a:extLst>
              <a:ext uri="{FF2B5EF4-FFF2-40B4-BE49-F238E27FC236}">
                <a16:creationId xmlns:a16="http://schemas.microsoft.com/office/drawing/2014/main" id="{243FA625-468E-66CD-290B-128E348E0659}"/>
              </a:ext>
            </a:extLst>
          </p:cNvPr>
          <p:cNvGrpSpPr/>
          <p:nvPr userDrawn="1"/>
        </p:nvGrpSpPr>
        <p:grpSpPr>
          <a:xfrm flipH="1">
            <a:off x="-1721905" y="3683000"/>
            <a:ext cx="1579616" cy="1645286"/>
            <a:chOff x="12399720" y="3776028"/>
            <a:chExt cx="1579616" cy="1645286"/>
          </a:xfrm>
          <a:solidFill>
            <a:srgbClr val="002965"/>
          </a:solidFill>
        </p:grpSpPr>
        <p:sp>
          <p:nvSpPr>
            <p:cNvPr id="14" name="info">
              <a:extLst>
                <a:ext uri="{FF2B5EF4-FFF2-40B4-BE49-F238E27FC236}">
                  <a16:creationId xmlns:a16="http://schemas.microsoft.com/office/drawing/2014/main" id="{4F854099-79A4-C3F5-7813-7D1FAFD3E74D}"/>
                </a:ext>
              </a:extLst>
            </p:cNvPr>
            <p:cNvSpPr/>
            <p:nvPr userDrawn="1"/>
          </p:nvSpPr>
          <p:spPr bwMode="gray">
            <a:xfrm flipH="1">
              <a:off x="12399720" y="4947928"/>
              <a:ext cx="1579616" cy="473385"/>
            </a:xfrm>
            <a:prstGeom prst="homePlat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36000" rtlCol="0" anchor="ctr">
              <a:spAutoFit/>
            </a:bodyPr>
            <a:lstStyle/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>
                <a:solidFill>
                  <a:schemeClr val="tx2"/>
                </a:solidFill>
              </a:endParaRPr>
            </a:p>
            <a:p>
              <a:pPr algn="ctr"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US" sz="1050">
                <a:solidFill>
                  <a:schemeClr val="tx2"/>
                </a:solidFill>
              </a:endParaRPr>
            </a:p>
          </p:txBody>
        </p:sp>
        <p:sp>
          <p:nvSpPr>
            <p:cNvPr id="16" name="info">
              <a:extLst>
                <a:ext uri="{FF2B5EF4-FFF2-40B4-BE49-F238E27FC236}">
                  <a16:creationId xmlns:a16="http://schemas.microsoft.com/office/drawing/2014/main" id="{DF0AA0A4-8298-2DCC-4E6D-E83C1F03C37B}"/>
                </a:ext>
              </a:extLst>
            </p:cNvPr>
            <p:cNvSpPr/>
            <p:nvPr userDrawn="1"/>
          </p:nvSpPr>
          <p:spPr bwMode="gray">
            <a:xfrm flipH="1">
              <a:off x="12634899" y="3776028"/>
              <a:ext cx="1344423" cy="164528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36000" rtlCol="0" anchor="t">
              <a:noAutofit/>
            </a:bodyPr>
            <a:lstStyle/>
            <a:p>
              <a:r>
                <a:rPr lang="en-US" sz="1050" b="1" dirty="0"/>
                <a:t>ADJUSTING FONT SIZE ON THE COVER PAGE:</a:t>
              </a:r>
            </a:p>
            <a:p>
              <a:r>
                <a:rPr lang="en-US" sz="1050" dirty="0"/>
                <a:t>You can adjust the font size of the title to ensure that the text in the white area is easy to read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61576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design element">
            <a:extLst>
              <a:ext uri="{FF2B5EF4-FFF2-40B4-BE49-F238E27FC236}">
                <a16:creationId xmlns:a16="http://schemas.microsoft.com/office/drawing/2014/main" id="{9F397CC2-2911-098F-25E4-16395B971D1E}"/>
              </a:ext>
            </a:extLst>
          </p:cNvPr>
          <p:cNvGrpSpPr>
            <a:grpSpLocks noChangeAspect="1"/>
          </p:cNvGrpSpPr>
          <p:nvPr/>
        </p:nvGrpSpPr>
        <p:grpSpPr>
          <a:xfrm>
            <a:off x="1277050" y="1"/>
            <a:ext cx="5173652" cy="6857999"/>
            <a:chOff x="4394175" y="1"/>
            <a:chExt cx="5173652" cy="6857999"/>
          </a:xfrm>
          <a:solidFill>
            <a:srgbClr val="F2F2F2"/>
          </a:solidFill>
        </p:grpSpPr>
        <p:sp>
          <p:nvSpPr>
            <p:cNvPr id="4" name="grey">
              <a:extLst>
                <a:ext uri="{FF2B5EF4-FFF2-40B4-BE49-F238E27FC236}">
                  <a16:creationId xmlns:a16="http://schemas.microsoft.com/office/drawing/2014/main" id="{6BDB832C-70AF-4D57-406C-73BC19F721C9}"/>
                </a:ext>
              </a:extLst>
            </p:cNvPr>
            <p:cNvSpPr/>
            <p:nvPr userDrawn="1"/>
          </p:nvSpPr>
          <p:spPr>
            <a:xfrm>
              <a:off x="4543151" y="2554642"/>
              <a:ext cx="3717028" cy="4303358"/>
            </a:xfrm>
            <a:custGeom>
              <a:avLst/>
              <a:gdLst>
                <a:gd name="connsiteX0" fmla="*/ 1247279 w 3717028"/>
                <a:gd name="connsiteY0" fmla="*/ 0 h 4303358"/>
                <a:gd name="connsiteX1" fmla="*/ 1261138 w 3717028"/>
                <a:gd name="connsiteY1" fmla="*/ 21081 h 4303358"/>
                <a:gd name="connsiteX2" fmla="*/ 166230 w 3717028"/>
                <a:gd name="connsiteY2" fmla="*/ 815844 h 4303358"/>
                <a:gd name="connsiteX3" fmla="*/ 81235 w 3717028"/>
                <a:gd name="connsiteY3" fmla="*/ 1284768 h 4303358"/>
                <a:gd name="connsiteX4" fmla="*/ 1662360 w 3717028"/>
                <a:gd name="connsiteY4" fmla="*/ 3675925 h 4303358"/>
                <a:gd name="connsiteX5" fmla="*/ 2759783 w 3717028"/>
                <a:gd name="connsiteY5" fmla="*/ 2893621 h 4303358"/>
                <a:gd name="connsiteX6" fmla="*/ 1684016 w 3717028"/>
                <a:gd name="connsiteY6" fmla="*/ 1257868 h 4303358"/>
                <a:gd name="connsiteX7" fmla="*/ 1723729 w 3717028"/>
                <a:gd name="connsiteY7" fmla="*/ 803778 h 4303358"/>
                <a:gd name="connsiteX8" fmla="*/ 1756699 w 3717028"/>
                <a:gd name="connsiteY8" fmla="*/ 774892 h 4303358"/>
                <a:gd name="connsiteX9" fmla="*/ 1770648 w 3717028"/>
                <a:gd name="connsiteY9" fmla="*/ 796110 h 4303358"/>
                <a:gd name="connsiteX10" fmla="*/ 1741989 w 3717028"/>
                <a:gd name="connsiteY10" fmla="*/ 821222 h 4303358"/>
                <a:gd name="connsiteX11" fmla="*/ 1704980 w 3717028"/>
                <a:gd name="connsiteY11" fmla="*/ 1244102 h 4303358"/>
                <a:gd name="connsiteX12" fmla="*/ 2780257 w 3717028"/>
                <a:gd name="connsiteY12" fmla="*/ 2879026 h 4303358"/>
                <a:gd name="connsiteX13" fmla="*/ 2950604 w 3717028"/>
                <a:gd name="connsiteY13" fmla="*/ 2757593 h 4303358"/>
                <a:gd name="connsiteX14" fmla="*/ 3000990 w 3717028"/>
                <a:gd name="connsiteY14" fmla="*/ 2713444 h 4303358"/>
                <a:gd name="connsiteX15" fmla="*/ 3017199 w 3717028"/>
                <a:gd name="connsiteY15" fmla="*/ 2692273 h 4303358"/>
                <a:gd name="connsiteX16" fmla="*/ 3031748 w 3717028"/>
                <a:gd name="connsiteY16" fmla="*/ 2714403 h 4303358"/>
                <a:gd name="connsiteX17" fmla="*/ 3019124 w 3717028"/>
                <a:gd name="connsiteY17" fmla="*/ 2730887 h 4303358"/>
                <a:gd name="connsiteX18" fmla="*/ 2965001 w 3717028"/>
                <a:gd name="connsiteY18" fmla="*/ 2778305 h 4303358"/>
                <a:gd name="connsiteX19" fmla="*/ 2794127 w 3717028"/>
                <a:gd name="connsiteY19" fmla="*/ 2900116 h 4303358"/>
                <a:gd name="connsiteX20" fmla="*/ 3289385 w 3717028"/>
                <a:gd name="connsiteY20" fmla="*/ 3653140 h 4303358"/>
                <a:gd name="connsiteX21" fmla="*/ 3532753 w 3717028"/>
                <a:gd name="connsiteY21" fmla="*/ 3476495 h 4303358"/>
                <a:gd name="connsiteX22" fmla="*/ 3546632 w 3717028"/>
                <a:gd name="connsiteY22" fmla="*/ 3497606 h 4303358"/>
                <a:gd name="connsiteX23" fmla="*/ 3303268 w 3717028"/>
                <a:gd name="connsiteY23" fmla="*/ 3674248 h 4303358"/>
                <a:gd name="connsiteX24" fmla="*/ 3717028 w 3717028"/>
                <a:gd name="connsiteY24" fmla="*/ 4303358 h 4303358"/>
                <a:gd name="connsiteX25" fmla="*/ 3686908 w 3717028"/>
                <a:gd name="connsiteY25" fmla="*/ 4303358 h 4303358"/>
                <a:gd name="connsiteX26" fmla="*/ 3282894 w 3717028"/>
                <a:gd name="connsiteY26" fmla="*/ 3689036 h 4303358"/>
                <a:gd name="connsiteX27" fmla="*/ 2436523 w 3717028"/>
                <a:gd name="connsiteY27" fmla="*/ 4303358 h 4303358"/>
                <a:gd name="connsiteX28" fmla="*/ 2393559 w 3717028"/>
                <a:gd name="connsiteY28" fmla="*/ 4303358 h 4303358"/>
                <a:gd name="connsiteX29" fmla="*/ 3269012 w 3717028"/>
                <a:gd name="connsiteY29" fmla="*/ 3667927 h 4303358"/>
                <a:gd name="connsiteX30" fmla="*/ 2773653 w 3717028"/>
                <a:gd name="connsiteY30" fmla="*/ 2914712 h 4303358"/>
                <a:gd name="connsiteX31" fmla="*/ 1676291 w 3717028"/>
                <a:gd name="connsiteY31" fmla="*/ 3696992 h 4303358"/>
                <a:gd name="connsiteX32" fmla="*/ 2077243 w 3717028"/>
                <a:gd name="connsiteY32" fmla="*/ 4303358 h 4303358"/>
                <a:gd name="connsiteX33" fmla="*/ 2047092 w 3717028"/>
                <a:gd name="connsiteY33" fmla="*/ 4303358 h 4303358"/>
                <a:gd name="connsiteX34" fmla="*/ 1655782 w 3717028"/>
                <a:gd name="connsiteY34" fmla="*/ 3711612 h 4303358"/>
                <a:gd name="connsiteX35" fmla="*/ 825695 w 3717028"/>
                <a:gd name="connsiteY35" fmla="*/ 4303358 h 4303358"/>
                <a:gd name="connsiteX36" fmla="*/ 782191 w 3717028"/>
                <a:gd name="connsiteY36" fmla="*/ 4303358 h 4303358"/>
                <a:gd name="connsiteX37" fmla="*/ 1641851 w 3717028"/>
                <a:gd name="connsiteY37" fmla="*/ 3690545 h 4303358"/>
                <a:gd name="connsiteX38" fmla="*/ 60145 w 3717028"/>
                <a:gd name="connsiteY38" fmla="*/ 1298661 h 4303358"/>
                <a:gd name="connsiteX39" fmla="*/ 151454 w 3717028"/>
                <a:gd name="connsiteY39" fmla="*/ 795384 h 4303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717028" h="4303358">
                  <a:moveTo>
                    <a:pt x="1247279" y="0"/>
                  </a:moveTo>
                  <a:lnTo>
                    <a:pt x="1261138" y="21081"/>
                  </a:lnTo>
                  <a:lnTo>
                    <a:pt x="166230" y="815844"/>
                  </a:lnTo>
                  <a:cubicBezTo>
                    <a:pt x="18973" y="922688"/>
                    <a:pt x="-19168" y="1133091"/>
                    <a:pt x="81235" y="1284768"/>
                  </a:cubicBezTo>
                  <a:lnTo>
                    <a:pt x="1662360" y="3675925"/>
                  </a:lnTo>
                  <a:lnTo>
                    <a:pt x="2759783" y="2893621"/>
                  </a:lnTo>
                  <a:lnTo>
                    <a:pt x="1684016" y="1257868"/>
                  </a:lnTo>
                  <a:cubicBezTo>
                    <a:pt x="1590086" y="1115094"/>
                    <a:pt x="1610543" y="925038"/>
                    <a:pt x="1723729" y="803778"/>
                  </a:cubicBezTo>
                  <a:lnTo>
                    <a:pt x="1756699" y="774892"/>
                  </a:lnTo>
                  <a:lnTo>
                    <a:pt x="1770648" y="796110"/>
                  </a:lnTo>
                  <a:lnTo>
                    <a:pt x="1741989" y="821222"/>
                  </a:lnTo>
                  <a:cubicBezTo>
                    <a:pt x="1636619" y="934133"/>
                    <a:pt x="1617570" y="1111163"/>
                    <a:pt x="1704980" y="1244102"/>
                  </a:cubicBezTo>
                  <a:lnTo>
                    <a:pt x="2780257" y="2879026"/>
                  </a:lnTo>
                  <a:lnTo>
                    <a:pt x="2950604" y="2757593"/>
                  </a:lnTo>
                  <a:cubicBezTo>
                    <a:pt x="2969122" y="2744396"/>
                    <a:pt x="2985937" y="2729574"/>
                    <a:pt x="3000990" y="2713444"/>
                  </a:cubicBezTo>
                  <a:lnTo>
                    <a:pt x="3017199" y="2692273"/>
                  </a:lnTo>
                  <a:lnTo>
                    <a:pt x="3031748" y="2714403"/>
                  </a:lnTo>
                  <a:lnTo>
                    <a:pt x="3019124" y="2730887"/>
                  </a:lnTo>
                  <a:cubicBezTo>
                    <a:pt x="3002954" y="2748210"/>
                    <a:pt x="2984893" y="2764129"/>
                    <a:pt x="2965001" y="2778305"/>
                  </a:cubicBezTo>
                  <a:lnTo>
                    <a:pt x="2794127" y="2900116"/>
                  </a:lnTo>
                  <a:lnTo>
                    <a:pt x="3289385" y="3653140"/>
                  </a:lnTo>
                  <a:lnTo>
                    <a:pt x="3532753" y="3476495"/>
                  </a:lnTo>
                  <a:lnTo>
                    <a:pt x="3546632" y="3497606"/>
                  </a:lnTo>
                  <a:lnTo>
                    <a:pt x="3303268" y="3674248"/>
                  </a:lnTo>
                  <a:lnTo>
                    <a:pt x="3717028" y="4303358"/>
                  </a:lnTo>
                  <a:lnTo>
                    <a:pt x="3686908" y="4303358"/>
                  </a:lnTo>
                  <a:lnTo>
                    <a:pt x="3282894" y="3689036"/>
                  </a:lnTo>
                  <a:lnTo>
                    <a:pt x="2436523" y="4303358"/>
                  </a:lnTo>
                  <a:lnTo>
                    <a:pt x="2393559" y="4303358"/>
                  </a:lnTo>
                  <a:lnTo>
                    <a:pt x="3269012" y="3667927"/>
                  </a:lnTo>
                  <a:lnTo>
                    <a:pt x="2773653" y="2914712"/>
                  </a:lnTo>
                  <a:lnTo>
                    <a:pt x="1676291" y="3696992"/>
                  </a:lnTo>
                  <a:lnTo>
                    <a:pt x="2077243" y="4303358"/>
                  </a:lnTo>
                  <a:lnTo>
                    <a:pt x="2047092" y="4303358"/>
                  </a:lnTo>
                  <a:lnTo>
                    <a:pt x="1655782" y="3711612"/>
                  </a:lnTo>
                  <a:lnTo>
                    <a:pt x="825695" y="4303358"/>
                  </a:lnTo>
                  <a:lnTo>
                    <a:pt x="782191" y="4303358"/>
                  </a:lnTo>
                  <a:lnTo>
                    <a:pt x="1641851" y="3690545"/>
                  </a:lnTo>
                  <a:lnTo>
                    <a:pt x="60145" y="1298661"/>
                  </a:lnTo>
                  <a:cubicBezTo>
                    <a:pt x="-47584" y="1135869"/>
                    <a:pt x="-6665" y="910184"/>
                    <a:pt x="151454" y="795384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de-DE"/>
            </a:p>
          </p:txBody>
        </p:sp>
        <p:sp>
          <p:nvSpPr>
            <p:cNvPr id="9" name="white">
              <a:extLst>
                <a:ext uri="{FF2B5EF4-FFF2-40B4-BE49-F238E27FC236}">
                  <a16:creationId xmlns:a16="http://schemas.microsoft.com/office/drawing/2014/main" id="{DFB00CB2-2384-6A20-7FB4-613AF6D82426}"/>
                </a:ext>
              </a:extLst>
            </p:cNvPr>
            <p:cNvSpPr/>
            <p:nvPr userDrawn="1"/>
          </p:nvSpPr>
          <p:spPr>
            <a:xfrm>
              <a:off x="4394175" y="1"/>
              <a:ext cx="5173652" cy="6052248"/>
            </a:xfrm>
            <a:custGeom>
              <a:avLst/>
              <a:gdLst>
                <a:gd name="connsiteX0" fmla="*/ 2711979 w 5173652"/>
                <a:gd name="connsiteY0" fmla="*/ 1630734 h 6052248"/>
                <a:gd name="connsiteX1" fmla="*/ 1622698 w 5173652"/>
                <a:gd name="connsiteY1" fmla="*/ 2421413 h 6052248"/>
                <a:gd name="connsiteX2" fmla="*/ 2118107 w 5173652"/>
                <a:gd name="connsiteY2" fmla="*/ 3174640 h 6052248"/>
                <a:gd name="connsiteX3" fmla="*/ 3215545 w 5173652"/>
                <a:gd name="connsiteY3" fmla="*/ 2392294 h 6052248"/>
                <a:gd name="connsiteX4" fmla="*/ 4055236 w 5173652"/>
                <a:gd name="connsiteY4" fmla="*/ 900453 h 6052248"/>
                <a:gd name="connsiteX5" fmla="*/ 3446632 w 5173652"/>
                <a:gd name="connsiteY5" fmla="*/ 1097469 h 6052248"/>
                <a:gd name="connsiteX6" fmla="*/ 2732437 w 5173652"/>
                <a:gd name="connsiteY6" fmla="*/ 1615884 h 6052248"/>
                <a:gd name="connsiteX7" fmla="*/ 3236122 w 5173652"/>
                <a:gd name="connsiteY7" fmla="*/ 2377624 h 6052248"/>
                <a:gd name="connsiteX8" fmla="*/ 5054716 w 5173652"/>
                <a:gd name="connsiteY8" fmla="*/ 1081177 h 6052248"/>
                <a:gd name="connsiteX9" fmla="*/ 5146783 w 5173652"/>
                <a:gd name="connsiteY9" fmla="*/ 954506 h 6052248"/>
                <a:gd name="connsiteX10" fmla="*/ 4998516 w 5173652"/>
                <a:gd name="connsiteY10" fmla="*/ 904241 h 6052248"/>
                <a:gd name="connsiteX11" fmla="*/ 4058014 w 5173652"/>
                <a:gd name="connsiteY11" fmla="*/ 900453 h 6052248"/>
                <a:gd name="connsiteX12" fmla="*/ 4055362 w 5173652"/>
                <a:gd name="connsiteY12" fmla="*/ 900453 h 6052248"/>
                <a:gd name="connsiteX13" fmla="*/ 0 w 5173652"/>
                <a:gd name="connsiteY13" fmla="*/ 0 h 6052248"/>
                <a:gd name="connsiteX14" fmla="*/ 30094 w 5173652"/>
                <a:gd name="connsiteY14" fmla="*/ 0 h 6052248"/>
                <a:gd name="connsiteX15" fmla="*/ 1608838 w 5173652"/>
                <a:gd name="connsiteY15" fmla="*/ 2400341 h 6052248"/>
                <a:gd name="connsiteX16" fmla="*/ 2698089 w 5173652"/>
                <a:gd name="connsiteY16" fmla="*/ 1609728 h 6052248"/>
                <a:gd name="connsiteX17" fmla="*/ 1633689 w 5173652"/>
                <a:gd name="connsiteY17" fmla="*/ 0 h 6052248"/>
                <a:gd name="connsiteX18" fmla="*/ 1663966 w 5173652"/>
                <a:gd name="connsiteY18" fmla="*/ 0 h 6052248"/>
                <a:gd name="connsiteX19" fmla="*/ 2718547 w 5173652"/>
                <a:gd name="connsiteY19" fmla="*/ 1594879 h 6052248"/>
                <a:gd name="connsiteX20" fmla="*/ 3431856 w 5173652"/>
                <a:gd name="connsiteY20" fmla="*/ 1077136 h 6052248"/>
                <a:gd name="connsiteX21" fmla="*/ 4055236 w 5173652"/>
                <a:gd name="connsiteY21" fmla="*/ 875194 h 6052248"/>
                <a:gd name="connsiteX22" fmla="*/ 4058014 w 5173652"/>
                <a:gd name="connsiteY22" fmla="*/ 875194 h 6052248"/>
                <a:gd name="connsiteX23" fmla="*/ 4998516 w 5173652"/>
                <a:gd name="connsiteY23" fmla="*/ 878983 h 6052248"/>
                <a:gd name="connsiteX24" fmla="*/ 5170779 w 5173652"/>
                <a:gd name="connsiteY24" fmla="*/ 946928 h 6052248"/>
                <a:gd name="connsiteX25" fmla="*/ 5069240 w 5173652"/>
                <a:gd name="connsiteY25" fmla="*/ 1101889 h 6052248"/>
                <a:gd name="connsiteX26" fmla="*/ 3250083 w 5173652"/>
                <a:gd name="connsiteY26" fmla="*/ 2398738 h 6052248"/>
                <a:gd name="connsiteX27" fmla="*/ 4831683 w 5173652"/>
                <a:gd name="connsiteY27" fmla="*/ 4790645 h 6052248"/>
                <a:gd name="connsiteX28" fmla="*/ 4740373 w 5173652"/>
                <a:gd name="connsiteY28" fmla="*/ 5293922 h 6052248"/>
                <a:gd name="connsiteX29" fmla="*/ 3695606 w 5173652"/>
                <a:gd name="connsiteY29" fmla="*/ 6052248 h 6052248"/>
                <a:gd name="connsiteX30" fmla="*/ 3681727 w 5173652"/>
                <a:gd name="connsiteY30" fmla="*/ 6031137 h 6052248"/>
                <a:gd name="connsiteX31" fmla="*/ 4725597 w 5173652"/>
                <a:gd name="connsiteY31" fmla="*/ 5273462 h 6052248"/>
                <a:gd name="connsiteX32" fmla="*/ 4810592 w 5173652"/>
                <a:gd name="connsiteY32" fmla="*/ 4804538 h 6052248"/>
                <a:gd name="connsiteX33" fmla="*/ 3229505 w 5173652"/>
                <a:gd name="connsiteY33" fmla="*/ 2413407 h 6052248"/>
                <a:gd name="connsiteX34" fmla="*/ 2132018 w 5173652"/>
                <a:gd name="connsiteY34" fmla="*/ 3195789 h 6052248"/>
                <a:gd name="connsiteX35" fmla="*/ 3207811 w 5173652"/>
                <a:gd name="connsiteY35" fmla="*/ 4831438 h 6052248"/>
                <a:gd name="connsiteX36" fmla="*/ 3210866 w 5173652"/>
                <a:gd name="connsiteY36" fmla="*/ 5229686 h 6052248"/>
                <a:gd name="connsiteX37" fmla="*/ 3180722 w 5173652"/>
                <a:gd name="connsiteY37" fmla="*/ 5269045 h 6052248"/>
                <a:gd name="connsiteX38" fmla="*/ 3166174 w 5173652"/>
                <a:gd name="connsiteY38" fmla="*/ 5246915 h 6052248"/>
                <a:gd name="connsiteX39" fmla="*/ 3189780 w 5173652"/>
                <a:gd name="connsiteY39" fmla="*/ 5216084 h 6052248"/>
                <a:gd name="connsiteX40" fmla="*/ 3186973 w 5173652"/>
                <a:gd name="connsiteY40" fmla="*/ 4845204 h 6052248"/>
                <a:gd name="connsiteX41" fmla="*/ 2111621 w 5173652"/>
                <a:gd name="connsiteY41" fmla="*/ 3210329 h 6052248"/>
                <a:gd name="connsiteX42" fmla="*/ 1941349 w 5173652"/>
                <a:gd name="connsiteY42" fmla="*/ 3331713 h 6052248"/>
                <a:gd name="connsiteX43" fmla="*/ 1919622 w 5173652"/>
                <a:gd name="connsiteY43" fmla="*/ 3350752 h 6052248"/>
                <a:gd name="connsiteX44" fmla="*/ 1905673 w 5173652"/>
                <a:gd name="connsiteY44" fmla="*/ 3329534 h 6052248"/>
                <a:gd name="connsiteX45" fmla="*/ 1926826 w 5173652"/>
                <a:gd name="connsiteY45" fmla="*/ 3311001 h 6052248"/>
                <a:gd name="connsiteX46" fmla="*/ 2097710 w 5173652"/>
                <a:gd name="connsiteY46" fmla="*/ 3189181 h 6052248"/>
                <a:gd name="connsiteX47" fmla="*/ 1602397 w 5173652"/>
                <a:gd name="connsiteY47" fmla="*/ 2436149 h 6052248"/>
                <a:gd name="connsiteX48" fmla="*/ 1410112 w 5173652"/>
                <a:gd name="connsiteY48" fmla="*/ 2575723 h 6052248"/>
                <a:gd name="connsiteX49" fmla="*/ 1396253 w 5173652"/>
                <a:gd name="connsiteY49" fmla="*/ 2554642 h 6052248"/>
                <a:gd name="connsiteX50" fmla="*/ 1588537 w 5173652"/>
                <a:gd name="connsiteY50" fmla="*/ 2415077 h 6052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5173652" h="6052248">
                  <a:moveTo>
                    <a:pt x="2711979" y="1630734"/>
                  </a:moveTo>
                  <a:lnTo>
                    <a:pt x="1622698" y="2421413"/>
                  </a:lnTo>
                  <a:lnTo>
                    <a:pt x="2118107" y="3174640"/>
                  </a:lnTo>
                  <a:lnTo>
                    <a:pt x="3215545" y="2392294"/>
                  </a:lnTo>
                  <a:close/>
                  <a:moveTo>
                    <a:pt x="4055236" y="900453"/>
                  </a:moveTo>
                  <a:cubicBezTo>
                    <a:pt x="3869081" y="900453"/>
                    <a:pt x="3596794" y="988479"/>
                    <a:pt x="3446632" y="1097469"/>
                  </a:cubicBezTo>
                  <a:lnTo>
                    <a:pt x="2732437" y="1615884"/>
                  </a:lnTo>
                  <a:lnTo>
                    <a:pt x="3236122" y="2377624"/>
                  </a:lnTo>
                  <a:lnTo>
                    <a:pt x="5054716" y="1081177"/>
                  </a:lnTo>
                  <a:cubicBezTo>
                    <a:pt x="5123293" y="1032302"/>
                    <a:pt x="5156887" y="986079"/>
                    <a:pt x="5146783" y="954506"/>
                  </a:cubicBezTo>
                  <a:cubicBezTo>
                    <a:pt x="5136680" y="922933"/>
                    <a:pt x="5082627" y="904494"/>
                    <a:pt x="4998516" y="904241"/>
                  </a:cubicBezTo>
                  <a:lnTo>
                    <a:pt x="4058014" y="900453"/>
                  </a:lnTo>
                  <a:cubicBezTo>
                    <a:pt x="4057130" y="900453"/>
                    <a:pt x="4056247" y="900453"/>
                    <a:pt x="4055362" y="900453"/>
                  </a:cubicBezTo>
                  <a:close/>
                  <a:moveTo>
                    <a:pt x="0" y="0"/>
                  </a:moveTo>
                  <a:lnTo>
                    <a:pt x="30094" y="0"/>
                  </a:lnTo>
                  <a:lnTo>
                    <a:pt x="1608838" y="2400341"/>
                  </a:lnTo>
                  <a:lnTo>
                    <a:pt x="2698089" y="1609728"/>
                  </a:lnTo>
                  <a:lnTo>
                    <a:pt x="1633689" y="0"/>
                  </a:lnTo>
                  <a:lnTo>
                    <a:pt x="1663966" y="0"/>
                  </a:lnTo>
                  <a:lnTo>
                    <a:pt x="2718547" y="1594879"/>
                  </a:lnTo>
                  <a:lnTo>
                    <a:pt x="3431856" y="1077136"/>
                  </a:lnTo>
                  <a:cubicBezTo>
                    <a:pt x="3585680" y="965493"/>
                    <a:pt x="3864660" y="875194"/>
                    <a:pt x="4055236" y="875194"/>
                  </a:cubicBezTo>
                  <a:cubicBezTo>
                    <a:pt x="4056120" y="875194"/>
                    <a:pt x="4057004" y="875194"/>
                    <a:pt x="4058014" y="875194"/>
                  </a:cubicBezTo>
                  <a:lnTo>
                    <a:pt x="4998516" y="878983"/>
                  </a:lnTo>
                  <a:cubicBezTo>
                    <a:pt x="5095762" y="879362"/>
                    <a:pt x="5157013" y="903484"/>
                    <a:pt x="5170779" y="946928"/>
                  </a:cubicBezTo>
                  <a:cubicBezTo>
                    <a:pt x="5184545" y="990373"/>
                    <a:pt x="5148552" y="1045310"/>
                    <a:pt x="5069240" y="1101889"/>
                  </a:cubicBezTo>
                  <a:lnTo>
                    <a:pt x="3250083" y="2398738"/>
                  </a:lnTo>
                  <a:lnTo>
                    <a:pt x="4831683" y="4790645"/>
                  </a:lnTo>
                  <a:cubicBezTo>
                    <a:pt x="4939284" y="4953436"/>
                    <a:pt x="4898365" y="5179248"/>
                    <a:pt x="4740373" y="5293922"/>
                  </a:cubicBezTo>
                  <a:lnTo>
                    <a:pt x="3695606" y="6052248"/>
                  </a:lnTo>
                  <a:lnTo>
                    <a:pt x="3681727" y="6031137"/>
                  </a:lnTo>
                  <a:lnTo>
                    <a:pt x="4725597" y="5273462"/>
                  </a:lnTo>
                  <a:cubicBezTo>
                    <a:pt x="4872728" y="5166619"/>
                    <a:pt x="4910868" y="4956215"/>
                    <a:pt x="4810592" y="4804538"/>
                  </a:cubicBezTo>
                  <a:lnTo>
                    <a:pt x="3229505" y="2413407"/>
                  </a:lnTo>
                  <a:lnTo>
                    <a:pt x="2132018" y="3195789"/>
                  </a:lnTo>
                  <a:lnTo>
                    <a:pt x="3207811" y="4831438"/>
                  </a:lnTo>
                  <a:cubicBezTo>
                    <a:pt x="3288323" y="4953816"/>
                    <a:pt x="3284795" y="5110932"/>
                    <a:pt x="3210866" y="5229686"/>
                  </a:cubicBezTo>
                  <a:lnTo>
                    <a:pt x="3180722" y="5269045"/>
                  </a:lnTo>
                  <a:lnTo>
                    <a:pt x="3166174" y="5246915"/>
                  </a:lnTo>
                  <a:lnTo>
                    <a:pt x="3189780" y="5216084"/>
                  </a:lnTo>
                  <a:cubicBezTo>
                    <a:pt x="3258605" y="5105493"/>
                    <a:pt x="3261897" y="4959152"/>
                    <a:pt x="3186973" y="4845204"/>
                  </a:cubicBezTo>
                  <a:lnTo>
                    <a:pt x="2111621" y="3210329"/>
                  </a:lnTo>
                  <a:lnTo>
                    <a:pt x="1941349" y="3331713"/>
                  </a:lnTo>
                  <a:lnTo>
                    <a:pt x="1919622" y="3350752"/>
                  </a:lnTo>
                  <a:lnTo>
                    <a:pt x="1905673" y="3329534"/>
                  </a:lnTo>
                  <a:lnTo>
                    <a:pt x="1926826" y="3311001"/>
                  </a:lnTo>
                  <a:lnTo>
                    <a:pt x="2097710" y="3189181"/>
                  </a:lnTo>
                  <a:lnTo>
                    <a:pt x="1602397" y="2436149"/>
                  </a:lnTo>
                  <a:lnTo>
                    <a:pt x="1410112" y="2575723"/>
                  </a:lnTo>
                  <a:lnTo>
                    <a:pt x="1396253" y="2554642"/>
                  </a:lnTo>
                  <a:lnTo>
                    <a:pt x="1588537" y="2415077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de-DE"/>
            </a:p>
          </p:txBody>
        </p:sp>
      </p:grpSp>
      <p:sp>
        <p:nvSpPr>
          <p:cNvPr id="21" name="number">
            <a:extLst>
              <a:ext uri="{FF2B5EF4-FFF2-40B4-BE49-F238E27FC236}">
                <a16:creationId xmlns:a16="http://schemas.microsoft.com/office/drawing/2014/main" id="{B88C9E41-DBD0-4198-9BB3-2B87E0CD44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6072000" y="5328000"/>
            <a:ext cx="6120000" cy="1530000"/>
          </a:xfrm>
          <a:noFill/>
        </p:spPr>
        <p:txBody>
          <a:bodyPr wrap="none" lIns="0" tIns="0" rIns="252000" bIns="144000" anchor="ctr" anchorCtr="0"/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9000" b="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 err="1"/>
              <a:t>No</a:t>
            </a:r>
            <a:r>
              <a:rPr lang="de-DE" dirty="0"/>
              <a:t>.</a:t>
            </a:r>
            <a:endParaRPr lang="en-US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2D63E91F-7C50-4944-B1AC-430EC102DAF7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6072000" y="1270800"/>
            <a:ext cx="6120000" cy="4024800"/>
          </a:xfrm>
          <a:noFill/>
        </p:spPr>
        <p:txBody>
          <a:bodyPr wrap="square" lIns="0" tIns="0" rIns="316800" bIns="0" anchor="b">
            <a:noAutofit/>
          </a:bodyPr>
          <a:lstStyle>
            <a:lvl1pPr algn="r">
              <a:lnSpc>
                <a:spcPct val="75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F1423FEB-CFD7-4376-A0C4-D91B3BE028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525600" y="7200000"/>
            <a:ext cx="234000" cy="180000"/>
          </a:xfrm>
        </p:spPr>
        <p:txBody>
          <a:bodyPr lIns="0" tIns="0" rIns="0" bIns="0"/>
          <a:lstStyle/>
          <a:p>
            <a:fld id="{9829449A-3FF3-45CE-9F4F-09BADC0910C6}" type="slidenum">
              <a:rPr lang="de-DE" noProof="0"/>
              <a:t>‹Nr.›</a:t>
            </a:fld>
            <a:endParaRPr lang="de-DE" noProof="0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190677E9-326C-4EF5-ADE8-5E9E2D32D3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763200" y="7200000"/>
            <a:ext cx="7880400" cy="180000"/>
          </a:xfrm>
        </p:spPr>
        <p:txBody>
          <a:bodyPr lIns="0" tIns="0" rIns="0" bIns="0"/>
          <a:lstStyle/>
          <a:p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904741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FFCB50B-5503-4467-8A0F-9FBB8B48B97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lIns="0" tIns="0" rIns="0" bIns="0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MIO_CONVERT_SLIDES_SUBTITLE">
            <a:extLst>
              <a:ext uri="{FF2B5EF4-FFF2-40B4-BE49-F238E27FC236}">
                <a16:creationId xmlns:a16="http://schemas.microsoft.com/office/drawing/2014/main" id="{7086919D-8D03-4875-B9F0-05F0C85640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25600" y="1022400"/>
            <a:ext cx="11138400" cy="5040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2000"/>
            </a:lvl1pPr>
          </a:lstStyle>
          <a:p>
            <a:pPr lvl="0"/>
            <a:r>
              <a:rPr lang="de-DE" dirty="0" err="1"/>
              <a:t>Subtitle</a:t>
            </a:r>
            <a:endParaRPr lang="en-US" dirty="0"/>
          </a:p>
        </p:txBody>
      </p:sp>
      <p:sp>
        <p:nvSpPr>
          <p:cNvPr id="7" name="content">
            <a:extLst>
              <a:ext uri="{FF2B5EF4-FFF2-40B4-BE49-F238E27FC236}">
                <a16:creationId xmlns:a16="http://schemas.microsoft.com/office/drawing/2014/main" id="{5ACBB9A0-3E08-4278-AF60-F20CD65CA5C6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25600" y="1602000"/>
            <a:ext cx="11138400" cy="4496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90B54C2D-8235-4852-8EB7-5E05529B24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 lIns="0" tIns="0" rIns="0" bIns="0"/>
          <a:lstStyle/>
          <a:p>
            <a:fld id="{9829449A-3FF3-45CE-9F4F-09BADC0910C6}" type="slidenum">
              <a:rPr lang="de-DE" noProof="0"/>
              <a:t>‹Nr.›</a:t>
            </a:fld>
            <a:endParaRPr lang="de-DE" noProof="0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A4534FC4-D037-44B0-B266-D9E820FC1D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 lIns="0" tIns="0" rIns="0" bIns="0"/>
          <a:lstStyle/>
          <a:p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384412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 xmlns:a16="http://schemas.microsoft.com/office/drawing/2014/main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6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FFCB50B-5503-4467-8A0F-9FBB8B48B97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lIns="0" tIns="0" rIns="0" bIns="0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MIO_CONVERT_SLIDES_SUBTITLE">
            <a:extLst>
              <a:ext uri="{FF2B5EF4-FFF2-40B4-BE49-F238E27FC236}">
                <a16:creationId xmlns:a16="http://schemas.microsoft.com/office/drawing/2014/main" id="{7086919D-8D03-4875-B9F0-05F0C85640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25600" y="1022400"/>
            <a:ext cx="11138400" cy="5040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2000"/>
            </a:lvl1pPr>
          </a:lstStyle>
          <a:p>
            <a:pPr lvl="0"/>
            <a:r>
              <a:rPr lang="de-DE" dirty="0" err="1"/>
              <a:t>Subtitle</a:t>
            </a:r>
            <a:endParaRPr lang="en-US" dirty="0"/>
          </a:p>
        </p:txBody>
      </p:sp>
      <p:sp>
        <p:nvSpPr>
          <p:cNvPr id="7" name="content 1">
            <a:extLst>
              <a:ext uri="{FF2B5EF4-FFF2-40B4-BE49-F238E27FC236}">
                <a16:creationId xmlns:a16="http://schemas.microsoft.com/office/drawing/2014/main" id="{5ACBB9A0-3E08-4278-AF60-F20CD65CA5C6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25600" y="1602000"/>
            <a:ext cx="5425200" cy="44964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2">
            <a:extLst>
              <a:ext uri="{FF2B5EF4-FFF2-40B4-BE49-F238E27FC236}">
                <a16:creationId xmlns:a16="http://schemas.microsoft.com/office/drawing/2014/main" id="{F8E171C8-9693-4EB0-997E-3FFD3AB31E5E}"/>
              </a:ext>
            </a:extLst>
          </p:cNvPr>
          <p:cNvSpPr>
            <a:spLocks noGrp="1"/>
          </p:cNvSpPr>
          <p:nvPr>
            <p:ph idx="15"/>
          </p:nvPr>
        </p:nvSpPr>
        <p:spPr bwMode="gray">
          <a:xfrm>
            <a:off x="6238799" y="1602000"/>
            <a:ext cx="5425200" cy="44964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90B54C2D-8235-4852-8EB7-5E05529B24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 lIns="0" tIns="0" rIns="0" bIns="0"/>
          <a:lstStyle/>
          <a:p>
            <a:fld id="{9829449A-3FF3-45CE-9F4F-09BADC0910C6}" type="slidenum">
              <a:rPr lang="de-DE" noProof="0"/>
              <a:t>‹Nr.›</a:t>
            </a:fld>
            <a:endParaRPr lang="de-DE" noProof="0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A4534FC4-D037-44B0-B266-D9E820FC1D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 lIns="0" tIns="0" rIns="0" bIns="0"/>
          <a:lstStyle/>
          <a:p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126403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640">
          <p15:clr>
            <a:srgbClr val="FBAE40"/>
          </p15:clr>
        </p15:guide>
        <p15:guide id="2" pos="3750">
          <p15:clr>
            <a:srgbClr val="FBAE40"/>
          </p15:clr>
        </p15:guide>
        <p15:guide id="3" pos="392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FFCB50B-5503-4467-8A0F-9FBB8B48B97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lIns="0" tIns="0" rIns="0" bIns="0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MIO_CONVERT_SLIDES_SUBTITLE">
            <a:extLst>
              <a:ext uri="{FF2B5EF4-FFF2-40B4-BE49-F238E27FC236}">
                <a16:creationId xmlns:a16="http://schemas.microsoft.com/office/drawing/2014/main" id="{7086919D-8D03-4875-B9F0-05F0C85640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25600" y="1022400"/>
            <a:ext cx="11138400" cy="5040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2000"/>
            </a:lvl1pPr>
          </a:lstStyle>
          <a:p>
            <a:pPr lvl="0"/>
            <a:r>
              <a:rPr lang="de-DE" dirty="0" err="1"/>
              <a:t>Subtitle</a:t>
            </a:r>
            <a:endParaRPr lang="en-US" dirty="0"/>
          </a:p>
        </p:txBody>
      </p:sp>
      <p:sp>
        <p:nvSpPr>
          <p:cNvPr id="7" name="content 1">
            <a:extLst>
              <a:ext uri="{FF2B5EF4-FFF2-40B4-BE49-F238E27FC236}">
                <a16:creationId xmlns:a16="http://schemas.microsoft.com/office/drawing/2014/main" id="{5ACBB9A0-3E08-4278-AF60-F20CD65CA5C6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25600" y="1602000"/>
            <a:ext cx="3616800" cy="44964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2">
            <a:extLst>
              <a:ext uri="{FF2B5EF4-FFF2-40B4-BE49-F238E27FC236}">
                <a16:creationId xmlns:a16="http://schemas.microsoft.com/office/drawing/2014/main" id="{8F888000-F132-4646-9AFE-7C2EB0259264}"/>
              </a:ext>
            </a:extLst>
          </p:cNvPr>
          <p:cNvSpPr>
            <a:spLocks noGrp="1"/>
          </p:cNvSpPr>
          <p:nvPr>
            <p:ph idx="15"/>
          </p:nvPr>
        </p:nvSpPr>
        <p:spPr bwMode="gray">
          <a:xfrm>
            <a:off x="4286400" y="1602000"/>
            <a:ext cx="7377600" cy="44964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90B54C2D-8235-4852-8EB7-5E05529B24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 lIns="0" tIns="0" rIns="0" bIns="0"/>
          <a:lstStyle/>
          <a:p>
            <a:fld id="{9829449A-3FF3-45CE-9F4F-09BADC0910C6}" type="slidenum">
              <a:rPr lang="de-DE" noProof="0"/>
              <a:t>‹Nr.›</a:t>
            </a:fld>
            <a:endParaRPr lang="de-DE" noProof="0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A4534FC4-D037-44B0-B266-D9E820FC1D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 lIns="0" tIns="0" rIns="0" bIns="0"/>
          <a:lstStyle/>
          <a:p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481080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644">
          <p15:clr>
            <a:srgbClr val="FBAE40"/>
          </p15:clr>
        </p15:guide>
        <p15:guide id="2" pos="2610">
          <p15:clr>
            <a:srgbClr val="FBAE40"/>
          </p15:clr>
        </p15:guide>
        <p15:guide id="3" pos="270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FFCB50B-5503-4467-8A0F-9FBB8B48B97D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25600" y="673200"/>
            <a:ext cx="11138400" cy="288000"/>
          </a:xfrm>
        </p:spPr>
        <p:txBody>
          <a:bodyPr lIns="0" tIns="0" rIns="0" bIns="0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MIO_CONVERT_SLIDES_SUBTITLE">
            <a:extLst>
              <a:ext uri="{FF2B5EF4-FFF2-40B4-BE49-F238E27FC236}">
                <a16:creationId xmlns:a16="http://schemas.microsoft.com/office/drawing/2014/main" id="{7086919D-8D03-4875-B9F0-05F0C85640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25600" y="1022400"/>
            <a:ext cx="11138400" cy="5040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2000"/>
            </a:lvl1pPr>
          </a:lstStyle>
          <a:p>
            <a:pPr lvl="0"/>
            <a:r>
              <a:rPr lang="de-DE" dirty="0" err="1"/>
              <a:t>Subtitle</a:t>
            </a:r>
            <a:endParaRPr lang="en-US" dirty="0"/>
          </a:p>
        </p:txBody>
      </p:sp>
      <p:sp>
        <p:nvSpPr>
          <p:cNvPr id="7" name="content 1">
            <a:extLst>
              <a:ext uri="{FF2B5EF4-FFF2-40B4-BE49-F238E27FC236}">
                <a16:creationId xmlns:a16="http://schemas.microsoft.com/office/drawing/2014/main" id="{5ACBB9A0-3E08-4278-AF60-F20CD65CA5C6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25600" y="1602000"/>
            <a:ext cx="7376400" cy="44964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2">
            <a:extLst>
              <a:ext uri="{FF2B5EF4-FFF2-40B4-BE49-F238E27FC236}">
                <a16:creationId xmlns:a16="http://schemas.microsoft.com/office/drawing/2014/main" id="{BED0FE55-04B9-478B-A6BA-371329BD23E8}"/>
              </a:ext>
            </a:extLst>
          </p:cNvPr>
          <p:cNvSpPr>
            <a:spLocks noGrp="1"/>
          </p:cNvSpPr>
          <p:nvPr>
            <p:ph idx="15"/>
          </p:nvPr>
        </p:nvSpPr>
        <p:spPr bwMode="gray">
          <a:xfrm>
            <a:off x="8046000" y="1602000"/>
            <a:ext cx="3618000" cy="44964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90B54C2D-8235-4852-8EB7-5E05529B24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 lIns="0" tIns="0" rIns="0" bIns="0"/>
          <a:lstStyle/>
          <a:p>
            <a:fld id="{9829449A-3FF3-45CE-9F4F-09BADC0910C6}" type="slidenum">
              <a:rPr lang="de-DE" noProof="0"/>
              <a:t>‹Nr.›</a:t>
            </a:fld>
            <a:endParaRPr lang="de-DE" noProof="0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A4534FC4-D037-44B0-B266-D9E820FC1D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 lIns="0" tIns="0" rIns="0" bIns="0"/>
          <a:lstStyle/>
          <a:p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247175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644">
          <p15:clr>
            <a:srgbClr val="FBAE40"/>
          </p15:clr>
        </p15:guide>
        <p15:guide id="2" pos="4979">
          <p15:clr>
            <a:srgbClr val="FBAE40"/>
          </p15:clr>
        </p15:guide>
        <p15:guide id="3" pos="506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81BB90D-CF42-7E79-AA75-4A4BFDD83E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6107762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6" imgW="473" imgH="473" progId="TCLayout.ActiveDocument.1">
                  <p:embed/>
                </p:oleObj>
              </mc:Choice>
              <mc:Fallback>
                <p:oleObj name="think-cell Folie" r:id="rId36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1BB90D-CF42-7E79-AA75-4A4BFDD83E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584C4224-F583-40CB-B13D-36769EB35549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25600" y="673200"/>
            <a:ext cx="11138400" cy="28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F189F72B-79D9-411A-8C32-060A214D8A62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525600" y="1602000"/>
            <a:ext cx="11138400" cy="4496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</p:txBody>
      </p:sp>
      <p:grpSp>
        <p:nvGrpSpPr>
          <p:cNvPr id="41" name="logo drees&amp;sommer blue">
            <a:extLst>
              <a:ext uri="{FF2B5EF4-FFF2-40B4-BE49-F238E27FC236}">
                <a16:creationId xmlns:a16="http://schemas.microsoft.com/office/drawing/2014/main" id="{FBCB39DB-D6A5-439A-9500-70BFCC268E8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0716797" y="6331911"/>
            <a:ext cx="948154" cy="286131"/>
            <a:chOff x="95247" y="1619247"/>
            <a:chExt cx="12004075" cy="3622552"/>
          </a:xfrm>
          <a:solidFill>
            <a:srgbClr val="002965"/>
          </a:solidFill>
        </p:grpSpPr>
        <p:sp>
          <p:nvSpPr>
            <p:cNvPr id="48" name="d">
              <a:extLst>
                <a:ext uri="{FF2B5EF4-FFF2-40B4-BE49-F238E27FC236}">
                  <a16:creationId xmlns:a16="http://schemas.microsoft.com/office/drawing/2014/main" id="{D24635F4-ED43-479C-B15C-866EFD69AA9E}"/>
                </a:ext>
              </a:extLst>
            </p:cNvPr>
            <p:cNvSpPr/>
            <p:nvPr/>
          </p:nvSpPr>
          <p:spPr bwMode="gray">
            <a:xfrm>
              <a:off x="146585" y="1619247"/>
              <a:ext cx="1890145" cy="1555528"/>
            </a:xfrm>
            <a:custGeom>
              <a:avLst/>
              <a:gdLst>
                <a:gd name="connsiteX0" fmla="*/ 361760 w 1890141"/>
                <a:gd name="connsiteY0" fmla="*/ 1263206 h 1555527"/>
                <a:gd name="connsiteX1" fmla="*/ 361760 w 1890141"/>
                <a:gd name="connsiteY1" fmla="*/ 277368 h 1555527"/>
                <a:gd name="connsiteX2" fmla="*/ 1003840 w 1890141"/>
                <a:gd name="connsiteY2" fmla="*/ 277368 h 1555527"/>
                <a:gd name="connsiteX3" fmla="*/ 1516380 w 1890141"/>
                <a:gd name="connsiteY3" fmla="*/ 762762 h 1555527"/>
                <a:gd name="connsiteX4" fmla="*/ 828961 w 1890141"/>
                <a:gd name="connsiteY4" fmla="*/ 1263206 h 1555527"/>
                <a:gd name="connsiteX5" fmla="*/ 361760 w 1890141"/>
                <a:gd name="connsiteY5" fmla="*/ 1263206 h 1555527"/>
                <a:gd name="connsiteX6" fmla="*/ 0 w 1890141"/>
                <a:gd name="connsiteY6" fmla="*/ 1555528 h 1555527"/>
                <a:gd name="connsiteX7" fmla="*/ 907447 w 1890141"/>
                <a:gd name="connsiteY7" fmla="*/ 1555528 h 1555527"/>
                <a:gd name="connsiteX8" fmla="*/ 1546574 w 1890141"/>
                <a:gd name="connsiteY8" fmla="*/ 1435037 h 1555527"/>
                <a:gd name="connsiteX9" fmla="*/ 1890141 w 1890141"/>
                <a:gd name="connsiteY9" fmla="*/ 768763 h 1555527"/>
                <a:gd name="connsiteX10" fmla="*/ 1000792 w 1890141"/>
                <a:gd name="connsiteY10" fmla="*/ 0 h 1555527"/>
                <a:gd name="connsiteX11" fmla="*/ 0 w 1890141"/>
                <a:gd name="connsiteY11" fmla="*/ 0 h 1555527"/>
                <a:gd name="connsiteX12" fmla="*/ 0 w 1890141"/>
                <a:gd name="connsiteY12" fmla="*/ 1555528 h 1555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90141" h="1555527">
                  <a:moveTo>
                    <a:pt x="361760" y="1263206"/>
                  </a:moveTo>
                  <a:lnTo>
                    <a:pt x="361760" y="277368"/>
                  </a:lnTo>
                  <a:lnTo>
                    <a:pt x="1003840" y="277368"/>
                  </a:lnTo>
                  <a:cubicBezTo>
                    <a:pt x="1344549" y="277368"/>
                    <a:pt x="1516380" y="446246"/>
                    <a:pt x="1516380" y="762762"/>
                  </a:cubicBezTo>
                  <a:cubicBezTo>
                    <a:pt x="1516380" y="1148620"/>
                    <a:pt x="1287209" y="1263206"/>
                    <a:pt x="828961" y="1263206"/>
                  </a:cubicBezTo>
                  <a:lnTo>
                    <a:pt x="361760" y="1263206"/>
                  </a:lnTo>
                  <a:close/>
                  <a:moveTo>
                    <a:pt x="0" y="1555528"/>
                  </a:moveTo>
                  <a:lnTo>
                    <a:pt x="907447" y="1555528"/>
                  </a:lnTo>
                  <a:cubicBezTo>
                    <a:pt x="1184624" y="1555528"/>
                    <a:pt x="1395698" y="1528382"/>
                    <a:pt x="1546574" y="1435037"/>
                  </a:cubicBezTo>
                  <a:cubicBezTo>
                    <a:pt x="1763649" y="1302353"/>
                    <a:pt x="1890141" y="1061180"/>
                    <a:pt x="1890141" y="768763"/>
                  </a:cubicBezTo>
                  <a:cubicBezTo>
                    <a:pt x="1890141" y="286417"/>
                    <a:pt x="1582769" y="0"/>
                    <a:pt x="1000792" y="0"/>
                  </a:cubicBezTo>
                  <a:lnTo>
                    <a:pt x="0" y="0"/>
                  </a:lnTo>
                  <a:lnTo>
                    <a:pt x="0" y="15555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 dirty="0"/>
            </a:p>
          </p:txBody>
        </p:sp>
        <p:sp>
          <p:nvSpPr>
            <p:cNvPr id="49" name="r">
              <a:extLst>
                <a:ext uri="{FF2B5EF4-FFF2-40B4-BE49-F238E27FC236}">
                  <a16:creationId xmlns:a16="http://schemas.microsoft.com/office/drawing/2014/main" id="{037C460F-8F18-4B28-B586-F0C5D3045C4E}"/>
                </a:ext>
              </a:extLst>
            </p:cNvPr>
            <p:cNvSpPr/>
            <p:nvPr/>
          </p:nvSpPr>
          <p:spPr bwMode="gray">
            <a:xfrm>
              <a:off x="2405150" y="1899664"/>
              <a:ext cx="1579811" cy="1275112"/>
            </a:xfrm>
            <a:custGeom>
              <a:avLst/>
              <a:gdLst>
                <a:gd name="connsiteX0" fmla="*/ 1015937 w 1579816"/>
                <a:gd name="connsiteY0" fmla="*/ 220028 h 1275111"/>
                <a:gd name="connsiteX1" fmla="*/ 1157668 w 1579816"/>
                <a:gd name="connsiteY1" fmla="*/ 322517 h 1275111"/>
                <a:gd name="connsiteX2" fmla="*/ 1157668 w 1579816"/>
                <a:gd name="connsiteY2" fmla="*/ 470249 h 1275111"/>
                <a:gd name="connsiteX3" fmla="*/ 1015937 w 1579816"/>
                <a:gd name="connsiteY3" fmla="*/ 572738 h 1275111"/>
                <a:gd name="connsiteX4" fmla="*/ 307467 w 1579816"/>
                <a:gd name="connsiteY4" fmla="*/ 572738 h 1275111"/>
                <a:gd name="connsiteX5" fmla="*/ 307467 w 1579816"/>
                <a:gd name="connsiteY5" fmla="*/ 220028 h 1275111"/>
                <a:gd name="connsiteX6" fmla="*/ 1015937 w 1579816"/>
                <a:gd name="connsiteY6" fmla="*/ 220028 h 1275111"/>
                <a:gd name="connsiteX7" fmla="*/ 0 w 1579816"/>
                <a:gd name="connsiteY7" fmla="*/ 1275112 h 1275111"/>
                <a:gd name="connsiteX8" fmla="*/ 307562 w 1579816"/>
                <a:gd name="connsiteY8" fmla="*/ 1275112 h 1275111"/>
                <a:gd name="connsiteX9" fmla="*/ 307562 w 1579816"/>
                <a:gd name="connsiteY9" fmla="*/ 792671 h 1275111"/>
                <a:gd name="connsiteX10" fmla="*/ 599980 w 1579816"/>
                <a:gd name="connsiteY10" fmla="*/ 792671 h 1275111"/>
                <a:gd name="connsiteX11" fmla="*/ 1133570 w 1579816"/>
                <a:gd name="connsiteY11" fmla="*/ 1275112 h 1275111"/>
                <a:gd name="connsiteX12" fmla="*/ 1579817 w 1579816"/>
                <a:gd name="connsiteY12" fmla="*/ 1275112 h 1275111"/>
                <a:gd name="connsiteX13" fmla="*/ 973741 w 1579816"/>
                <a:gd name="connsiteY13" fmla="*/ 792671 h 1275111"/>
                <a:gd name="connsiteX14" fmla="*/ 1148620 w 1579816"/>
                <a:gd name="connsiteY14" fmla="*/ 792671 h 1275111"/>
                <a:gd name="connsiteX15" fmla="*/ 1447133 w 1579816"/>
                <a:gd name="connsiteY15" fmla="*/ 548640 h 1275111"/>
                <a:gd name="connsiteX16" fmla="*/ 1447133 w 1579816"/>
                <a:gd name="connsiteY16" fmla="*/ 247174 h 1275111"/>
                <a:gd name="connsiteX17" fmla="*/ 1148620 w 1579816"/>
                <a:gd name="connsiteY17" fmla="*/ 0 h 1275111"/>
                <a:gd name="connsiteX18" fmla="*/ 0 w 1579816"/>
                <a:gd name="connsiteY18" fmla="*/ 0 h 1275111"/>
                <a:gd name="connsiteX19" fmla="*/ 0 w 1579816"/>
                <a:gd name="connsiteY19" fmla="*/ 1275112 h 1275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79816" h="1275111">
                  <a:moveTo>
                    <a:pt x="1015937" y="220028"/>
                  </a:moveTo>
                  <a:cubicBezTo>
                    <a:pt x="1109282" y="220028"/>
                    <a:pt x="1157668" y="238220"/>
                    <a:pt x="1157668" y="322517"/>
                  </a:cubicBezTo>
                  <a:lnTo>
                    <a:pt x="1157668" y="470249"/>
                  </a:lnTo>
                  <a:cubicBezTo>
                    <a:pt x="1157668" y="554736"/>
                    <a:pt x="1109282" y="572738"/>
                    <a:pt x="1015937" y="572738"/>
                  </a:cubicBezTo>
                  <a:lnTo>
                    <a:pt x="307467" y="572738"/>
                  </a:lnTo>
                  <a:lnTo>
                    <a:pt x="307467" y="220028"/>
                  </a:lnTo>
                  <a:lnTo>
                    <a:pt x="1015937" y="220028"/>
                  </a:lnTo>
                  <a:close/>
                  <a:moveTo>
                    <a:pt x="0" y="1275112"/>
                  </a:moveTo>
                  <a:lnTo>
                    <a:pt x="307562" y="1275112"/>
                  </a:lnTo>
                  <a:lnTo>
                    <a:pt x="307562" y="792671"/>
                  </a:lnTo>
                  <a:lnTo>
                    <a:pt x="599980" y="792671"/>
                  </a:lnTo>
                  <a:lnTo>
                    <a:pt x="1133570" y="1275112"/>
                  </a:lnTo>
                  <a:lnTo>
                    <a:pt x="1579817" y="1275112"/>
                  </a:lnTo>
                  <a:lnTo>
                    <a:pt x="973741" y="792671"/>
                  </a:lnTo>
                  <a:lnTo>
                    <a:pt x="1148620" y="792671"/>
                  </a:lnTo>
                  <a:cubicBezTo>
                    <a:pt x="1353693" y="792671"/>
                    <a:pt x="1447133" y="723329"/>
                    <a:pt x="1447133" y="548640"/>
                  </a:cubicBezTo>
                  <a:lnTo>
                    <a:pt x="1447133" y="247174"/>
                  </a:lnTo>
                  <a:cubicBezTo>
                    <a:pt x="1447133" y="69342"/>
                    <a:pt x="1353598" y="0"/>
                    <a:pt x="1148620" y="0"/>
                  </a:cubicBezTo>
                  <a:lnTo>
                    <a:pt x="0" y="0"/>
                  </a:lnTo>
                  <a:lnTo>
                    <a:pt x="0" y="12751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 dirty="0"/>
            </a:p>
          </p:txBody>
        </p:sp>
        <p:sp>
          <p:nvSpPr>
            <p:cNvPr id="50" name="e">
              <a:extLst>
                <a:ext uri="{FF2B5EF4-FFF2-40B4-BE49-F238E27FC236}">
                  <a16:creationId xmlns:a16="http://schemas.microsoft.com/office/drawing/2014/main" id="{A4B2EB09-12AD-45E6-8295-A12BC8E70ACE}"/>
                </a:ext>
              </a:extLst>
            </p:cNvPr>
            <p:cNvSpPr/>
            <p:nvPr/>
          </p:nvSpPr>
          <p:spPr bwMode="gray">
            <a:xfrm>
              <a:off x="4279102" y="1899664"/>
              <a:ext cx="1383701" cy="1275112"/>
            </a:xfrm>
            <a:custGeom>
              <a:avLst/>
              <a:gdLst>
                <a:gd name="connsiteX0" fmla="*/ 0 w 1383696"/>
                <a:gd name="connsiteY0" fmla="*/ 1275112 h 1275111"/>
                <a:gd name="connsiteX1" fmla="*/ 1383697 w 1383696"/>
                <a:gd name="connsiteY1" fmla="*/ 1275112 h 1275111"/>
                <a:gd name="connsiteX2" fmla="*/ 1383697 w 1383696"/>
                <a:gd name="connsiteY2" fmla="*/ 1036987 h 1275111"/>
                <a:gd name="connsiteX3" fmla="*/ 313563 w 1383696"/>
                <a:gd name="connsiteY3" fmla="*/ 1036987 h 1275111"/>
                <a:gd name="connsiteX4" fmla="*/ 313563 w 1383696"/>
                <a:gd name="connsiteY4" fmla="*/ 723424 h 1275111"/>
                <a:gd name="connsiteX5" fmla="*/ 928497 w 1383696"/>
                <a:gd name="connsiteY5" fmla="*/ 723424 h 1275111"/>
                <a:gd name="connsiteX6" fmla="*/ 928497 w 1383696"/>
                <a:gd name="connsiteY6" fmla="*/ 503396 h 1275111"/>
                <a:gd name="connsiteX7" fmla="*/ 313563 w 1383696"/>
                <a:gd name="connsiteY7" fmla="*/ 503396 h 1275111"/>
                <a:gd name="connsiteX8" fmla="*/ 313563 w 1383696"/>
                <a:gd name="connsiteY8" fmla="*/ 226028 h 1275111"/>
                <a:gd name="connsiteX9" fmla="*/ 1368743 w 1383696"/>
                <a:gd name="connsiteY9" fmla="*/ 226028 h 1275111"/>
                <a:gd name="connsiteX10" fmla="*/ 1368743 w 1383696"/>
                <a:gd name="connsiteY10" fmla="*/ 0 h 1275111"/>
                <a:gd name="connsiteX11" fmla="*/ 0 w 1383696"/>
                <a:gd name="connsiteY11" fmla="*/ 0 h 1275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83696" h="1275111">
                  <a:moveTo>
                    <a:pt x="0" y="1275112"/>
                  </a:moveTo>
                  <a:lnTo>
                    <a:pt x="1383697" y="1275112"/>
                  </a:lnTo>
                  <a:lnTo>
                    <a:pt x="1383697" y="1036987"/>
                  </a:lnTo>
                  <a:lnTo>
                    <a:pt x="313563" y="1036987"/>
                  </a:lnTo>
                  <a:lnTo>
                    <a:pt x="313563" y="723424"/>
                  </a:lnTo>
                  <a:lnTo>
                    <a:pt x="928497" y="723424"/>
                  </a:lnTo>
                  <a:lnTo>
                    <a:pt x="928497" y="503396"/>
                  </a:lnTo>
                  <a:lnTo>
                    <a:pt x="313563" y="503396"/>
                  </a:lnTo>
                  <a:lnTo>
                    <a:pt x="313563" y="226028"/>
                  </a:lnTo>
                  <a:lnTo>
                    <a:pt x="1368743" y="226028"/>
                  </a:lnTo>
                  <a:lnTo>
                    <a:pt x="136874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 dirty="0"/>
            </a:p>
          </p:txBody>
        </p:sp>
        <p:sp>
          <p:nvSpPr>
            <p:cNvPr id="51" name="e">
              <a:extLst>
                <a:ext uri="{FF2B5EF4-FFF2-40B4-BE49-F238E27FC236}">
                  <a16:creationId xmlns:a16="http://schemas.microsoft.com/office/drawing/2014/main" id="{675B88E0-E5A8-406A-8E15-9032D07BEFFB}"/>
                </a:ext>
              </a:extLst>
            </p:cNvPr>
            <p:cNvSpPr/>
            <p:nvPr/>
          </p:nvSpPr>
          <p:spPr bwMode="gray">
            <a:xfrm>
              <a:off x="6022562" y="1899664"/>
              <a:ext cx="1383701" cy="1275112"/>
            </a:xfrm>
            <a:custGeom>
              <a:avLst/>
              <a:gdLst>
                <a:gd name="connsiteX0" fmla="*/ 0 w 1383696"/>
                <a:gd name="connsiteY0" fmla="*/ 1275112 h 1275111"/>
                <a:gd name="connsiteX1" fmla="*/ 1383697 w 1383696"/>
                <a:gd name="connsiteY1" fmla="*/ 1275112 h 1275111"/>
                <a:gd name="connsiteX2" fmla="*/ 1383697 w 1383696"/>
                <a:gd name="connsiteY2" fmla="*/ 1036987 h 1275111"/>
                <a:gd name="connsiteX3" fmla="*/ 313563 w 1383696"/>
                <a:gd name="connsiteY3" fmla="*/ 1036987 h 1275111"/>
                <a:gd name="connsiteX4" fmla="*/ 313563 w 1383696"/>
                <a:gd name="connsiteY4" fmla="*/ 723424 h 1275111"/>
                <a:gd name="connsiteX5" fmla="*/ 928497 w 1383696"/>
                <a:gd name="connsiteY5" fmla="*/ 723424 h 1275111"/>
                <a:gd name="connsiteX6" fmla="*/ 928497 w 1383696"/>
                <a:gd name="connsiteY6" fmla="*/ 503396 h 1275111"/>
                <a:gd name="connsiteX7" fmla="*/ 313563 w 1383696"/>
                <a:gd name="connsiteY7" fmla="*/ 503396 h 1275111"/>
                <a:gd name="connsiteX8" fmla="*/ 313563 w 1383696"/>
                <a:gd name="connsiteY8" fmla="*/ 226028 h 1275111"/>
                <a:gd name="connsiteX9" fmla="*/ 1368743 w 1383696"/>
                <a:gd name="connsiteY9" fmla="*/ 226028 h 1275111"/>
                <a:gd name="connsiteX10" fmla="*/ 1368743 w 1383696"/>
                <a:gd name="connsiteY10" fmla="*/ 0 h 1275111"/>
                <a:gd name="connsiteX11" fmla="*/ 0 w 1383696"/>
                <a:gd name="connsiteY11" fmla="*/ 0 h 1275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83696" h="1275111">
                  <a:moveTo>
                    <a:pt x="0" y="1275112"/>
                  </a:moveTo>
                  <a:lnTo>
                    <a:pt x="1383697" y="1275112"/>
                  </a:lnTo>
                  <a:lnTo>
                    <a:pt x="1383697" y="1036987"/>
                  </a:lnTo>
                  <a:lnTo>
                    <a:pt x="313563" y="1036987"/>
                  </a:lnTo>
                  <a:lnTo>
                    <a:pt x="313563" y="723424"/>
                  </a:lnTo>
                  <a:lnTo>
                    <a:pt x="928497" y="723424"/>
                  </a:lnTo>
                  <a:lnTo>
                    <a:pt x="928497" y="503396"/>
                  </a:lnTo>
                  <a:lnTo>
                    <a:pt x="313563" y="503396"/>
                  </a:lnTo>
                  <a:lnTo>
                    <a:pt x="313563" y="226028"/>
                  </a:lnTo>
                  <a:lnTo>
                    <a:pt x="1368743" y="226028"/>
                  </a:lnTo>
                  <a:lnTo>
                    <a:pt x="136874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 dirty="0"/>
            </a:p>
          </p:txBody>
        </p:sp>
        <p:sp>
          <p:nvSpPr>
            <p:cNvPr id="52" name="s">
              <a:extLst>
                <a:ext uri="{FF2B5EF4-FFF2-40B4-BE49-F238E27FC236}">
                  <a16:creationId xmlns:a16="http://schemas.microsoft.com/office/drawing/2014/main" id="{8ACB0DDA-D27B-4184-92E1-8FEB6541A740}"/>
                </a:ext>
              </a:extLst>
            </p:cNvPr>
            <p:cNvSpPr/>
            <p:nvPr/>
          </p:nvSpPr>
          <p:spPr bwMode="gray">
            <a:xfrm>
              <a:off x="7714204" y="1899664"/>
              <a:ext cx="1495239" cy="1275213"/>
            </a:xfrm>
            <a:custGeom>
              <a:avLst/>
              <a:gdLst>
                <a:gd name="connsiteX0" fmla="*/ 1211770 w 1495234"/>
                <a:gd name="connsiteY0" fmla="*/ 229076 h 1275207"/>
                <a:gd name="connsiteX1" fmla="*/ 1211770 w 1495234"/>
                <a:gd name="connsiteY1" fmla="*/ 348234 h 1275207"/>
                <a:gd name="connsiteX2" fmla="*/ 1479995 w 1495234"/>
                <a:gd name="connsiteY2" fmla="*/ 291084 h 1275207"/>
                <a:gd name="connsiteX3" fmla="*/ 1479995 w 1495234"/>
                <a:gd name="connsiteY3" fmla="*/ 277368 h 1275207"/>
                <a:gd name="connsiteX4" fmla="*/ 1145477 w 1495234"/>
                <a:gd name="connsiteY4" fmla="*/ 0 h 1275207"/>
                <a:gd name="connsiteX5" fmla="*/ 388905 w 1495234"/>
                <a:gd name="connsiteY5" fmla="*/ 0 h 1275207"/>
                <a:gd name="connsiteX6" fmla="*/ 54197 w 1495234"/>
                <a:gd name="connsiteY6" fmla="*/ 301561 h 1275207"/>
                <a:gd name="connsiteX7" fmla="*/ 54197 w 1495234"/>
                <a:gd name="connsiteY7" fmla="*/ 443294 h 1275207"/>
                <a:gd name="connsiteX8" fmla="*/ 388905 w 1495234"/>
                <a:gd name="connsiteY8" fmla="*/ 744665 h 1275207"/>
                <a:gd name="connsiteX9" fmla="*/ 1214818 w 1495234"/>
                <a:gd name="connsiteY9" fmla="*/ 744665 h 1275207"/>
                <a:gd name="connsiteX10" fmla="*/ 1214818 w 1495234"/>
                <a:gd name="connsiteY10" fmla="*/ 1037177 h 1275207"/>
                <a:gd name="connsiteX11" fmla="*/ 277177 w 1495234"/>
                <a:gd name="connsiteY11" fmla="*/ 1037177 h 1275207"/>
                <a:gd name="connsiteX12" fmla="*/ 277177 w 1495234"/>
                <a:gd name="connsiteY12" fmla="*/ 902875 h 1275207"/>
                <a:gd name="connsiteX13" fmla="*/ 0 w 1495234"/>
                <a:gd name="connsiteY13" fmla="*/ 954214 h 1275207"/>
                <a:gd name="connsiteX14" fmla="*/ 0 w 1495234"/>
                <a:gd name="connsiteY14" fmla="*/ 973836 h 1275207"/>
                <a:gd name="connsiteX15" fmla="*/ 334518 w 1495234"/>
                <a:gd name="connsiteY15" fmla="*/ 1275207 h 1275207"/>
                <a:gd name="connsiteX16" fmla="*/ 1163669 w 1495234"/>
                <a:gd name="connsiteY16" fmla="*/ 1275207 h 1275207"/>
                <a:gd name="connsiteX17" fmla="*/ 1495234 w 1495234"/>
                <a:gd name="connsiteY17" fmla="*/ 973836 h 1275207"/>
                <a:gd name="connsiteX18" fmla="*/ 1495234 w 1495234"/>
                <a:gd name="connsiteY18" fmla="*/ 798957 h 1275207"/>
                <a:gd name="connsiteX19" fmla="*/ 1163669 w 1495234"/>
                <a:gd name="connsiteY19" fmla="*/ 497586 h 1275207"/>
                <a:gd name="connsiteX20" fmla="*/ 334518 w 1495234"/>
                <a:gd name="connsiteY20" fmla="*/ 497586 h 1275207"/>
                <a:gd name="connsiteX21" fmla="*/ 334518 w 1495234"/>
                <a:gd name="connsiteY21" fmla="*/ 229076 h 1275207"/>
                <a:gd name="connsiteX22" fmla="*/ 1211770 w 1495234"/>
                <a:gd name="connsiteY22" fmla="*/ 229076 h 127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95234" h="1275207">
                  <a:moveTo>
                    <a:pt x="1211770" y="229076"/>
                  </a:moveTo>
                  <a:lnTo>
                    <a:pt x="1211770" y="348234"/>
                  </a:lnTo>
                  <a:lnTo>
                    <a:pt x="1479995" y="291084"/>
                  </a:lnTo>
                  <a:lnTo>
                    <a:pt x="1479995" y="277368"/>
                  </a:lnTo>
                  <a:cubicBezTo>
                    <a:pt x="1479995" y="54388"/>
                    <a:pt x="1380649" y="0"/>
                    <a:pt x="1145477" y="0"/>
                  </a:cubicBezTo>
                  <a:lnTo>
                    <a:pt x="388905" y="0"/>
                  </a:lnTo>
                  <a:cubicBezTo>
                    <a:pt x="138684" y="0"/>
                    <a:pt x="54197" y="60388"/>
                    <a:pt x="54197" y="301561"/>
                  </a:cubicBezTo>
                  <a:lnTo>
                    <a:pt x="54197" y="443294"/>
                  </a:lnTo>
                  <a:cubicBezTo>
                    <a:pt x="54197" y="684467"/>
                    <a:pt x="138684" y="744665"/>
                    <a:pt x="388905" y="744665"/>
                  </a:cubicBezTo>
                  <a:lnTo>
                    <a:pt x="1214818" y="744665"/>
                  </a:lnTo>
                  <a:lnTo>
                    <a:pt x="1214818" y="1037177"/>
                  </a:lnTo>
                  <a:lnTo>
                    <a:pt x="277177" y="1037177"/>
                  </a:lnTo>
                  <a:lnTo>
                    <a:pt x="277177" y="902875"/>
                  </a:lnTo>
                  <a:lnTo>
                    <a:pt x="0" y="954214"/>
                  </a:lnTo>
                  <a:lnTo>
                    <a:pt x="0" y="973836"/>
                  </a:lnTo>
                  <a:cubicBezTo>
                    <a:pt x="0" y="1212056"/>
                    <a:pt x="81343" y="1275207"/>
                    <a:pt x="334518" y="1275207"/>
                  </a:cubicBezTo>
                  <a:lnTo>
                    <a:pt x="1163669" y="1275207"/>
                  </a:lnTo>
                  <a:cubicBezTo>
                    <a:pt x="1416844" y="1275207"/>
                    <a:pt x="1495234" y="1212056"/>
                    <a:pt x="1495234" y="973836"/>
                  </a:cubicBezTo>
                  <a:lnTo>
                    <a:pt x="1495234" y="798957"/>
                  </a:lnTo>
                  <a:cubicBezTo>
                    <a:pt x="1495234" y="557784"/>
                    <a:pt x="1416939" y="497586"/>
                    <a:pt x="1163669" y="497586"/>
                  </a:cubicBezTo>
                  <a:lnTo>
                    <a:pt x="334518" y="497586"/>
                  </a:lnTo>
                  <a:lnTo>
                    <a:pt x="334518" y="229076"/>
                  </a:lnTo>
                  <a:lnTo>
                    <a:pt x="1211770" y="22907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 dirty="0"/>
            </a:p>
          </p:txBody>
        </p:sp>
        <p:sp>
          <p:nvSpPr>
            <p:cNvPr id="53" name="&amp;">
              <a:extLst>
                <a:ext uri="{FF2B5EF4-FFF2-40B4-BE49-F238E27FC236}">
                  <a16:creationId xmlns:a16="http://schemas.microsoft.com/office/drawing/2014/main" id="{69D8CA69-9CD5-4BDF-B967-4B0ADD7058A0}"/>
                </a:ext>
              </a:extLst>
            </p:cNvPr>
            <p:cNvSpPr/>
            <p:nvPr/>
          </p:nvSpPr>
          <p:spPr bwMode="gray">
            <a:xfrm>
              <a:off x="9995063" y="1619247"/>
              <a:ext cx="2104259" cy="1555528"/>
            </a:xfrm>
            <a:custGeom>
              <a:avLst/>
              <a:gdLst>
                <a:gd name="connsiteX0" fmla="*/ 304514 w 2104263"/>
                <a:gd name="connsiteY0" fmla="*/ 1284161 h 1555527"/>
                <a:gd name="connsiteX1" fmla="*/ 304514 w 2104263"/>
                <a:gd name="connsiteY1" fmla="*/ 1018985 h 1555527"/>
                <a:gd name="connsiteX2" fmla="*/ 702373 w 2104263"/>
                <a:gd name="connsiteY2" fmla="*/ 771811 h 1555527"/>
                <a:gd name="connsiteX3" fmla="*/ 1169575 w 2104263"/>
                <a:gd name="connsiteY3" fmla="*/ 1160717 h 1555527"/>
                <a:gd name="connsiteX4" fmla="*/ 1024890 w 2104263"/>
                <a:gd name="connsiteY4" fmla="*/ 1284256 h 1555527"/>
                <a:gd name="connsiteX5" fmla="*/ 304514 w 2104263"/>
                <a:gd name="connsiteY5" fmla="*/ 1284256 h 1555527"/>
                <a:gd name="connsiteX6" fmla="*/ 388811 w 2104263"/>
                <a:gd name="connsiteY6" fmla="*/ 1555528 h 1555527"/>
                <a:gd name="connsiteX7" fmla="*/ 943547 w 2104263"/>
                <a:gd name="connsiteY7" fmla="*/ 1555528 h 1555527"/>
                <a:gd name="connsiteX8" fmla="*/ 1235964 w 2104263"/>
                <a:gd name="connsiteY8" fmla="*/ 1461992 h 1555527"/>
                <a:gd name="connsiteX9" fmla="*/ 1374649 w 2104263"/>
                <a:gd name="connsiteY9" fmla="*/ 1338453 h 1555527"/>
                <a:gd name="connsiteX10" fmla="*/ 1630870 w 2104263"/>
                <a:gd name="connsiteY10" fmla="*/ 1555528 h 1555527"/>
                <a:gd name="connsiteX11" fmla="*/ 2104264 w 2104263"/>
                <a:gd name="connsiteY11" fmla="*/ 1555528 h 1555527"/>
                <a:gd name="connsiteX12" fmla="*/ 1612869 w 2104263"/>
                <a:gd name="connsiteY12" fmla="*/ 1142429 h 1555527"/>
                <a:gd name="connsiteX13" fmla="*/ 1971580 w 2104263"/>
                <a:gd name="connsiteY13" fmla="*/ 844106 h 1555527"/>
                <a:gd name="connsiteX14" fmla="*/ 1766507 w 2104263"/>
                <a:gd name="connsiteY14" fmla="*/ 666274 h 1555527"/>
                <a:gd name="connsiteX15" fmla="*/ 1404747 w 2104263"/>
                <a:gd name="connsiteY15" fmla="*/ 967645 h 1555527"/>
                <a:gd name="connsiteX16" fmla="*/ 672180 w 2104263"/>
                <a:gd name="connsiteY16" fmla="*/ 358712 h 1555527"/>
                <a:gd name="connsiteX17" fmla="*/ 672180 w 2104263"/>
                <a:gd name="connsiteY17" fmla="*/ 247174 h 1555527"/>
                <a:gd name="connsiteX18" fmla="*/ 1181767 w 2104263"/>
                <a:gd name="connsiteY18" fmla="*/ 247174 h 1555527"/>
                <a:gd name="connsiteX19" fmla="*/ 1181767 w 2104263"/>
                <a:gd name="connsiteY19" fmla="*/ 455295 h 1555527"/>
                <a:gd name="connsiteX20" fmla="*/ 1461992 w 2104263"/>
                <a:gd name="connsiteY20" fmla="*/ 407099 h 1555527"/>
                <a:gd name="connsiteX21" fmla="*/ 1461992 w 2104263"/>
                <a:gd name="connsiteY21" fmla="*/ 313563 h 1555527"/>
                <a:gd name="connsiteX22" fmla="*/ 1076134 w 2104263"/>
                <a:gd name="connsiteY22" fmla="*/ 0 h 1555527"/>
                <a:gd name="connsiteX23" fmla="*/ 762763 w 2104263"/>
                <a:gd name="connsiteY23" fmla="*/ 0 h 1555527"/>
                <a:gd name="connsiteX24" fmla="*/ 376905 w 2104263"/>
                <a:gd name="connsiteY24" fmla="*/ 283369 h 1555527"/>
                <a:gd name="connsiteX25" fmla="*/ 376905 w 2104263"/>
                <a:gd name="connsiteY25" fmla="*/ 370713 h 1555527"/>
                <a:gd name="connsiteX26" fmla="*/ 509588 w 2104263"/>
                <a:gd name="connsiteY26" fmla="*/ 605885 h 1555527"/>
                <a:gd name="connsiteX27" fmla="*/ 192881 w 2104263"/>
                <a:gd name="connsiteY27" fmla="*/ 795909 h 1555527"/>
                <a:gd name="connsiteX28" fmla="*/ 0 w 2104263"/>
                <a:gd name="connsiteY28" fmla="*/ 1085279 h 1555527"/>
                <a:gd name="connsiteX29" fmla="*/ 0 w 2104263"/>
                <a:gd name="connsiteY29" fmla="*/ 1187768 h 1555527"/>
                <a:gd name="connsiteX30" fmla="*/ 388811 w 2104263"/>
                <a:gd name="connsiteY30" fmla="*/ 1555528 h 1555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104263" h="1555527">
                  <a:moveTo>
                    <a:pt x="304514" y="1284161"/>
                  </a:moveTo>
                  <a:lnTo>
                    <a:pt x="304514" y="1018985"/>
                  </a:lnTo>
                  <a:lnTo>
                    <a:pt x="702373" y="771811"/>
                  </a:lnTo>
                  <a:lnTo>
                    <a:pt x="1169575" y="1160717"/>
                  </a:lnTo>
                  <a:lnTo>
                    <a:pt x="1024890" y="1284256"/>
                  </a:lnTo>
                  <a:lnTo>
                    <a:pt x="304514" y="1284256"/>
                  </a:lnTo>
                  <a:close/>
                  <a:moveTo>
                    <a:pt x="388811" y="1555528"/>
                  </a:moveTo>
                  <a:lnTo>
                    <a:pt x="943547" y="1555528"/>
                  </a:lnTo>
                  <a:cubicBezTo>
                    <a:pt x="1073087" y="1555528"/>
                    <a:pt x="1136428" y="1549527"/>
                    <a:pt x="1235964" y="1461992"/>
                  </a:cubicBezTo>
                  <a:lnTo>
                    <a:pt x="1374649" y="1338453"/>
                  </a:lnTo>
                  <a:lnTo>
                    <a:pt x="1630870" y="1555528"/>
                  </a:lnTo>
                  <a:lnTo>
                    <a:pt x="2104264" y="1555528"/>
                  </a:lnTo>
                  <a:lnTo>
                    <a:pt x="1612869" y="1142429"/>
                  </a:lnTo>
                  <a:lnTo>
                    <a:pt x="1971580" y="844106"/>
                  </a:lnTo>
                  <a:lnTo>
                    <a:pt x="1766507" y="666274"/>
                  </a:lnTo>
                  <a:lnTo>
                    <a:pt x="1404747" y="967645"/>
                  </a:lnTo>
                  <a:lnTo>
                    <a:pt x="672180" y="358712"/>
                  </a:lnTo>
                  <a:lnTo>
                    <a:pt x="672180" y="247174"/>
                  </a:lnTo>
                  <a:lnTo>
                    <a:pt x="1181767" y="247174"/>
                  </a:lnTo>
                  <a:lnTo>
                    <a:pt x="1181767" y="455295"/>
                  </a:lnTo>
                  <a:lnTo>
                    <a:pt x="1461992" y="407099"/>
                  </a:lnTo>
                  <a:lnTo>
                    <a:pt x="1461992" y="313563"/>
                  </a:lnTo>
                  <a:cubicBezTo>
                    <a:pt x="1461992" y="60389"/>
                    <a:pt x="1356456" y="0"/>
                    <a:pt x="1076134" y="0"/>
                  </a:cubicBezTo>
                  <a:lnTo>
                    <a:pt x="762763" y="0"/>
                  </a:lnTo>
                  <a:cubicBezTo>
                    <a:pt x="497395" y="0"/>
                    <a:pt x="376905" y="60389"/>
                    <a:pt x="376905" y="283369"/>
                  </a:cubicBezTo>
                  <a:lnTo>
                    <a:pt x="376905" y="370713"/>
                  </a:lnTo>
                  <a:cubicBezTo>
                    <a:pt x="376905" y="461200"/>
                    <a:pt x="419100" y="530543"/>
                    <a:pt x="509588" y="605885"/>
                  </a:cubicBezTo>
                  <a:lnTo>
                    <a:pt x="192881" y="795909"/>
                  </a:lnTo>
                  <a:cubicBezTo>
                    <a:pt x="57341" y="877253"/>
                    <a:pt x="0" y="925449"/>
                    <a:pt x="0" y="1085279"/>
                  </a:cubicBezTo>
                  <a:lnTo>
                    <a:pt x="0" y="1187768"/>
                  </a:lnTo>
                  <a:cubicBezTo>
                    <a:pt x="0" y="1480185"/>
                    <a:pt x="96488" y="1555528"/>
                    <a:pt x="388811" y="1555528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 dirty="0"/>
            </a:p>
          </p:txBody>
        </p:sp>
        <p:sp>
          <p:nvSpPr>
            <p:cNvPr id="42" name="s">
              <a:extLst>
                <a:ext uri="{FF2B5EF4-FFF2-40B4-BE49-F238E27FC236}">
                  <a16:creationId xmlns:a16="http://schemas.microsoft.com/office/drawing/2014/main" id="{0AA249F9-DDB9-48C6-AD7D-F13C3B4AE9E3}"/>
                </a:ext>
              </a:extLst>
            </p:cNvPr>
            <p:cNvSpPr/>
            <p:nvPr/>
          </p:nvSpPr>
          <p:spPr bwMode="gray">
            <a:xfrm>
              <a:off x="95247" y="3686081"/>
              <a:ext cx="1739650" cy="1555528"/>
            </a:xfrm>
            <a:custGeom>
              <a:avLst/>
              <a:gdLst>
                <a:gd name="connsiteX0" fmla="*/ 1398842 w 1739645"/>
                <a:gd name="connsiteY0" fmla="*/ 271367 h 1555527"/>
                <a:gd name="connsiteX1" fmla="*/ 1398842 w 1739645"/>
                <a:gd name="connsiteY1" fmla="*/ 439865 h 1555527"/>
                <a:gd name="connsiteX2" fmla="*/ 1718405 w 1739645"/>
                <a:gd name="connsiteY2" fmla="*/ 364522 h 1555527"/>
                <a:gd name="connsiteX3" fmla="*/ 1718405 w 1739645"/>
                <a:gd name="connsiteY3" fmla="*/ 340709 h 1555527"/>
                <a:gd name="connsiteX4" fmla="*/ 1332548 w 1739645"/>
                <a:gd name="connsiteY4" fmla="*/ 0 h 1555527"/>
                <a:gd name="connsiteX5" fmla="*/ 449199 w 1739645"/>
                <a:gd name="connsiteY5" fmla="*/ 0 h 1555527"/>
                <a:gd name="connsiteX6" fmla="*/ 63341 w 1739645"/>
                <a:gd name="connsiteY6" fmla="*/ 367855 h 1555527"/>
                <a:gd name="connsiteX7" fmla="*/ 63341 w 1739645"/>
                <a:gd name="connsiteY7" fmla="*/ 539496 h 1555527"/>
                <a:gd name="connsiteX8" fmla="*/ 449199 w 1739645"/>
                <a:gd name="connsiteY8" fmla="*/ 907351 h 1555527"/>
                <a:gd name="connsiteX9" fmla="*/ 1419987 w 1739645"/>
                <a:gd name="connsiteY9" fmla="*/ 907351 h 1555527"/>
                <a:gd name="connsiteX10" fmla="*/ 1419987 w 1739645"/>
                <a:gd name="connsiteY10" fmla="*/ 1263110 h 1555527"/>
                <a:gd name="connsiteX11" fmla="*/ 319754 w 1739645"/>
                <a:gd name="connsiteY11" fmla="*/ 1263110 h 1555527"/>
                <a:gd name="connsiteX12" fmla="*/ 319754 w 1739645"/>
                <a:gd name="connsiteY12" fmla="*/ 1095661 h 1555527"/>
                <a:gd name="connsiteX13" fmla="*/ 0 w 1739645"/>
                <a:gd name="connsiteY13" fmla="*/ 1162050 h 1555527"/>
                <a:gd name="connsiteX14" fmla="*/ 0 w 1739645"/>
                <a:gd name="connsiteY14" fmla="*/ 1187768 h 1555527"/>
                <a:gd name="connsiteX15" fmla="*/ 388906 w 1739645"/>
                <a:gd name="connsiteY15" fmla="*/ 1555528 h 1555527"/>
                <a:gd name="connsiteX16" fmla="*/ 1350740 w 1739645"/>
                <a:gd name="connsiteY16" fmla="*/ 1555528 h 1555527"/>
                <a:gd name="connsiteX17" fmla="*/ 1739646 w 1739645"/>
                <a:gd name="connsiteY17" fmla="*/ 1187768 h 1555527"/>
                <a:gd name="connsiteX18" fmla="*/ 1739646 w 1739645"/>
                <a:gd name="connsiteY18" fmla="*/ 973741 h 1555527"/>
                <a:gd name="connsiteX19" fmla="*/ 1350740 w 1739645"/>
                <a:gd name="connsiteY19" fmla="*/ 605885 h 1555527"/>
                <a:gd name="connsiteX20" fmla="*/ 379857 w 1739645"/>
                <a:gd name="connsiteY20" fmla="*/ 605885 h 1555527"/>
                <a:gd name="connsiteX21" fmla="*/ 379857 w 1739645"/>
                <a:gd name="connsiteY21" fmla="*/ 271367 h 1555527"/>
                <a:gd name="connsiteX22" fmla="*/ 1398842 w 1739645"/>
                <a:gd name="connsiteY22" fmla="*/ 271367 h 1555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39645" h="1555527">
                  <a:moveTo>
                    <a:pt x="1398842" y="271367"/>
                  </a:moveTo>
                  <a:lnTo>
                    <a:pt x="1398842" y="439865"/>
                  </a:lnTo>
                  <a:lnTo>
                    <a:pt x="1718405" y="364522"/>
                  </a:lnTo>
                  <a:lnTo>
                    <a:pt x="1718405" y="340709"/>
                  </a:lnTo>
                  <a:cubicBezTo>
                    <a:pt x="1718405" y="72295"/>
                    <a:pt x="1609916" y="0"/>
                    <a:pt x="1332548" y="0"/>
                  </a:cubicBezTo>
                  <a:lnTo>
                    <a:pt x="449199" y="0"/>
                  </a:lnTo>
                  <a:cubicBezTo>
                    <a:pt x="156781" y="0"/>
                    <a:pt x="63341" y="75343"/>
                    <a:pt x="63341" y="367855"/>
                  </a:cubicBezTo>
                  <a:lnTo>
                    <a:pt x="63341" y="539496"/>
                  </a:lnTo>
                  <a:cubicBezTo>
                    <a:pt x="63341" y="832009"/>
                    <a:pt x="156877" y="907351"/>
                    <a:pt x="449199" y="907351"/>
                  </a:cubicBezTo>
                  <a:lnTo>
                    <a:pt x="1419987" y="907351"/>
                  </a:lnTo>
                  <a:lnTo>
                    <a:pt x="1419987" y="1263110"/>
                  </a:lnTo>
                  <a:lnTo>
                    <a:pt x="319754" y="1263110"/>
                  </a:lnTo>
                  <a:lnTo>
                    <a:pt x="319754" y="1095661"/>
                  </a:lnTo>
                  <a:lnTo>
                    <a:pt x="0" y="1162050"/>
                  </a:lnTo>
                  <a:lnTo>
                    <a:pt x="0" y="1187768"/>
                  </a:lnTo>
                  <a:cubicBezTo>
                    <a:pt x="0" y="1480185"/>
                    <a:pt x="96488" y="1555528"/>
                    <a:pt x="388906" y="1555528"/>
                  </a:cubicBezTo>
                  <a:lnTo>
                    <a:pt x="1350740" y="1555528"/>
                  </a:lnTo>
                  <a:cubicBezTo>
                    <a:pt x="1643158" y="1555528"/>
                    <a:pt x="1739646" y="1480185"/>
                    <a:pt x="1739646" y="1187768"/>
                  </a:cubicBezTo>
                  <a:lnTo>
                    <a:pt x="1739646" y="973741"/>
                  </a:lnTo>
                  <a:cubicBezTo>
                    <a:pt x="1739646" y="681228"/>
                    <a:pt x="1643158" y="605885"/>
                    <a:pt x="1350740" y="605885"/>
                  </a:cubicBezTo>
                  <a:lnTo>
                    <a:pt x="379857" y="605885"/>
                  </a:lnTo>
                  <a:lnTo>
                    <a:pt x="379857" y="271367"/>
                  </a:lnTo>
                  <a:lnTo>
                    <a:pt x="1398842" y="2713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 dirty="0"/>
            </a:p>
          </p:txBody>
        </p:sp>
        <p:sp>
          <p:nvSpPr>
            <p:cNvPr id="43" name="o">
              <a:extLst>
                <a:ext uri="{FF2B5EF4-FFF2-40B4-BE49-F238E27FC236}">
                  <a16:creationId xmlns:a16="http://schemas.microsoft.com/office/drawing/2014/main" id="{4F8DDB14-5D63-45FC-989E-0CAC9914761F}"/>
                </a:ext>
              </a:extLst>
            </p:cNvPr>
            <p:cNvSpPr/>
            <p:nvPr/>
          </p:nvSpPr>
          <p:spPr bwMode="gray">
            <a:xfrm>
              <a:off x="2206937" y="3966587"/>
              <a:ext cx="1682019" cy="1275212"/>
            </a:xfrm>
            <a:custGeom>
              <a:avLst/>
              <a:gdLst>
                <a:gd name="connsiteX0" fmla="*/ 326041 w 1682019"/>
                <a:gd name="connsiteY0" fmla="*/ 234982 h 1275207"/>
                <a:gd name="connsiteX1" fmla="*/ 1374648 w 1682019"/>
                <a:gd name="connsiteY1" fmla="*/ 234982 h 1275207"/>
                <a:gd name="connsiteX2" fmla="*/ 1374648 w 1682019"/>
                <a:gd name="connsiteY2" fmla="*/ 1030891 h 1275207"/>
                <a:gd name="connsiteX3" fmla="*/ 326041 w 1682019"/>
                <a:gd name="connsiteY3" fmla="*/ 1030891 h 1275207"/>
                <a:gd name="connsiteX4" fmla="*/ 326041 w 1682019"/>
                <a:gd name="connsiteY4" fmla="*/ 234982 h 1275207"/>
                <a:gd name="connsiteX5" fmla="*/ 0 w 1682019"/>
                <a:gd name="connsiteY5" fmla="*/ 301371 h 1275207"/>
                <a:gd name="connsiteX6" fmla="*/ 0 w 1682019"/>
                <a:gd name="connsiteY6" fmla="*/ 973646 h 1275207"/>
                <a:gd name="connsiteX7" fmla="*/ 338233 w 1682019"/>
                <a:gd name="connsiteY7" fmla="*/ 1275207 h 1275207"/>
                <a:gd name="connsiteX8" fmla="*/ 1343787 w 1682019"/>
                <a:gd name="connsiteY8" fmla="*/ 1275207 h 1275207"/>
                <a:gd name="connsiteX9" fmla="*/ 1682020 w 1682019"/>
                <a:gd name="connsiteY9" fmla="*/ 973646 h 1275207"/>
                <a:gd name="connsiteX10" fmla="*/ 1682020 w 1682019"/>
                <a:gd name="connsiteY10" fmla="*/ 301371 h 1275207"/>
                <a:gd name="connsiteX11" fmla="*/ 1343787 w 1682019"/>
                <a:gd name="connsiteY11" fmla="*/ 0 h 1275207"/>
                <a:gd name="connsiteX12" fmla="*/ 338233 w 1682019"/>
                <a:gd name="connsiteY12" fmla="*/ 0 h 1275207"/>
                <a:gd name="connsiteX13" fmla="*/ 0 w 1682019"/>
                <a:gd name="connsiteY13" fmla="*/ 301371 h 127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82019" h="1275207">
                  <a:moveTo>
                    <a:pt x="326041" y="234982"/>
                  </a:moveTo>
                  <a:lnTo>
                    <a:pt x="1374648" y="234982"/>
                  </a:lnTo>
                  <a:lnTo>
                    <a:pt x="1374648" y="1030891"/>
                  </a:lnTo>
                  <a:lnTo>
                    <a:pt x="326041" y="1030891"/>
                  </a:lnTo>
                  <a:lnTo>
                    <a:pt x="326041" y="234982"/>
                  </a:lnTo>
                  <a:close/>
                  <a:moveTo>
                    <a:pt x="0" y="301371"/>
                  </a:moveTo>
                  <a:lnTo>
                    <a:pt x="0" y="973646"/>
                  </a:lnTo>
                  <a:cubicBezTo>
                    <a:pt x="0" y="1214819"/>
                    <a:pt x="79915" y="1275207"/>
                    <a:pt x="338233" y="1275207"/>
                  </a:cubicBezTo>
                  <a:lnTo>
                    <a:pt x="1343787" y="1275207"/>
                  </a:lnTo>
                  <a:cubicBezTo>
                    <a:pt x="1598962" y="1275207"/>
                    <a:pt x="1682020" y="1214819"/>
                    <a:pt x="1682020" y="973646"/>
                  </a:cubicBezTo>
                  <a:lnTo>
                    <a:pt x="1682020" y="301371"/>
                  </a:lnTo>
                  <a:cubicBezTo>
                    <a:pt x="1682020" y="57150"/>
                    <a:pt x="1598867" y="0"/>
                    <a:pt x="1343787" y="0"/>
                  </a:cubicBezTo>
                  <a:lnTo>
                    <a:pt x="338233" y="0"/>
                  </a:lnTo>
                  <a:cubicBezTo>
                    <a:pt x="83153" y="0"/>
                    <a:pt x="0" y="57150"/>
                    <a:pt x="0" y="30137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 dirty="0"/>
            </a:p>
          </p:txBody>
        </p:sp>
        <p:sp>
          <p:nvSpPr>
            <p:cNvPr id="44" name="m">
              <a:extLst>
                <a:ext uri="{FF2B5EF4-FFF2-40B4-BE49-F238E27FC236}">
                  <a16:creationId xmlns:a16="http://schemas.microsoft.com/office/drawing/2014/main" id="{8ED63FA9-3FC0-4FA8-AA4D-0CDCD4B98913}"/>
                </a:ext>
              </a:extLst>
            </p:cNvPr>
            <p:cNvSpPr/>
            <p:nvPr/>
          </p:nvSpPr>
          <p:spPr bwMode="gray">
            <a:xfrm>
              <a:off x="4290154" y="3966498"/>
              <a:ext cx="1815752" cy="1275212"/>
            </a:xfrm>
            <a:custGeom>
              <a:avLst/>
              <a:gdLst>
                <a:gd name="connsiteX0" fmla="*/ 1560576 w 1815750"/>
                <a:gd name="connsiteY0" fmla="*/ 0 h 1275207"/>
                <a:gd name="connsiteX1" fmla="*/ 927163 w 1815750"/>
                <a:gd name="connsiteY1" fmla="*/ 756571 h 1275207"/>
                <a:gd name="connsiteX2" fmla="*/ 290703 w 1815750"/>
                <a:gd name="connsiteY2" fmla="*/ 0 h 1275207"/>
                <a:gd name="connsiteX3" fmla="*/ 0 w 1815750"/>
                <a:gd name="connsiteY3" fmla="*/ 0 h 1275207"/>
                <a:gd name="connsiteX4" fmla="*/ 0 w 1815750"/>
                <a:gd name="connsiteY4" fmla="*/ 1275207 h 1275207"/>
                <a:gd name="connsiteX5" fmla="*/ 290703 w 1815750"/>
                <a:gd name="connsiteY5" fmla="*/ 1275207 h 1275207"/>
                <a:gd name="connsiteX6" fmla="*/ 290703 w 1815750"/>
                <a:gd name="connsiteY6" fmla="*/ 419100 h 1275207"/>
                <a:gd name="connsiteX7" fmla="*/ 877919 w 1815750"/>
                <a:gd name="connsiteY7" fmla="*/ 1121474 h 1275207"/>
                <a:gd name="connsiteX8" fmla="*/ 939356 w 1815750"/>
                <a:gd name="connsiteY8" fmla="*/ 1121474 h 1275207"/>
                <a:gd name="connsiteX9" fmla="*/ 1520571 w 1815750"/>
                <a:gd name="connsiteY9" fmla="*/ 397859 h 1275207"/>
                <a:gd name="connsiteX10" fmla="*/ 1520571 w 1815750"/>
                <a:gd name="connsiteY10" fmla="*/ 1275207 h 1275207"/>
                <a:gd name="connsiteX11" fmla="*/ 1815751 w 1815750"/>
                <a:gd name="connsiteY11" fmla="*/ 1275207 h 1275207"/>
                <a:gd name="connsiteX12" fmla="*/ 1815751 w 1815750"/>
                <a:gd name="connsiteY12" fmla="*/ 0 h 127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15750" h="1275207">
                  <a:moveTo>
                    <a:pt x="1560576" y="0"/>
                  </a:moveTo>
                  <a:lnTo>
                    <a:pt x="927163" y="756571"/>
                  </a:lnTo>
                  <a:lnTo>
                    <a:pt x="290703" y="0"/>
                  </a:lnTo>
                  <a:lnTo>
                    <a:pt x="0" y="0"/>
                  </a:lnTo>
                  <a:lnTo>
                    <a:pt x="0" y="1275207"/>
                  </a:lnTo>
                  <a:lnTo>
                    <a:pt x="290703" y="1275207"/>
                  </a:lnTo>
                  <a:lnTo>
                    <a:pt x="290703" y="419100"/>
                  </a:lnTo>
                  <a:lnTo>
                    <a:pt x="877919" y="1121474"/>
                  </a:lnTo>
                  <a:lnTo>
                    <a:pt x="939356" y="1121474"/>
                  </a:lnTo>
                  <a:lnTo>
                    <a:pt x="1520571" y="397859"/>
                  </a:lnTo>
                  <a:lnTo>
                    <a:pt x="1520571" y="1275207"/>
                  </a:lnTo>
                  <a:lnTo>
                    <a:pt x="1815751" y="1275207"/>
                  </a:lnTo>
                  <a:lnTo>
                    <a:pt x="181575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 dirty="0"/>
            </a:p>
          </p:txBody>
        </p:sp>
        <p:sp>
          <p:nvSpPr>
            <p:cNvPr id="45" name="m">
              <a:extLst>
                <a:ext uri="{FF2B5EF4-FFF2-40B4-BE49-F238E27FC236}">
                  <a16:creationId xmlns:a16="http://schemas.microsoft.com/office/drawing/2014/main" id="{E171DB5F-A1B2-45FC-97CF-E4CD4180AE61}"/>
                </a:ext>
              </a:extLst>
            </p:cNvPr>
            <p:cNvSpPr/>
            <p:nvPr/>
          </p:nvSpPr>
          <p:spPr bwMode="gray">
            <a:xfrm>
              <a:off x="6535096" y="3966498"/>
              <a:ext cx="1815752" cy="1275212"/>
            </a:xfrm>
            <a:custGeom>
              <a:avLst/>
              <a:gdLst>
                <a:gd name="connsiteX0" fmla="*/ 1560672 w 1815750"/>
                <a:gd name="connsiteY0" fmla="*/ 0 h 1275207"/>
                <a:gd name="connsiteX1" fmla="*/ 927164 w 1815750"/>
                <a:gd name="connsiteY1" fmla="*/ 756571 h 1275207"/>
                <a:gd name="connsiteX2" fmla="*/ 290799 w 1815750"/>
                <a:gd name="connsiteY2" fmla="*/ 0 h 1275207"/>
                <a:gd name="connsiteX3" fmla="*/ 0 w 1815750"/>
                <a:gd name="connsiteY3" fmla="*/ 0 h 1275207"/>
                <a:gd name="connsiteX4" fmla="*/ 0 w 1815750"/>
                <a:gd name="connsiteY4" fmla="*/ 1275207 h 1275207"/>
                <a:gd name="connsiteX5" fmla="*/ 290799 w 1815750"/>
                <a:gd name="connsiteY5" fmla="*/ 1275207 h 1275207"/>
                <a:gd name="connsiteX6" fmla="*/ 290799 w 1815750"/>
                <a:gd name="connsiteY6" fmla="*/ 419100 h 1275207"/>
                <a:gd name="connsiteX7" fmla="*/ 878015 w 1815750"/>
                <a:gd name="connsiteY7" fmla="*/ 1121474 h 1275207"/>
                <a:gd name="connsiteX8" fmla="*/ 939546 w 1815750"/>
                <a:gd name="connsiteY8" fmla="*/ 1121474 h 1275207"/>
                <a:gd name="connsiteX9" fmla="*/ 1520571 w 1815750"/>
                <a:gd name="connsiteY9" fmla="*/ 397859 h 1275207"/>
                <a:gd name="connsiteX10" fmla="*/ 1520571 w 1815750"/>
                <a:gd name="connsiteY10" fmla="*/ 1275207 h 1275207"/>
                <a:gd name="connsiteX11" fmla="*/ 1815751 w 1815750"/>
                <a:gd name="connsiteY11" fmla="*/ 1275207 h 1275207"/>
                <a:gd name="connsiteX12" fmla="*/ 1815751 w 1815750"/>
                <a:gd name="connsiteY12" fmla="*/ 0 h 127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15750" h="1275207">
                  <a:moveTo>
                    <a:pt x="1560672" y="0"/>
                  </a:moveTo>
                  <a:lnTo>
                    <a:pt x="927164" y="756571"/>
                  </a:lnTo>
                  <a:lnTo>
                    <a:pt x="290799" y="0"/>
                  </a:lnTo>
                  <a:lnTo>
                    <a:pt x="0" y="0"/>
                  </a:lnTo>
                  <a:lnTo>
                    <a:pt x="0" y="1275207"/>
                  </a:lnTo>
                  <a:lnTo>
                    <a:pt x="290799" y="1275207"/>
                  </a:lnTo>
                  <a:lnTo>
                    <a:pt x="290799" y="419100"/>
                  </a:lnTo>
                  <a:lnTo>
                    <a:pt x="878015" y="1121474"/>
                  </a:lnTo>
                  <a:lnTo>
                    <a:pt x="939546" y="1121474"/>
                  </a:lnTo>
                  <a:lnTo>
                    <a:pt x="1520571" y="397859"/>
                  </a:lnTo>
                  <a:lnTo>
                    <a:pt x="1520571" y="1275207"/>
                  </a:lnTo>
                  <a:lnTo>
                    <a:pt x="1815751" y="1275207"/>
                  </a:lnTo>
                  <a:lnTo>
                    <a:pt x="181575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 dirty="0"/>
            </a:p>
          </p:txBody>
        </p:sp>
        <p:sp>
          <p:nvSpPr>
            <p:cNvPr id="46" name="e">
              <a:extLst>
                <a:ext uri="{FF2B5EF4-FFF2-40B4-BE49-F238E27FC236}">
                  <a16:creationId xmlns:a16="http://schemas.microsoft.com/office/drawing/2014/main" id="{98A429B4-53FB-45C6-A819-28371A1537FB}"/>
                </a:ext>
              </a:extLst>
            </p:cNvPr>
            <p:cNvSpPr/>
            <p:nvPr/>
          </p:nvSpPr>
          <p:spPr bwMode="gray">
            <a:xfrm>
              <a:off x="8765757" y="3966498"/>
              <a:ext cx="1411313" cy="1275212"/>
            </a:xfrm>
            <a:custGeom>
              <a:avLst/>
              <a:gdLst>
                <a:gd name="connsiteX0" fmla="*/ 0 w 1411319"/>
                <a:gd name="connsiteY0" fmla="*/ 0 h 1275207"/>
                <a:gd name="connsiteX1" fmla="*/ 0 w 1411319"/>
                <a:gd name="connsiteY1" fmla="*/ 1275207 h 1275207"/>
                <a:gd name="connsiteX2" fmla="*/ 1411319 w 1411319"/>
                <a:gd name="connsiteY2" fmla="*/ 1275207 h 1275207"/>
                <a:gd name="connsiteX3" fmla="*/ 1411319 w 1411319"/>
                <a:gd name="connsiteY3" fmla="*/ 1036987 h 1275207"/>
                <a:gd name="connsiteX4" fmla="*/ 319850 w 1411319"/>
                <a:gd name="connsiteY4" fmla="*/ 1036987 h 1275207"/>
                <a:gd name="connsiteX5" fmla="*/ 319850 w 1411319"/>
                <a:gd name="connsiteY5" fmla="*/ 723424 h 1275207"/>
                <a:gd name="connsiteX6" fmla="*/ 947166 w 1411319"/>
                <a:gd name="connsiteY6" fmla="*/ 723424 h 1275207"/>
                <a:gd name="connsiteX7" fmla="*/ 947166 w 1411319"/>
                <a:gd name="connsiteY7" fmla="*/ 503396 h 1275207"/>
                <a:gd name="connsiteX8" fmla="*/ 319850 w 1411319"/>
                <a:gd name="connsiteY8" fmla="*/ 503396 h 1275207"/>
                <a:gd name="connsiteX9" fmla="*/ 319850 w 1411319"/>
                <a:gd name="connsiteY9" fmla="*/ 226219 h 1275207"/>
                <a:gd name="connsiteX10" fmla="*/ 1395984 w 1411319"/>
                <a:gd name="connsiteY10" fmla="*/ 226219 h 1275207"/>
                <a:gd name="connsiteX11" fmla="*/ 1395984 w 1411319"/>
                <a:gd name="connsiteY11" fmla="*/ 0 h 127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1319" h="1275207">
                  <a:moveTo>
                    <a:pt x="0" y="0"/>
                  </a:moveTo>
                  <a:lnTo>
                    <a:pt x="0" y="1275207"/>
                  </a:lnTo>
                  <a:lnTo>
                    <a:pt x="1411319" y="1275207"/>
                  </a:lnTo>
                  <a:lnTo>
                    <a:pt x="1411319" y="1036987"/>
                  </a:lnTo>
                  <a:lnTo>
                    <a:pt x="319850" y="1036987"/>
                  </a:lnTo>
                  <a:lnTo>
                    <a:pt x="319850" y="723424"/>
                  </a:lnTo>
                  <a:lnTo>
                    <a:pt x="947166" y="723424"/>
                  </a:lnTo>
                  <a:lnTo>
                    <a:pt x="947166" y="503396"/>
                  </a:lnTo>
                  <a:lnTo>
                    <a:pt x="319850" y="503396"/>
                  </a:lnTo>
                  <a:lnTo>
                    <a:pt x="319850" y="226219"/>
                  </a:lnTo>
                  <a:lnTo>
                    <a:pt x="1395984" y="226219"/>
                  </a:lnTo>
                  <a:lnTo>
                    <a:pt x="1395984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 dirty="0"/>
            </a:p>
          </p:txBody>
        </p:sp>
        <p:sp>
          <p:nvSpPr>
            <p:cNvPr id="47" name="r">
              <a:extLst>
                <a:ext uri="{FF2B5EF4-FFF2-40B4-BE49-F238E27FC236}">
                  <a16:creationId xmlns:a16="http://schemas.microsoft.com/office/drawing/2014/main" id="{ED9A35F4-380A-43BC-8F2D-EF29F637FAEA}"/>
                </a:ext>
              </a:extLst>
            </p:cNvPr>
            <p:cNvSpPr/>
            <p:nvPr/>
          </p:nvSpPr>
          <p:spPr bwMode="gray">
            <a:xfrm>
              <a:off x="10504356" y="3966498"/>
              <a:ext cx="1579811" cy="1275212"/>
            </a:xfrm>
            <a:custGeom>
              <a:avLst/>
              <a:gdLst>
                <a:gd name="connsiteX0" fmla="*/ 1015937 w 1579817"/>
                <a:gd name="connsiteY0" fmla="*/ 220028 h 1275207"/>
                <a:gd name="connsiteX1" fmla="*/ 1157669 w 1579817"/>
                <a:gd name="connsiteY1" fmla="*/ 322517 h 1275207"/>
                <a:gd name="connsiteX2" fmla="*/ 1157669 w 1579817"/>
                <a:gd name="connsiteY2" fmla="*/ 470249 h 1275207"/>
                <a:gd name="connsiteX3" fmla="*/ 1015937 w 1579817"/>
                <a:gd name="connsiteY3" fmla="*/ 572738 h 1275207"/>
                <a:gd name="connsiteX4" fmla="*/ 307467 w 1579817"/>
                <a:gd name="connsiteY4" fmla="*/ 572738 h 1275207"/>
                <a:gd name="connsiteX5" fmla="*/ 307467 w 1579817"/>
                <a:gd name="connsiteY5" fmla="*/ 220028 h 1275207"/>
                <a:gd name="connsiteX6" fmla="*/ 1015937 w 1579817"/>
                <a:gd name="connsiteY6" fmla="*/ 220028 h 1275207"/>
                <a:gd name="connsiteX7" fmla="*/ 0 w 1579817"/>
                <a:gd name="connsiteY7" fmla="*/ 1275207 h 1275207"/>
                <a:gd name="connsiteX8" fmla="*/ 307563 w 1579817"/>
                <a:gd name="connsiteY8" fmla="*/ 1275207 h 1275207"/>
                <a:gd name="connsiteX9" fmla="*/ 307563 w 1579817"/>
                <a:gd name="connsiteY9" fmla="*/ 792766 h 1275207"/>
                <a:gd name="connsiteX10" fmla="*/ 599981 w 1579817"/>
                <a:gd name="connsiteY10" fmla="*/ 792766 h 1275207"/>
                <a:gd name="connsiteX11" fmla="*/ 1133570 w 1579817"/>
                <a:gd name="connsiteY11" fmla="*/ 1275207 h 1275207"/>
                <a:gd name="connsiteX12" fmla="*/ 1579818 w 1579817"/>
                <a:gd name="connsiteY12" fmla="*/ 1275207 h 1275207"/>
                <a:gd name="connsiteX13" fmla="*/ 973931 w 1579817"/>
                <a:gd name="connsiteY13" fmla="*/ 792766 h 1275207"/>
                <a:gd name="connsiteX14" fmla="*/ 1148811 w 1579817"/>
                <a:gd name="connsiteY14" fmla="*/ 792766 h 1275207"/>
                <a:gd name="connsiteX15" fmla="*/ 1447229 w 1579817"/>
                <a:gd name="connsiteY15" fmla="*/ 548545 h 1275207"/>
                <a:gd name="connsiteX16" fmla="*/ 1447229 w 1579817"/>
                <a:gd name="connsiteY16" fmla="*/ 247174 h 1275207"/>
                <a:gd name="connsiteX17" fmla="*/ 1148811 w 1579817"/>
                <a:gd name="connsiteY17" fmla="*/ 0 h 1275207"/>
                <a:gd name="connsiteX18" fmla="*/ 191 w 1579817"/>
                <a:gd name="connsiteY18" fmla="*/ 0 h 1275207"/>
                <a:gd name="connsiteX19" fmla="*/ 191 w 1579817"/>
                <a:gd name="connsiteY19" fmla="*/ 1275207 h 127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79817" h="1275207">
                  <a:moveTo>
                    <a:pt x="1015937" y="220028"/>
                  </a:moveTo>
                  <a:cubicBezTo>
                    <a:pt x="1109282" y="220028"/>
                    <a:pt x="1157669" y="238220"/>
                    <a:pt x="1157669" y="322517"/>
                  </a:cubicBezTo>
                  <a:lnTo>
                    <a:pt x="1157669" y="470249"/>
                  </a:lnTo>
                  <a:cubicBezTo>
                    <a:pt x="1157669" y="554736"/>
                    <a:pt x="1109282" y="572738"/>
                    <a:pt x="1015937" y="572738"/>
                  </a:cubicBezTo>
                  <a:lnTo>
                    <a:pt x="307467" y="572738"/>
                  </a:lnTo>
                  <a:lnTo>
                    <a:pt x="307467" y="220028"/>
                  </a:lnTo>
                  <a:lnTo>
                    <a:pt x="1015937" y="220028"/>
                  </a:lnTo>
                  <a:close/>
                  <a:moveTo>
                    <a:pt x="0" y="1275207"/>
                  </a:moveTo>
                  <a:lnTo>
                    <a:pt x="307563" y="1275207"/>
                  </a:lnTo>
                  <a:lnTo>
                    <a:pt x="307563" y="792766"/>
                  </a:lnTo>
                  <a:lnTo>
                    <a:pt x="599981" y="792766"/>
                  </a:lnTo>
                  <a:lnTo>
                    <a:pt x="1133570" y="1275207"/>
                  </a:lnTo>
                  <a:lnTo>
                    <a:pt x="1579818" y="1275207"/>
                  </a:lnTo>
                  <a:lnTo>
                    <a:pt x="973931" y="792766"/>
                  </a:lnTo>
                  <a:lnTo>
                    <a:pt x="1148811" y="792766"/>
                  </a:lnTo>
                  <a:cubicBezTo>
                    <a:pt x="1353693" y="792766"/>
                    <a:pt x="1447229" y="723424"/>
                    <a:pt x="1447229" y="548545"/>
                  </a:cubicBezTo>
                  <a:lnTo>
                    <a:pt x="1447229" y="247174"/>
                  </a:lnTo>
                  <a:cubicBezTo>
                    <a:pt x="1447229" y="69342"/>
                    <a:pt x="1353693" y="0"/>
                    <a:pt x="1148811" y="0"/>
                  </a:cubicBezTo>
                  <a:lnTo>
                    <a:pt x="191" y="0"/>
                  </a:lnTo>
                  <a:lnTo>
                    <a:pt x="191" y="127520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sz="100" dirty="0"/>
            </a:p>
          </p:txBody>
        </p:sp>
      </p:grpSp>
      <p:sp>
        <p:nvSpPr>
          <p:cNvPr id="6" name="slide number">
            <a:extLst>
              <a:ext uri="{FF2B5EF4-FFF2-40B4-BE49-F238E27FC236}">
                <a16:creationId xmlns:a16="http://schemas.microsoft.com/office/drawing/2014/main" id="{2B2AFC16-8A38-4F50-AE5D-7C6D2D9FCA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25600" y="6386400"/>
            <a:ext cx="234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fld id="{9829449A-3FF3-45CE-9F4F-09BADC0910C6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CF610EC4-3BFD-407B-AC7C-71080D8422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763200" y="6386400"/>
            <a:ext cx="78804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4" name="empower - DO NOT DELETE!!!" hidden="1">
            <a:extLst>
              <a:ext uri="{FF2B5EF4-FFF2-40B4-BE49-F238E27FC236}">
                <a16:creationId xmlns:a16="http://schemas.microsoft.com/office/drawing/2014/main" id="{D87469AE-7372-420D-9093-E3348AA0DA77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lvl="0" algn="ctr">
              <a:spcBef>
                <a:spcPts val="400"/>
              </a:spcBef>
              <a:spcAft>
                <a:spcPts val="4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9446581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  <p:sldLayoutId id="2147483899" r:id="rId7"/>
    <p:sldLayoutId id="2147483900" r:id="rId8"/>
    <p:sldLayoutId id="2147483901" r:id="rId9"/>
    <p:sldLayoutId id="2147483902" r:id="rId10"/>
    <p:sldLayoutId id="2147483903" r:id="rId11"/>
    <p:sldLayoutId id="2147483904" r:id="rId12"/>
    <p:sldLayoutId id="2147483905" r:id="rId13"/>
    <p:sldLayoutId id="2147483906" r:id="rId14"/>
    <p:sldLayoutId id="2147483907" r:id="rId15"/>
    <p:sldLayoutId id="2147483908" r:id="rId16"/>
    <p:sldLayoutId id="2147483909" r:id="rId17"/>
    <p:sldLayoutId id="2147483910" r:id="rId18"/>
    <p:sldLayoutId id="2147483911" r:id="rId19"/>
    <p:sldLayoutId id="2147483912" r:id="rId20"/>
    <p:sldLayoutId id="2147483913" r:id="rId21"/>
    <p:sldLayoutId id="2147483914" r:id="rId22"/>
    <p:sldLayoutId id="2147483915" r:id="rId23"/>
    <p:sldLayoutId id="2147483916" r:id="rId24"/>
    <p:sldLayoutId id="2147483917" r:id="rId25"/>
    <p:sldLayoutId id="2147483918" r:id="rId26"/>
    <p:sldLayoutId id="2147483919" r:id="rId27"/>
    <p:sldLayoutId id="2147483920" r:id="rId28"/>
    <p:sldLayoutId id="2147483921" r:id="rId29"/>
    <p:sldLayoutId id="2147483922" r:id="rId30"/>
    <p:sldLayoutId id="2147483923" r:id="rId31"/>
    <p:sldLayoutId id="2147483924" r:id="rId3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 xmlns:p15="http://schemas.microsoft.com/office/powerpoint/2012/main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4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tx1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12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FontTx/>
        <a:buNone/>
        <a:defRPr sz="1600" b="1" kern="1200" cap="all" baseline="0">
          <a:solidFill>
            <a:schemeClr val="accent3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FontTx/>
        <a:buNone/>
        <a:defRPr sz="1600" b="1" kern="1200" cap="all" baseline="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FontTx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0">
          <p15:clr>
            <a:srgbClr val="F26B43"/>
          </p15:clr>
        </p15:guide>
        <p15:guide id="2" pos="7349">
          <p15:clr>
            <a:srgbClr val="F26B43"/>
          </p15:clr>
        </p15:guide>
        <p15:guide id="3" orient="horz" pos="423">
          <p15:clr>
            <a:srgbClr val="F26B43"/>
          </p15:clr>
        </p15:guide>
        <p15:guide id="5" orient="horz" pos="1008">
          <p15:clr>
            <a:srgbClr val="F26B43"/>
          </p15:clr>
        </p15:guide>
        <p15:guide id="6" orient="horz" pos="384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18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1.xml.rels><?xml version="1.0" encoding="UTF-8" standalone="yes"?>
<Relationships xmlns="http://schemas.openxmlformats.org/package/2006/relationships"><Relationship Id="rId117" Type="http://schemas.openxmlformats.org/officeDocument/2006/relationships/tags" Target="../tags/tag335.xml"/><Relationship Id="rId21" Type="http://schemas.openxmlformats.org/officeDocument/2006/relationships/tags" Target="../tags/tag239.xml"/><Relationship Id="rId42" Type="http://schemas.openxmlformats.org/officeDocument/2006/relationships/tags" Target="../tags/tag260.xml"/><Relationship Id="rId63" Type="http://schemas.openxmlformats.org/officeDocument/2006/relationships/tags" Target="../tags/tag281.xml"/><Relationship Id="rId84" Type="http://schemas.openxmlformats.org/officeDocument/2006/relationships/tags" Target="../tags/tag302.xml"/><Relationship Id="rId138" Type="http://schemas.openxmlformats.org/officeDocument/2006/relationships/tags" Target="../tags/tag356.xml"/><Relationship Id="rId159" Type="http://schemas.openxmlformats.org/officeDocument/2006/relationships/tags" Target="../tags/tag377.xml"/><Relationship Id="rId170" Type="http://schemas.openxmlformats.org/officeDocument/2006/relationships/slideLayout" Target="../slideLayouts/slideLayout6.xml"/><Relationship Id="rId107" Type="http://schemas.openxmlformats.org/officeDocument/2006/relationships/tags" Target="../tags/tag325.xml"/><Relationship Id="rId11" Type="http://schemas.openxmlformats.org/officeDocument/2006/relationships/tags" Target="../tags/tag229.xml"/><Relationship Id="rId32" Type="http://schemas.openxmlformats.org/officeDocument/2006/relationships/tags" Target="../tags/tag250.xml"/><Relationship Id="rId53" Type="http://schemas.openxmlformats.org/officeDocument/2006/relationships/tags" Target="../tags/tag271.xml"/><Relationship Id="rId74" Type="http://schemas.openxmlformats.org/officeDocument/2006/relationships/tags" Target="../tags/tag292.xml"/><Relationship Id="rId128" Type="http://schemas.openxmlformats.org/officeDocument/2006/relationships/tags" Target="../tags/tag346.xml"/><Relationship Id="rId149" Type="http://schemas.openxmlformats.org/officeDocument/2006/relationships/tags" Target="../tags/tag367.xml"/><Relationship Id="rId5" Type="http://schemas.openxmlformats.org/officeDocument/2006/relationships/tags" Target="../tags/tag223.xml"/><Relationship Id="rId95" Type="http://schemas.openxmlformats.org/officeDocument/2006/relationships/tags" Target="../tags/tag313.xml"/><Relationship Id="rId160" Type="http://schemas.openxmlformats.org/officeDocument/2006/relationships/tags" Target="../tags/tag378.xml"/><Relationship Id="rId22" Type="http://schemas.openxmlformats.org/officeDocument/2006/relationships/tags" Target="../tags/tag240.xml"/><Relationship Id="rId43" Type="http://schemas.openxmlformats.org/officeDocument/2006/relationships/tags" Target="../tags/tag261.xml"/><Relationship Id="rId64" Type="http://schemas.openxmlformats.org/officeDocument/2006/relationships/tags" Target="../tags/tag282.xml"/><Relationship Id="rId118" Type="http://schemas.openxmlformats.org/officeDocument/2006/relationships/tags" Target="../tags/tag336.xml"/><Relationship Id="rId139" Type="http://schemas.openxmlformats.org/officeDocument/2006/relationships/tags" Target="../tags/tag357.xml"/><Relationship Id="rId85" Type="http://schemas.openxmlformats.org/officeDocument/2006/relationships/tags" Target="../tags/tag303.xml"/><Relationship Id="rId150" Type="http://schemas.openxmlformats.org/officeDocument/2006/relationships/tags" Target="../tags/tag368.xml"/><Relationship Id="rId171" Type="http://schemas.openxmlformats.org/officeDocument/2006/relationships/notesSlide" Target="../notesSlides/notesSlide11.xml"/><Relationship Id="rId12" Type="http://schemas.openxmlformats.org/officeDocument/2006/relationships/tags" Target="../tags/tag230.xml"/><Relationship Id="rId33" Type="http://schemas.openxmlformats.org/officeDocument/2006/relationships/tags" Target="../tags/tag251.xml"/><Relationship Id="rId108" Type="http://schemas.openxmlformats.org/officeDocument/2006/relationships/tags" Target="../tags/tag326.xml"/><Relationship Id="rId129" Type="http://schemas.openxmlformats.org/officeDocument/2006/relationships/tags" Target="../tags/tag347.xml"/><Relationship Id="rId54" Type="http://schemas.openxmlformats.org/officeDocument/2006/relationships/tags" Target="../tags/tag272.xml"/><Relationship Id="rId75" Type="http://schemas.openxmlformats.org/officeDocument/2006/relationships/tags" Target="../tags/tag293.xml"/><Relationship Id="rId96" Type="http://schemas.openxmlformats.org/officeDocument/2006/relationships/tags" Target="../tags/tag314.xml"/><Relationship Id="rId140" Type="http://schemas.openxmlformats.org/officeDocument/2006/relationships/tags" Target="../tags/tag358.xml"/><Relationship Id="rId161" Type="http://schemas.openxmlformats.org/officeDocument/2006/relationships/tags" Target="../tags/tag379.xml"/><Relationship Id="rId1" Type="http://schemas.openxmlformats.org/officeDocument/2006/relationships/tags" Target="../tags/tag219.xml"/><Relationship Id="rId6" Type="http://schemas.openxmlformats.org/officeDocument/2006/relationships/tags" Target="../tags/tag224.xml"/><Relationship Id="rId23" Type="http://schemas.openxmlformats.org/officeDocument/2006/relationships/tags" Target="../tags/tag241.xml"/><Relationship Id="rId28" Type="http://schemas.openxmlformats.org/officeDocument/2006/relationships/tags" Target="../tags/tag246.xml"/><Relationship Id="rId49" Type="http://schemas.openxmlformats.org/officeDocument/2006/relationships/tags" Target="../tags/tag267.xml"/><Relationship Id="rId114" Type="http://schemas.openxmlformats.org/officeDocument/2006/relationships/tags" Target="../tags/tag332.xml"/><Relationship Id="rId119" Type="http://schemas.openxmlformats.org/officeDocument/2006/relationships/tags" Target="../tags/tag337.xml"/><Relationship Id="rId44" Type="http://schemas.openxmlformats.org/officeDocument/2006/relationships/tags" Target="../tags/tag262.xml"/><Relationship Id="rId60" Type="http://schemas.openxmlformats.org/officeDocument/2006/relationships/tags" Target="../tags/tag278.xml"/><Relationship Id="rId65" Type="http://schemas.openxmlformats.org/officeDocument/2006/relationships/tags" Target="../tags/tag283.xml"/><Relationship Id="rId81" Type="http://schemas.openxmlformats.org/officeDocument/2006/relationships/tags" Target="../tags/tag299.xml"/><Relationship Id="rId86" Type="http://schemas.openxmlformats.org/officeDocument/2006/relationships/tags" Target="../tags/tag304.xml"/><Relationship Id="rId130" Type="http://schemas.openxmlformats.org/officeDocument/2006/relationships/tags" Target="../tags/tag348.xml"/><Relationship Id="rId135" Type="http://schemas.openxmlformats.org/officeDocument/2006/relationships/tags" Target="../tags/tag353.xml"/><Relationship Id="rId151" Type="http://schemas.openxmlformats.org/officeDocument/2006/relationships/tags" Target="../tags/tag369.xml"/><Relationship Id="rId156" Type="http://schemas.openxmlformats.org/officeDocument/2006/relationships/tags" Target="../tags/tag374.xml"/><Relationship Id="rId172" Type="http://schemas.openxmlformats.org/officeDocument/2006/relationships/oleObject" Target="../embeddings/oleObject8.bin"/><Relationship Id="rId13" Type="http://schemas.openxmlformats.org/officeDocument/2006/relationships/tags" Target="../tags/tag231.xml"/><Relationship Id="rId18" Type="http://schemas.openxmlformats.org/officeDocument/2006/relationships/tags" Target="../tags/tag236.xml"/><Relationship Id="rId39" Type="http://schemas.openxmlformats.org/officeDocument/2006/relationships/tags" Target="../tags/tag257.xml"/><Relationship Id="rId109" Type="http://schemas.openxmlformats.org/officeDocument/2006/relationships/tags" Target="../tags/tag327.xml"/><Relationship Id="rId34" Type="http://schemas.openxmlformats.org/officeDocument/2006/relationships/tags" Target="../tags/tag252.xml"/><Relationship Id="rId50" Type="http://schemas.openxmlformats.org/officeDocument/2006/relationships/tags" Target="../tags/tag268.xml"/><Relationship Id="rId55" Type="http://schemas.openxmlformats.org/officeDocument/2006/relationships/tags" Target="../tags/tag273.xml"/><Relationship Id="rId76" Type="http://schemas.openxmlformats.org/officeDocument/2006/relationships/tags" Target="../tags/tag294.xml"/><Relationship Id="rId97" Type="http://schemas.openxmlformats.org/officeDocument/2006/relationships/tags" Target="../tags/tag315.xml"/><Relationship Id="rId104" Type="http://schemas.openxmlformats.org/officeDocument/2006/relationships/tags" Target="../tags/tag322.xml"/><Relationship Id="rId120" Type="http://schemas.openxmlformats.org/officeDocument/2006/relationships/tags" Target="../tags/tag338.xml"/><Relationship Id="rId125" Type="http://schemas.openxmlformats.org/officeDocument/2006/relationships/tags" Target="../tags/tag343.xml"/><Relationship Id="rId141" Type="http://schemas.openxmlformats.org/officeDocument/2006/relationships/tags" Target="../tags/tag359.xml"/><Relationship Id="rId146" Type="http://schemas.openxmlformats.org/officeDocument/2006/relationships/tags" Target="../tags/tag364.xml"/><Relationship Id="rId167" Type="http://schemas.openxmlformats.org/officeDocument/2006/relationships/tags" Target="../tags/tag385.xml"/><Relationship Id="rId7" Type="http://schemas.openxmlformats.org/officeDocument/2006/relationships/tags" Target="../tags/tag225.xml"/><Relationship Id="rId71" Type="http://schemas.openxmlformats.org/officeDocument/2006/relationships/tags" Target="../tags/tag289.xml"/><Relationship Id="rId92" Type="http://schemas.openxmlformats.org/officeDocument/2006/relationships/tags" Target="../tags/tag310.xml"/><Relationship Id="rId162" Type="http://schemas.openxmlformats.org/officeDocument/2006/relationships/tags" Target="../tags/tag380.xml"/><Relationship Id="rId2" Type="http://schemas.openxmlformats.org/officeDocument/2006/relationships/tags" Target="../tags/tag220.xml"/><Relationship Id="rId29" Type="http://schemas.openxmlformats.org/officeDocument/2006/relationships/tags" Target="../tags/tag247.xml"/><Relationship Id="rId24" Type="http://schemas.openxmlformats.org/officeDocument/2006/relationships/tags" Target="../tags/tag242.xml"/><Relationship Id="rId40" Type="http://schemas.openxmlformats.org/officeDocument/2006/relationships/tags" Target="../tags/tag258.xml"/><Relationship Id="rId45" Type="http://schemas.openxmlformats.org/officeDocument/2006/relationships/tags" Target="../tags/tag263.xml"/><Relationship Id="rId66" Type="http://schemas.openxmlformats.org/officeDocument/2006/relationships/tags" Target="../tags/tag284.xml"/><Relationship Id="rId87" Type="http://schemas.openxmlformats.org/officeDocument/2006/relationships/tags" Target="../tags/tag305.xml"/><Relationship Id="rId110" Type="http://schemas.openxmlformats.org/officeDocument/2006/relationships/tags" Target="../tags/tag328.xml"/><Relationship Id="rId115" Type="http://schemas.openxmlformats.org/officeDocument/2006/relationships/tags" Target="../tags/tag333.xml"/><Relationship Id="rId131" Type="http://schemas.openxmlformats.org/officeDocument/2006/relationships/tags" Target="../tags/tag349.xml"/><Relationship Id="rId136" Type="http://schemas.openxmlformats.org/officeDocument/2006/relationships/tags" Target="../tags/tag354.xml"/><Relationship Id="rId157" Type="http://schemas.openxmlformats.org/officeDocument/2006/relationships/tags" Target="../tags/tag375.xml"/><Relationship Id="rId61" Type="http://schemas.openxmlformats.org/officeDocument/2006/relationships/tags" Target="../tags/tag279.xml"/><Relationship Id="rId82" Type="http://schemas.openxmlformats.org/officeDocument/2006/relationships/tags" Target="../tags/tag300.xml"/><Relationship Id="rId152" Type="http://schemas.openxmlformats.org/officeDocument/2006/relationships/tags" Target="../tags/tag370.xml"/><Relationship Id="rId173" Type="http://schemas.openxmlformats.org/officeDocument/2006/relationships/image" Target="../media/image1.emf"/><Relationship Id="rId19" Type="http://schemas.openxmlformats.org/officeDocument/2006/relationships/tags" Target="../tags/tag237.xml"/><Relationship Id="rId14" Type="http://schemas.openxmlformats.org/officeDocument/2006/relationships/tags" Target="../tags/tag232.xml"/><Relationship Id="rId30" Type="http://schemas.openxmlformats.org/officeDocument/2006/relationships/tags" Target="../tags/tag248.xml"/><Relationship Id="rId35" Type="http://schemas.openxmlformats.org/officeDocument/2006/relationships/tags" Target="../tags/tag253.xml"/><Relationship Id="rId56" Type="http://schemas.openxmlformats.org/officeDocument/2006/relationships/tags" Target="../tags/tag274.xml"/><Relationship Id="rId77" Type="http://schemas.openxmlformats.org/officeDocument/2006/relationships/tags" Target="../tags/tag295.xml"/><Relationship Id="rId100" Type="http://schemas.openxmlformats.org/officeDocument/2006/relationships/tags" Target="../tags/tag318.xml"/><Relationship Id="rId105" Type="http://schemas.openxmlformats.org/officeDocument/2006/relationships/tags" Target="../tags/tag323.xml"/><Relationship Id="rId126" Type="http://schemas.openxmlformats.org/officeDocument/2006/relationships/tags" Target="../tags/tag344.xml"/><Relationship Id="rId147" Type="http://schemas.openxmlformats.org/officeDocument/2006/relationships/tags" Target="../tags/tag365.xml"/><Relationship Id="rId168" Type="http://schemas.openxmlformats.org/officeDocument/2006/relationships/tags" Target="../tags/tag386.xml"/><Relationship Id="rId8" Type="http://schemas.openxmlformats.org/officeDocument/2006/relationships/tags" Target="../tags/tag226.xml"/><Relationship Id="rId51" Type="http://schemas.openxmlformats.org/officeDocument/2006/relationships/tags" Target="../tags/tag269.xml"/><Relationship Id="rId72" Type="http://schemas.openxmlformats.org/officeDocument/2006/relationships/tags" Target="../tags/tag290.xml"/><Relationship Id="rId93" Type="http://schemas.openxmlformats.org/officeDocument/2006/relationships/tags" Target="../tags/tag311.xml"/><Relationship Id="rId98" Type="http://schemas.openxmlformats.org/officeDocument/2006/relationships/tags" Target="../tags/tag316.xml"/><Relationship Id="rId121" Type="http://schemas.openxmlformats.org/officeDocument/2006/relationships/tags" Target="../tags/tag339.xml"/><Relationship Id="rId142" Type="http://schemas.openxmlformats.org/officeDocument/2006/relationships/tags" Target="../tags/tag360.xml"/><Relationship Id="rId163" Type="http://schemas.openxmlformats.org/officeDocument/2006/relationships/tags" Target="../tags/tag381.xml"/><Relationship Id="rId3" Type="http://schemas.openxmlformats.org/officeDocument/2006/relationships/tags" Target="../tags/tag221.xml"/><Relationship Id="rId25" Type="http://schemas.openxmlformats.org/officeDocument/2006/relationships/tags" Target="../tags/tag243.xml"/><Relationship Id="rId46" Type="http://schemas.openxmlformats.org/officeDocument/2006/relationships/tags" Target="../tags/tag264.xml"/><Relationship Id="rId67" Type="http://schemas.openxmlformats.org/officeDocument/2006/relationships/tags" Target="../tags/tag285.xml"/><Relationship Id="rId116" Type="http://schemas.openxmlformats.org/officeDocument/2006/relationships/tags" Target="../tags/tag334.xml"/><Relationship Id="rId137" Type="http://schemas.openxmlformats.org/officeDocument/2006/relationships/tags" Target="../tags/tag355.xml"/><Relationship Id="rId158" Type="http://schemas.openxmlformats.org/officeDocument/2006/relationships/tags" Target="../tags/tag376.xml"/><Relationship Id="rId20" Type="http://schemas.openxmlformats.org/officeDocument/2006/relationships/tags" Target="../tags/tag238.xml"/><Relationship Id="rId41" Type="http://schemas.openxmlformats.org/officeDocument/2006/relationships/tags" Target="../tags/tag259.xml"/><Relationship Id="rId62" Type="http://schemas.openxmlformats.org/officeDocument/2006/relationships/tags" Target="../tags/tag280.xml"/><Relationship Id="rId83" Type="http://schemas.openxmlformats.org/officeDocument/2006/relationships/tags" Target="../tags/tag301.xml"/><Relationship Id="rId88" Type="http://schemas.openxmlformats.org/officeDocument/2006/relationships/tags" Target="../tags/tag306.xml"/><Relationship Id="rId111" Type="http://schemas.openxmlformats.org/officeDocument/2006/relationships/tags" Target="../tags/tag329.xml"/><Relationship Id="rId132" Type="http://schemas.openxmlformats.org/officeDocument/2006/relationships/tags" Target="../tags/tag350.xml"/><Relationship Id="rId153" Type="http://schemas.openxmlformats.org/officeDocument/2006/relationships/tags" Target="../tags/tag371.xml"/><Relationship Id="rId15" Type="http://schemas.openxmlformats.org/officeDocument/2006/relationships/tags" Target="../tags/tag233.xml"/><Relationship Id="rId36" Type="http://schemas.openxmlformats.org/officeDocument/2006/relationships/tags" Target="../tags/tag254.xml"/><Relationship Id="rId57" Type="http://schemas.openxmlformats.org/officeDocument/2006/relationships/tags" Target="../tags/tag275.xml"/><Relationship Id="rId106" Type="http://schemas.openxmlformats.org/officeDocument/2006/relationships/tags" Target="../tags/tag324.xml"/><Relationship Id="rId127" Type="http://schemas.openxmlformats.org/officeDocument/2006/relationships/tags" Target="../tags/tag345.xml"/><Relationship Id="rId10" Type="http://schemas.openxmlformats.org/officeDocument/2006/relationships/tags" Target="../tags/tag228.xml"/><Relationship Id="rId31" Type="http://schemas.openxmlformats.org/officeDocument/2006/relationships/tags" Target="../tags/tag249.xml"/><Relationship Id="rId52" Type="http://schemas.openxmlformats.org/officeDocument/2006/relationships/tags" Target="../tags/tag270.xml"/><Relationship Id="rId73" Type="http://schemas.openxmlformats.org/officeDocument/2006/relationships/tags" Target="../tags/tag291.xml"/><Relationship Id="rId78" Type="http://schemas.openxmlformats.org/officeDocument/2006/relationships/tags" Target="../tags/tag296.xml"/><Relationship Id="rId94" Type="http://schemas.openxmlformats.org/officeDocument/2006/relationships/tags" Target="../tags/tag312.xml"/><Relationship Id="rId99" Type="http://schemas.openxmlformats.org/officeDocument/2006/relationships/tags" Target="../tags/tag317.xml"/><Relationship Id="rId101" Type="http://schemas.openxmlformats.org/officeDocument/2006/relationships/tags" Target="../tags/tag319.xml"/><Relationship Id="rId122" Type="http://schemas.openxmlformats.org/officeDocument/2006/relationships/tags" Target="../tags/tag340.xml"/><Relationship Id="rId143" Type="http://schemas.openxmlformats.org/officeDocument/2006/relationships/tags" Target="../tags/tag361.xml"/><Relationship Id="rId148" Type="http://schemas.openxmlformats.org/officeDocument/2006/relationships/tags" Target="../tags/tag366.xml"/><Relationship Id="rId164" Type="http://schemas.openxmlformats.org/officeDocument/2006/relationships/tags" Target="../tags/tag382.xml"/><Relationship Id="rId169" Type="http://schemas.openxmlformats.org/officeDocument/2006/relationships/tags" Target="../tags/tag387.xml"/><Relationship Id="rId4" Type="http://schemas.openxmlformats.org/officeDocument/2006/relationships/tags" Target="../tags/tag222.xml"/><Relationship Id="rId9" Type="http://schemas.openxmlformats.org/officeDocument/2006/relationships/tags" Target="../tags/tag227.xml"/><Relationship Id="rId26" Type="http://schemas.openxmlformats.org/officeDocument/2006/relationships/tags" Target="../tags/tag244.xml"/><Relationship Id="rId47" Type="http://schemas.openxmlformats.org/officeDocument/2006/relationships/tags" Target="../tags/tag265.xml"/><Relationship Id="rId68" Type="http://schemas.openxmlformats.org/officeDocument/2006/relationships/tags" Target="../tags/tag286.xml"/><Relationship Id="rId89" Type="http://schemas.openxmlformats.org/officeDocument/2006/relationships/tags" Target="../tags/tag307.xml"/><Relationship Id="rId112" Type="http://schemas.openxmlformats.org/officeDocument/2006/relationships/tags" Target="../tags/tag330.xml"/><Relationship Id="rId133" Type="http://schemas.openxmlformats.org/officeDocument/2006/relationships/tags" Target="../tags/tag351.xml"/><Relationship Id="rId154" Type="http://schemas.openxmlformats.org/officeDocument/2006/relationships/tags" Target="../tags/tag372.xml"/><Relationship Id="rId16" Type="http://schemas.openxmlformats.org/officeDocument/2006/relationships/tags" Target="../tags/tag234.xml"/><Relationship Id="rId37" Type="http://schemas.openxmlformats.org/officeDocument/2006/relationships/tags" Target="../tags/tag255.xml"/><Relationship Id="rId58" Type="http://schemas.openxmlformats.org/officeDocument/2006/relationships/tags" Target="../tags/tag276.xml"/><Relationship Id="rId79" Type="http://schemas.openxmlformats.org/officeDocument/2006/relationships/tags" Target="../tags/tag297.xml"/><Relationship Id="rId102" Type="http://schemas.openxmlformats.org/officeDocument/2006/relationships/tags" Target="../tags/tag320.xml"/><Relationship Id="rId123" Type="http://schemas.openxmlformats.org/officeDocument/2006/relationships/tags" Target="../tags/tag341.xml"/><Relationship Id="rId144" Type="http://schemas.openxmlformats.org/officeDocument/2006/relationships/tags" Target="../tags/tag362.xml"/><Relationship Id="rId90" Type="http://schemas.openxmlformats.org/officeDocument/2006/relationships/tags" Target="../tags/tag308.xml"/><Relationship Id="rId165" Type="http://schemas.openxmlformats.org/officeDocument/2006/relationships/tags" Target="../tags/tag383.xml"/><Relationship Id="rId27" Type="http://schemas.openxmlformats.org/officeDocument/2006/relationships/tags" Target="../tags/tag245.xml"/><Relationship Id="rId48" Type="http://schemas.openxmlformats.org/officeDocument/2006/relationships/tags" Target="../tags/tag266.xml"/><Relationship Id="rId69" Type="http://schemas.openxmlformats.org/officeDocument/2006/relationships/tags" Target="../tags/tag287.xml"/><Relationship Id="rId113" Type="http://schemas.openxmlformats.org/officeDocument/2006/relationships/tags" Target="../tags/tag331.xml"/><Relationship Id="rId134" Type="http://schemas.openxmlformats.org/officeDocument/2006/relationships/tags" Target="../tags/tag352.xml"/><Relationship Id="rId80" Type="http://schemas.openxmlformats.org/officeDocument/2006/relationships/tags" Target="../tags/tag298.xml"/><Relationship Id="rId155" Type="http://schemas.openxmlformats.org/officeDocument/2006/relationships/tags" Target="../tags/tag373.xml"/><Relationship Id="rId17" Type="http://schemas.openxmlformats.org/officeDocument/2006/relationships/tags" Target="../tags/tag235.xml"/><Relationship Id="rId38" Type="http://schemas.openxmlformats.org/officeDocument/2006/relationships/tags" Target="../tags/tag256.xml"/><Relationship Id="rId59" Type="http://schemas.openxmlformats.org/officeDocument/2006/relationships/tags" Target="../tags/tag277.xml"/><Relationship Id="rId103" Type="http://schemas.openxmlformats.org/officeDocument/2006/relationships/tags" Target="../tags/tag321.xml"/><Relationship Id="rId124" Type="http://schemas.openxmlformats.org/officeDocument/2006/relationships/tags" Target="../tags/tag342.xml"/><Relationship Id="rId70" Type="http://schemas.openxmlformats.org/officeDocument/2006/relationships/tags" Target="../tags/tag288.xml"/><Relationship Id="rId91" Type="http://schemas.openxmlformats.org/officeDocument/2006/relationships/tags" Target="../tags/tag309.xml"/><Relationship Id="rId145" Type="http://schemas.openxmlformats.org/officeDocument/2006/relationships/tags" Target="../tags/tag363.xml"/><Relationship Id="rId166" Type="http://schemas.openxmlformats.org/officeDocument/2006/relationships/tags" Target="../tags/tag384.xml"/></Relationships>
</file>

<file path=ppt/slides/_rels/slide12.xml.rels><?xml version="1.0" encoding="UTF-8" standalone="yes"?>
<Relationships xmlns="http://schemas.openxmlformats.org/package/2006/relationships"><Relationship Id="rId117" Type="http://schemas.openxmlformats.org/officeDocument/2006/relationships/tags" Target="../tags/tag504.xml"/><Relationship Id="rId21" Type="http://schemas.openxmlformats.org/officeDocument/2006/relationships/tags" Target="../tags/tag408.xml"/><Relationship Id="rId42" Type="http://schemas.openxmlformats.org/officeDocument/2006/relationships/tags" Target="../tags/tag429.xml"/><Relationship Id="rId63" Type="http://schemas.openxmlformats.org/officeDocument/2006/relationships/tags" Target="../tags/tag450.xml"/><Relationship Id="rId84" Type="http://schemas.openxmlformats.org/officeDocument/2006/relationships/tags" Target="../tags/tag471.xml"/><Relationship Id="rId138" Type="http://schemas.openxmlformats.org/officeDocument/2006/relationships/tags" Target="../tags/tag525.xml"/><Relationship Id="rId159" Type="http://schemas.openxmlformats.org/officeDocument/2006/relationships/tags" Target="../tags/tag546.xml"/><Relationship Id="rId170" Type="http://schemas.openxmlformats.org/officeDocument/2006/relationships/tags" Target="../tags/tag557.xml"/><Relationship Id="rId107" Type="http://schemas.openxmlformats.org/officeDocument/2006/relationships/tags" Target="../tags/tag494.xml"/><Relationship Id="rId11" Type="http://schemas.openxmlformats.org/officeDocument/2006/relationships/tags" Target="../tags/tag398.xml"/><Relationship Id="rId32" Type="http://schemas.openxmlformats.org/officeDocument/2006/relationships/tags" Target="../tags/tag419.xml"/><Relationship Id="rId53" Type="http://schemas.openxmlformats.org/officeDocument/2006/relationships/tags" Target="../tags/tag440.xml"/><Relationship Id="rId74" Type="http://schemas.openxmlformats.org/officeDocument/2006/relationships/tags" Target="../tags/tag461.xml"/><Relationship Id="rId128" Type="http://schemas.openxmlformats.org/officeDocument/2006/relationships/tags" Target="../tags/tag515.xml"/><Relationship Id="rId149" Type="http://schemas.openxmlformats.org/officeDocument/2006/relationships/tags" Target="../tags/tag536.xml"/><Relationship Id="rId5" Type="http://schemas.openxmlformats.org/officeDocument/2006/relationships/tags" Target="../tags/tag392.xml"/><Relationship Id="rId95" Type="http://schemas.openxmlformats.org/officeDocument/2006/relationships/tags" Target="../tags/tag482.xml"/><Relationship Id="rId160" Type="http://schemas.openxmlformats.org/officeDocument/2006/relationships/tags" Target="../tags/tag547.xml"/><Relationship Id="rId181" Type="http://schemas.openxmlformats.org/officeDocument/2006/relationships/notesSlide" Target="../notesSlides/notesSlide12.xml"/><Relationship Id="rId22" Type="http://schemas.openxmlformats.org/officeDocument/2006/relationships/tags" Target="../tags/tag409.xml"/><Relationship Id="rId43" Type="http://schemas.openxmlformats.org/officeDocument/2006/relationships/tags" Target="../tags/tag430.xml"/><Relationship Id="rId64" Type="http://schemas.openxmlformats.org/officeDocument/2006/relationships/tags" Target="../tags/tag451.xml"/><Relationship Id="rId118" Type="http://schemas.openxmlformats.org/officeDocument/2006/relationships/tags" Target="../tags/tag505.xml"/><Relationship Id="rId139" Type="http://schemas.openxmlformats.org/officeDocument/2006/relationships/tags" Target="../tags/tag526.xml"/><Relationship Id="rId85" Type="http://schemas.openxmlformats.org/officeDocument/2006/relationships/tags" Target="../tags/tag472.xml"/><Relationship Id="rId150" Type="http://schemas.openxmlformats.org/officeDocument/2006/relationships/tags" Target="../tags/tag537.xml"/><Relationship Id="rId171" Type="http://schemas.openxmlformats.org/officeDocument/2006/relationships/tags" Target="../tags/tag558.xml"/><Relationship Id="rId12" Type="http://schemas.openxmlformats.org/officeDocument/2006/relationships/tags" Target="../tags/tag399.xml"/><Relationship Id="rId33" Type="http://schemas.openxmlformats.org/officeDocument/2006/relationships/tags" Target="../tags/tag420.xml"/><Relationship Id="rId108" Type="http://schemas.openxmlformats.org/officeDocument/2006/relationships/tags" Target="../tags/tag495.xml"/><Relationship Id="rId129" Type="http://schemas.openxmlformats.org/officeDocument/2006/relationships/tags" Target="../tags/tag516.xml"/><Relationship Id="rId54" Type="http://schemas.openxmlformats.org/officeDocument/2006/relationships/tags" Target="../tags/tag441.xml"/><Relationship Id="rId75" Type="http://schemas.openxmlformats.org/officeDocument/2006/relationships/tags" Target="../tags/tag462.xml"/><Relationship Id="rId96" Type="http://schemas.openxmlformats.org/officeDocument/2006/relationships/tags" Target="../tags/tag483.xml"/><Relationship Id="rId140" Type="http://schemas.openxmlformats.org/officeDocument/2006/relationships/tags" Target="../tags/tag527.xml"/><Relationship Id="rId161" Type="http://schemas.openxmlformats.org/officeDocument/2006/relationships/tags" Target="../tags/tag548.xml"/><Relationship Id="rId182" Type="http://schemas.openxmlformats.org/officeDocument/2006/relationships/oleObject" Target="../embeddings/oleObject9.bin"/><Relationship Id="rId6" Type="http://schemas.openxmlformats.org/officeDocument/2006/relationships/tags" Target="../tags/tag393.xml"/><Relationship Id="rId23" Type="http://schemas.openxmlformats.org/officeDocument/2006/relationships/tags" Target="../tags/tag410.xml"/><Relationship Id="rId119" Type="http://schemas.openxmlformats.org/officeDocument/2006/relationships/tags" Target="../tags/tag506.xml"/><Relationship Id="rId44" Type="http://schemas.openxmlformats.org/officeDocument/2006/relationships/tags" Target="../tags/tag431.xml"/><Relationship Id="rId60" Type="http://schemas.openxmlformats.org/officeDocument/2006/relationships/tags" Target="../tags/tag447.xml"/><Relationship Id="rId65" Type="http://schemas.openxmlformats.org/officeDocument/2006/relationships/tags" Target="../tags/tag452.xml"/><Relationship Id="rId81" Type="http://schemas.openxmlformats.org/officeDocument/2006/relationships/tags" Target="../tags/tag468.xml"/><Relationship Id="rId86" Type="http://schemas.openxmlformats.org/officeDocument/2006/relationships/tags" Target="../tags/tag473.xml"/><Relationship Id="rId130" Type="http://schemas.openxmlformats.org/officeDocument/2006/relationships/tags" Target="../tags/tag517.xml"/><Relationship Id="rId135" Type="http://schemas.openxmlformats.org/officeDocument/2006/relationships/tags" Target="../tags/tag522.xml"/><Relationship Id="rId151" Type="http://schemas.openxmlformats.org/officeDocument/2006/relationships/tags" Target="../tags/tag538.xml"/><Relationship Id="rId156" Type="http://schemas.openxmlformats.org/officeDocument/2006/relationships/tags" Target="../tags/tag543.xml"/><Relationship Id="rId177" Type="http://schemas.openxmlformats.org/officeDocument/2006/relationships/tags" Target="../tags/tag564.xml"/><Relationship Id="rId172" Type="http://schemas.openxmlformats.org/officeDocument/2006/relationships/tags" Target="../tags/tag559.xml"/><Relationship Id="rId13" Type="http://schemas.openxmlformats.org/officeDocument/2006/relationships/tags" Target="../tags/tag400.xml"/><Relationship Id="rId18" Type="http://schemas.openxmlformats.org/officeDocument/2006/relationships/tags" Target="../tags/tag405.xml"/><Relationship Id="rId39" Type="http://schemas.openxmlformats.org/officeDocument/2006/relationships/tags" Target="../tags/tag426.xml"/><Relationship Id="rId109" Type="http://schemas.openxmlformats.org/officeDocument/2006/relationships/tags" Target="../tags/tag496.xml"/><Relationship Id="rId34" Type="http://schemas.openxmlformats.org/officeDocument/2006/relationships/tags" Target="../tags/tag421.xml"/><Relationship Id="rId50" Type="http://schemas.openxmlformats.org/officeDocument/2006/relationships/tags" Target="../tags/tag437.xml"/><Relationship Id="rId55" Type="http://schemas.openxmlformats.org/officeDocument/2006/relationships/tags" Target="../tags/tag442.xml"/><Relationship Id="rId76" Type="http://schemas.openxmlformats.org/officeDocument/2006/relationships/tags" Target="../tags/tag463.xml"/><Relationship Id="rId97" Type="http://schemas.openxmlformats.org/officeDocument/2006/relationships/tags" Target="../tags/tag484.xml"/><Relationship Id="rId104" Type="http://schemas.openxmlformats.org/officeDocument/2006/relationships/tags" Target="../tags/tag491.xml"/><Relationship Id="rId120" Type="http://schemas.openxmlformats.org/officeDocument/2006/relationships/tags" Target="../tags/tag507.xml"/><Relationship Id="rId125" Type="http://schemas.openxmlformats.org/officeDocument/2006/relationships/tags" Target="../tags/tag512.xml"/><Relationship Id="rId141" Type="http://schemas.openxmlformats.org/officeDocument/2006/relationships/tags" Target="../tags/tag528.xml"/><Relationship Id="rId146" Type="http://schemas.openxmlformats.org/officeDocument/2006/relationships/tags" Target="../tags/tag533.xml"/><Relationship Id="rId167" Type="http://schemas.openxmlformats.org/officeDocument/2006/relationships/tags" Target="../tags/tag554.xml"/><Relationship Id="rId7" Type="http://schemas.openxmlformats.org/officeDocument/2006/relationships/tags" Target="../tags/tag394.xml"/><Relationship Id="rId71" Type="http://schemas.openxmlformats.org/officeDocument/2006/relationships/tags" Target="../tags/tag458.xml"/><Relationship Id="rId92" Type="http://schemas.openxmlformats.org/officeDocument/2006/relationships/tags" Target="../tags/tag479.xml"/><Relationship Id="rId162" Type="http://schemas.openxmlformats.org/officeDocument/2006/relationships/tags" Target="../tags/tag549.xml"/><Relationship Id="rId183" Type="http://schemas.openxmlformats.org/officeDocument/2006/relationships/image" Target="../media/image1.emf"/><Relationship Id="rId2" Type="http://schemas.openxmlformats.org/officeDocument/2006/relationships/tags" Target="../tags/tag389.xml"/><Relationship Id="rId29" Type="http://schemas.openxmlformats.org/officeDocument/2006/relationships/tags" Target="../tags/tag416.xml"/><Relationship Id="rId24" Type="http://schemas.openxmlformats.org/officeDocument/2006/relationships/tags" Target="../tags/tag411.xml"/><Relationship Id="rId40" Type="http://schemas.openxmlformats.org/officeDocument/2006/relationships/tags" Target="../tags/tag427.xml"/><Relationship Id="rId45" Type="http://schemas.openxmlformats.org/officeDocument/2006/relationships/tags" Target="../tags/tag432.xml"/><Relationship Id="rId66" Type="http://schemas.openxmlformats.org/officeDocument/2006/relationships/tags" Target="../tags/tag453.xml"/><Relationship Id="rId87" Type="http://schemas.openxmlformats.org/officeDocument/2006/relationships/tags" Target="../tags/tag474.xml"/><Relationship Id="rId110" Type="http://schemas.openxmlformats.org/officeDocument/2006/relationships/tags" Target="../tags/tag497.xml"/><Relationship Id="rId115" Type="http://schemas.openxmlformats.org/officeDocument/2006/relationships/tags" Target="../tags/tag502.xml"/><Relationship Id="rId131" Type="http://schemas.openxmlformats.org/officeDocument/2006/relationships/tags" Target="../tags/tag518.xml"/><Relationship Id="rId136" Type="http://schemas.openxmlformats.org/officeDocument/2006/relationships/tags" Target="../tags/tag523.xml"/><Relationship Id="rId157" Type="http://schemas.openxmlformats.org/officeDocument/2006/relationships/tags" Target="../tags/tag544.xml"/><Relationship Id="rId178" Type="http://schemas.openxmlformats.org/officeDocument/2006/relationships/tags" Target="../tags/tag565.xml"/><Relationship Id="rId61" Type="http://schemas.openxmlformats.org/officeDocument/2006/relationships/tags" Target="../tags/tag448.xml"/><Relationship Id="rId82" Type="http://schemas.openxmlformats.org/officeDocument/2006/relationships/tags" Target="../tags/tag469.xml"/><Relationship Id="rId152" Type="http://schemas.openxmlformats.org/officeDocument/2006/relationships/tags" Target="../tags/tag539.xml"/><Relationship Id="rId173" Type="http://schemas.openxmlformats.org/officeDocument/2006/relationships/tags" Target="../tags/tag560.xml"/><Relationship Id="rId19" Type="http://schemas.openxmlformats.org/officeDocument/2006/relationships/tags" Target="../tags/tag406.xml"/><Relationship Id="rId14" Type="http://schemas.openxmlformats.org/officeDocument/2006/relationships/tags" Target="../tags/tag401.xml"/><Relationship Id="rId30" Type="http://schemas.openxmlformats.org/officeDocument/2006/relationships/tags" Target="../tags/tag417.xml"/><Relationship Id="rId35" Type="http://schemas.openxmlformats.org/officeDocument/2006/relationships/tags" Target="../tags/tag422.xml"/><Relationship Id="rId56" Type="http://schemas.openxmlformats.org/officeDocument/2006/relationships/tags" Target="../tags/tag443.xml"/><Relationship Id="rId77" Type="http://schemas.openxmlformats.org/officeDocument/2006/relationships/tags" Target="../tags/tag464.xml"/><Relationship Id="rId100" Type="http://schemas.openxmlformats.org/officeDocument/2006/relationships/tags" Target="../tags/tag487.xml"/><Relationship Id="rId105" Type="http://schemas.openxmlformats.org/officeDocument/2006/relationships/tags" Target="../tags/tag492.xml"/><Relationship Id="rId126" Type="http://schemas.openxmlformats.org/officeDocument/2006/relationships/tags" Target="../tags/tag513.xml"/><Relationship Id="rId147" Type="http://schemas.openxmlformats.org/officeDocument/2006/relationships/tags" Target="../tags/tag534.xml"/><Relationship Id="rId168" Type="http://schemas.openxmlformats.org/officeDocument/2006/relationships/tags" Target="../tags/tag555.xml"/><Relationship Id="rId8" Type="http://schemas.openxmlformats.org/officeDocument/2006/relationships/tags" Target="../tags/tag395.xml"/><Relationship Id="rId51" Type="http://schemas.openxmlformats.org/officeDocument/2006/relationships/tags" Target="../tags/tag438.xml"/><Relationship Id="rId72" Type="http://schemas.openxmlformats.org/officeDocument/2006/relationships/tags" Target="../tags/tag459.xml"/><Relationship Id="rId93" Type="http://schemas.openxmlformats.org/officeDocument/2006/relationships/tags" Target="../tags/tag480.xml"/><Relationship Id="rId98" Type="http://schemas.openxmlformats.org/officeDocument/2006/relationships/tags" Target="../tags/tag485.xml"/><Relationship Id="rId121" Type="http://schemas.openxmlformats.org/officeDocument/2006/relationships/tags" Target="../tags/tag508.xml"/><Relationship Id="rId142" Type="http://schemas.openxmlformats.org/officeDocument/2006/relationships/tags" Target="../tags/tag529.xml"/><Relationship Id="rId163" Type="http://schemas.openxmlformats.org/officeDocument/2006/relationships/tags" Target="../tags/tag550.xml"/><Relationship Id="rId3" Type="http://schemas.openxmlformats.org/officeDocument/2006/relationships/tags" Target="../tags/tag390.xml"/><Relationship Id="rId25" Type="http://schemas.openxmlformats.org/officeDocument/2006/relationships/tags" Target="../tags/tag412.xml"/><Relationship Id="rId46" Type="http://schemas.openxmlformats.org/officeDocument/2006/relationships/tags" Target="../tags/tag433.xml"/><Relationship Id="rId67" Type="http://schemas.openxmlformats.org/officeDocument/2006/relationships/tags" Target="../tags/tag454.xml"/><Relationship Id="rId116" Type="http://schemas.openxmlformats.org/officeDocument/2006/relationships/tags" Target="../tags/tag503.xml"/><Relationship Id="rId137" Type="http://schemas.openxmlformats.org/officeDocument/2006/relationships/tags" Target="../tags/tag524.xml"/><Relationship Id="rId158" Type="http://schemas.openxmlformats.org/officeDocument/2006/relationships/tags" Target="../tags/tag545.xml"/><Relationship Id="rId20" Type="http://schemas.openxmlformats.org/officeDocument/2006/relationships/tags" Target="../tags/tag407.xml"/><Relationship Id="rId41" Type="http://schemas.openxmlformats.org/officeDocument/2006/relationships/tags" Target="../tags/tag428.xml"/><Relationship Id="rId62" Type="http://schemas.openxmlformats.org/officeDocument/2006/relationships/tags" Target="../tags/tag449.xml"/><Relationship Id="rId83" Type="http://schemas.openxmlformats.org/officeDocument/2006/relationships/tags" Target="../tags/tag470.xml"/><Relationship Id="rId88" Type="http://schemas.openxmlformats.org/officeDocument/2006/relationships/tags" Target="../tags/tag475.xml"/><Relationship Id="rId111" Type="http://schemas.openxmlformats.org/officeDocument/2006/relationships/tags" Target="../tags/tag498.xml"/><Relationship Id="rId132" Type="http://schemas.openxmlformats.org/officeDocument/2006/relationships/tags" Target="../tags/tag519.xml"/><Relationship Id="rId153" Type="http://schemas.openxmlformats.org/officeDocument/2006/relationships/tags" Target="../tags/tag540.xml"/><Relationship Id="rId174" Type="http://schemas.openxmlformats.org/officeDocument/2006/relationships/tags" Target="../tags/tag561.xml"/><Relationship Id="rId179" Type="http://schemas.openxmlformats.org/officeDocument/2006/relationships/tags" Target="../tags/tag566.xml"/><Relationship Id="rId15" Type="http://schemas.openxmlformats.org/officeDocument/2006/relationships/tags" Target="../tags/tag402.xml"/><Relationship Id="rId36" Type="http://schemas.openxmlformats.org/officeDocument/2006/relationships/tags" Target="../tags/tag423.xml"/><Relationship Id="rId57" Type="http://schemas.openxmlformats.org/officeDocument/2006/relationships/tags" Target="../tags/tag444.xml"/><Relationship Id="rId106" Type="http://schemas.openxmlformats.org/officeDocument/2006/relationships/tags" Target="../tags/tag493.xml"/><Relationship Id="rId127" Type="http://schemas.openxmlformats.org/officeDocument/2006/relationships/tags" Target="../tags/tag514.xml"/><Relationship Id="rId10" Type="http://schemas.openxmlformats.org/officeDocument/2006/relationships/tags" Target="../tags/tag397.xml"/><Relationship Id="rId31" Type="http://schemas.openxmlformats.org/officeDocument/2006/relationships/tags" Target="../tags/tag418.xml"/><Relationship Id="rId52" Type="http://schemas.openxmlformats.org/officeDocument/2006/relationships/tags" Target="../tags/tag439.xml"/><Relationship Id="rId73" Type="http://schemas.openxmlformats.org/officeDocument/2006/relationships/tags" Target="../tags/tag460.xml"/><Relationship Id="rId78" Type="http://schemas.openxmlformats.org/officeDocument/2006/relationships/tags" Target="../tags/tag465.xml"/><Relationship Id="rId94" Type="http://schemas.openxmlformats.org/officeDocument/2006/relationships/tags" Target="../tags/tag481.xml"/><Relationship Id="rId99" Type="http://schemas.openxmlformats.org/officeDocument/2006/relationships/tags" Target="../tags/tag486.xml"/><Relationship Id="rId101" Type="http://schemas.openxmlformats.org/officeDocument/2006/relationships/tags" Target="../tags/tag488.xml"/><Relationship Id="rId122" Type="http://schemas.openxmlformats.org/officeDocument/2006/relationships/tags" Target="../tags/tag509.xml"/><Relationship Id="rId143" Type="http://schemas.openxmlformats.org/officeDocument/2006/relationships/tags" Target="../tags/tag530.xml"/><Relationship Id="rId148" Type="http://schemas.openxmlformats.org/officeDocument/2006/relationships/tags" Target="../tags/tag535.xml"/><Relationship Id="rId164" Type="http://schemas.openxmlformats.org/officeDocument/2006/relationships/tags" Target="../tags/tag551.xml"/><Relationship Id="rId169" Type="http://schemas.openxmlformats.org/officeDocument/2006/relationships/tags" Target="../tags/tag556.xml"/><Relationship Id="rId4" Type="http://schemas.openxmlformats.org/officeDocument/2006/relationships/tags" Target="../tags/tag391.xml"/><Relationship Id="rId9" Type="http://schemas.openxmlformats.org/officeDocument/2006/relationships/tags" Target="../tags/tag396.xml"/><Relationship Id="rId180" Type="http://schemas.openxmlformats.org/officeDocument/2006/relationships/slideLayout" Target="../slideLayouts/slideLayout6.xml"/><Relationship Id="rId26" Type="http://schemas.openxmlformats.org/officeDocument/2006/relationships/tags" Target="../tags/tag413.xml"/><Relationship Id="rId47" Type="http://schemas.openxmlformats.org/officeDocument/2006/relationships/tags" Target="../tags/tag434.xml"/><Relationship Id="rId68" Type="http://schemas.openxmlformats.org/officeDocument/2006/relationships/tags" Target="../tags/tag455.xml"/><Relationship Id="rId89" Type="http://schemas.openxmlformats.org/officeDocument/2006/relationships/tags" Target="../tags/tag476.xml"/><Relationship Id="rId112" Type="http://schemas.openxmlformats.org/officeDocument/2006/relationships/tags" Target="../tags/tag499.xml"/><Relationship Id="rId133" Type="http://schemas.openxmlformats.org/officeDocument/2006/relationships/tags" Target="../tags/tag520.xml"/><Relationship Id="rId154" Type="http://schemas.openxmlformats.org/officeDocument/2006/relationships/tags" Target="../tags/tag541.xml"/><Relationship Id="rId175" Type="http://schemas.openxmlformats.org/officeDocument/2006/relationships/tags" Target="../tags/tag562.xml"/><Relationship Id="rId16" Type="http://schemas.openxmlformats.org/officeDocument/2006/relationships/tags" Target="../tags/tag403.xml"/><Relationship Id="rId37" Type="http://schemas.openxmlformats.org/officeDocument/2006/relationships/tags" Target="../tags/tag424.xml"/><Relationship Id="rId58" Type="http://schemas.openxmlformats.org/officeDocument/2006/relationships/tags" Target="../tags/tag445.xml"/><Relationship Id="rId79" Type="http://schemas.openxmlformats.org/officeDocument/2006/relationships/tags" Target="../tags/tag466.xml"/><Relationship Id="rId102" Type="http://schemas.openxmlformats.org/officeDocument/2006/relationships/tags" Target="../tags/tag489.xml"/><Relationship Id="rId123" Type="http://schemas.openxmlformats.org/officeDocument/2006/relationships/tags" Target="../tags/tag510.xml"/><Relationship Id="rId144" Type="http://schemas.openxmlformats.org/officeDocument/2006/relationships/tags" Target="../tags/tag531.xml"/><Relationship Id="rId90" Type="http://schemas.openxmlformats.org/officeDocument/2006/relationships/tags" Target="../tags/tag477.xml"/><Relationship Id="rId165" Type="http://schemas.openxmlformats.org/officeDocument/2006/relationships/tags" Target="../tags/tag552.xml"/><Relationship Id="rId27" Type="http://schemas.openxmlformats.org/officeDocument/2006/relationships/tags" Target="../tags/tag414.xml"/><Relationship Id="rId48" Type="http://schemas.openxmlformats.org/officeDocument/2006/relationships/tags" Target="../tags/tag435.xml"/><Relationship Id="rId69" Type="http://schemas.openxmlformats.org/officeDocument/2006/relationships/tags" Target="../tags/tag456.xml"/><Relationship Id="rId113" Type="http://schemas.openxmlformats.org/officeDocument/2006/relationships/tags" Target="../tags/tag500.xml"/><Relationship Id="rId134" Type="http://schemas.openxmlformats.org/officeDocument/2006/relationships/tags" Target="../tags/tag521.xml"/><Relationship Id="rId80" Type="http://schemas.openxmlformats.org/officeDocument/2006/relationships/tags" Target="../tags/tag467.xml"/><Relationship Id="rId155" Type="http://schemas.openxmlformats.org/officeDocument/2006/relationships/tags" Target="../tags/tag542.xml"/><Relationship Id="rId176" Type="http://schemas.openxmlformats.org/officeDocument/2006/relationships/tags" Target="../tags/tag563.xml"/><Relationship Id="rId17" Type="http://schemas.openxmlformats.org/officeDocument/2006/relationships/tags" Target="../tags/tag404.xml"/><Relationship Id="rId38" Type="http://schemas.openxmlformats.org/officeDocument/2006/relationships/tags" Target="../tags/tag425.xml"/><Relationship Id="rId59" Type="http://schemas.openxmlformats.org/officeDocument/2006/relationships/tags" Target="../tags/tag446.xml"/><Relationship Id="rId103" Type="http://schemas.openxmlformats.org/officeDocument/2006/relationships/tags" Target="../tags/tag490.xml"/><Relationship Id="rId124" Type="http://schemas.openxmlformats.org/officeDocument/2006/relationships/tags" Target="../tags/tag511.xml"/><Relationship Id="rId70" Type="http://schemas.openxmlformats.org/officeDocument/2006/relationships/tags" Target="../tags/tag457.xml"/><Relationship Id="rId91" Type="http://schemas.openxmlformats.org/officeDocument/2006/relationships/tags" Target="../tags/tag478.xml"/><Relationship Id="rId145" Type="http://schemas.openxmlformats.org/officeDocument/2006/relationships/tags" Target="../tags/tag532.xml"/><Relationship Id="rId166" Type="http://schemas.openxmlformats.org/officeDocument/2006/relationships/tags" Target="../tags/tag553.xml"/><Relationship Id="rId1" Type="http://schemas.openxmlformats.org/officeDocument/2006/relationships/tags" Target="../tags/tag388.xml"/><Relationship Id="rId28" Type="http://schemas.openxmlformats.org/officeDocument/2006/relationships/tags" Target="../tags/tag415.xml"/><Relationship Id="rId49" Type="http://schemas.openxmlformats.org/officeDocument/2006/relationships/tags" Target="../tags/tag436.xml"/><Relationship Id="rId114" Type="http://schemas.openxmlformats.org/officeDocument/2006/relationships/tags" Target="../tags/tag50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574.xml"/><Relationship Id="rId13" Type="http://schemas.openxmlformats.org/officeDocument/2006/relationships/tags" Target="../tags/tag579.xml"/><Relationship Id="rId18" Type="http://schemas.openxmlformats.org/officeDocument/2006/relationships/slide" Target="slide2.xml"/><Relationship Id="rId3" Type="http://schemas.openxmlformats.org/officeDocument/2006/relationships/tags" Target="../tags/tag569.xml"/><Relationship Id="rId21" Type="http://schemas.openxmlformats.org/officeDocument/2006/relationships/slide" Target="slide9.xml"/><Relationship Id="rId7" Type="http://schemas.openxmlformats.org/officeDocument/2006/relationships/tags" Target="../tags/tag573.xml"/><Relationship Id="rId12" Type="http://schemas.openxmlformats.org/officeDocument/2006/relationships/tags" Target="../tags/tag578.xml"/><Relationship Id="rId17" Type="http://schemas.openxmlformats.org/officeDocument/2006/relationships/notesSlide" Target="../notesSlides/notesSlide13.xml"/><Relationship Id="rId2" Type="http://schemas.openxmlformats.org/officeDocument/2006/relationships/tags" Target="../tags/tag568.xml"/><Relationship Id="rId16" Type="http://schemas.openxmlformats.org/officeDocument/2006/relationships/slideLayout" Target="../slideLayouts/slideLayout32.xml"/><Relationship Id="rId20" Type="http://schemas.openxmlformats.org/officeDocument/2006/relationships/slide" Target="slide6.xml"/><Relationship Id="rId1" Type="http://schemas.openxmlformats.org/officeDocument/2006/relationships/tags" Target="../tags/tag567.xml"/><Relationship Id="rId6" Type="http://schemas.openxmlformats.org/officeDocument/2006/relationships/tags" Target="../tags/tag572.xml"/><Relationship Id="rId11" Type="http://schemas.openxmlformats.org/officeDocument/2006/relationships/tags" Target="../tags/tag577.xml"/><Relationship Id="rId5" Type="http://schemas.openxmlformats.org/officeDocument/2006/relationships/tags" Target="../tags/tag571.xml"/><Relationship Id="rId15" Type="http://schemas.openxmlformats.org/officeDocument/2006/relationships/tags" Target="../tags/tag581.xml"/><Relationship Id="rId23" Type="http://schemas.openxmlformats.org/officeDocument/2006/relationships/slide" Target="slide20.xml"/><Relationship Id="rId10" Type="http://schemas.openxmlformats.org/officeDocument/2006/relationships/tags" Target="../tags/tag576.xml"/><Relationship Id="rId19" Type="http://schemas.openxmlformats.org/officeDocument/2006/relationships/slide" Target="slide4.xml"/><Relationship Id="rId4" Type="http://schemas.openxmlformats.org/officeDocument/2006/relationships/tags" Target="../tags/tag570.xml"/><Relationship Id="rId9" Type="http://schemas.openxmlformats.org/officeDocument/2006/relationships/tags" Target="../tags/tag575.xml"/><Relationship Id="rId14" Type="http://schemas.openxmlformats.org/officeDocument/2006/relationships/tags" Target="../tags/tag580.xml"/><Relationship Id="rId22" Type="http://schemas.openxmlformats.org/officeDocument/2006/relationships/slide" Target="slide13.xml"/></Relationships>
</file>

<file path=ppt/slides/_rels/slide14.xml.rels><?xml version="1.0" encoding="UTF-8" standalone="yes"?>
<Relationships xmlns="http://schemas.openxmlformats.org/package/2006/relationships"><Relationship Id="rId117" Type="http://schemas.openxmlformats.org/officeDocument/2006/relationships/tags" Target="../tags/tag698.xml"/><Relationship Id="rId21" Type="http://schemas.openxmlformats.org/officeDocument/2006/relationships/tags" Target="../tags/tag602.xml"/><Relationship Id="rId42" Type="http://schemas.openxmlformats.org/officeDocument/2006/relationships/tags" Target="../tags/tag623.xml"/><Relationship Id="rId63" Type="http://schemas.openxmlformats.org/officeDocument/2006/relationships/tags" Target="../tags/tag644.xml"/><Relationship Id="rId84" Type="http://schemas.openxmlformats.org/officeDocument/2006/relationships/tags" Target="../tags/tag665.xml"/><Relationship Id="rId138" Type="http://schemas.openxmlformats.org/officeDocument/2006/relationships/tags" Target="../tags/tag719.xml"/><Relationship Id="rId159" Type="http://schemas.openxmlformats.org/officeDocument/2006/relationships/tags" Target="../tags/tag740.xml"/><Relationship Id="rId170" Type="http://schemas.openxmlformats.org/officeDocument/2006/relationships/tags" Target="../tags/tag751.xml"/><Relationship Id="rId191" Type="http://schemas.openxmlformats.org/officeDocument/2006/relationships/tags" Target="../tags/tag772.xml"/><Relationship Id="rId107" Type="http://schemas.openxmlformats.org/officeDocument/2006/relationships/tags" Target="../tags/tag688.xml"/><Relationship Id="rId11" Type="http://schemas.openxmlformats.org/officeDocument/2006/relationships/tags" Target="../tags/tag592.xml"/><Relationship Id="rId32" Type="http://schemas.openxmlformats.org/officeDocument/2006/relationships/tags" Target="../tags/tag613.xml"/><Relationship Id="rId53" Type="http://schemas.openxmlformats.org/officeDocument/2006/relationships/tags" Target="../tags/tag634.xml"/><Relationship Id="rId74" Type="http://schemas.openxmlformats.org/officeDocument/2006/relationships/tags" Target="../tags/tag655.xml"/><Relationship Id="rId128" Type="http://schemas.openxmlformats.org/officeDocument/2006/relationships/tags" Target="../tags/tag709.xml"/><Relationship Id="rId149" Type="http://schemas.openxmlformats.org/officeDocument/2006/relationships/tags" Target="../tags/tag730.xml"/><Relationship Id="rId5" Type="http://schemas.openxmlformats.org/officeDocument/2006/relationships/tags" Target="../tags/tag586.xml"/><Relationship Id="rId95" Type="http://schemas.openxmlformats.org/officeDocument/2006/relationships/tags" Target="../tags/tag676.xml"/><Relationship Id="rId160" Type="http://schemas.openxmlformats.org/officeDocument/2006/relationships/tags" Target="../tags/tag741.xml"/><Relationship Id="rId181" Type="http://schemas.openxmlformats.org/officeDocument/2006/relationships/tags" Target="../tags/tag762.xml"/><Relationship Id="rId22" Type="http://schemas.openxmlformats.org/officeDocument/2006/relationships/tags" Target="../tags/tag603.xml"/><Relationship Id="rId43" Type="http://schemas.openxmlformats.org/officeDocument/2006/relationships/tags" Target="../tags/tag624.xml"/><Relationship Id="rId64" Type="http://schemas.openxmlformats.org/officeDocument/2006/relationships/tags" Target="../tags/tag645.xml"/><Relationship Id="rId118" Type="http://schemas.openxmlformats.org/officeDocument/2006/relationships/tags" Target="../tags/tag699.xml"/><Relationship Id="rId139" Type="http://schemas.openxmlformats.org/officeDocument/2006/relationships/tags" Target="../tags/tag720.xml"/><Relationship Id="rId85" Type="http://schemas.openxmlformats.org/officeDocument/2006/relationships/tags" Target="../tags/tag666.xml"/><Relationship Id="rId150" Type="http://schemas.openxmlformats.org/officeDocument/2006/relationships/tags" Target="../tags/tag731.xml"/><Relationship Id="rId171" Type="http://schemas.openxmlformats.org/officeDocument/2006/relationships/tags" Target="../tags/tag752.xml"/><Relationship Id="rId192" Type="http://schemas.openxmlformats.org/officeDocument/2006/relationships/slideLayout" Target="../slideLayouts/slideLayout6.xml"/><Relationship Id="rId12" Type="http://schemas.openxmlformats.org/officeDocument/2006/relationships/tags" Target="../tags/tag593.xml"/><Relationship Id="rId33" Type="http://schemas.openxmlformats.org/officeDocument/2006/relationships/tags" Target="../tags/tag614.xml"/><Relationship Id="rId108" Type="http://schemas.openxmlformats.org/officeDocument/2006/relationships/tags" Target="../tags/tag689.xml"/><Relationship Id="rId129" Type="http://schemas.openxmlformats.org/officeDocument/2006/relationships/tags" Target="../tags/tag710.xml"/><Relationship Id="rId54" Type="http://schemas.openxmlformats.org/officeDocument/2006/relationships/tags" Target="../tags/tag635.xml"/><Relationship Id="rId75" Type="http://schemas.openxmlformats.org/officeDocument/2006/relationships/tags" Target="../tags/tag656.xml"/><Relationship Id="rId96" Type="http://schemas.openxmlformats.org/officeDocument/2006/relationships/tags" Target="../tags/tag677.xml"/><Relationship Id="rId140" Type="http://schemas.openxmlformats.org/officeDocument/2006/relationships/tags" Target="../tags/tag721.xml"/><Relationship Id="rId161" Type="http://schemas.openxmlformats.org/officeDocument/2006/relationships/tags" Target="../tags/tag742.xml"/><Relationship Id="rId182" Type="http://schemas.openxmlformats.org/officeDocument/2006/relationships/tags" Target="../tags/tag763.xml"/><Relationship Id="rId6" Type="http://schemas.openxmlformats.org/officeDocument/2006/relationships/tags" Target="../tags/tag587.xml"/><Relationship Id="rId23" Type="http://schemas.openxmlformats.org/officeDocument/2006/relationships/tags" Target="../tags/tag604.xml"/><Relationship Id="rId119" Type="http://schemas.openxmlformats.org/officeDocument/2006/relationships/tags" Target="../tags/tag700.xml"/><Relationship Id="rId44" Type="http://schemas.openxmlformats.org/officeDocument/2006/relationships/tags" Target="../tags/tag625.xml"/><Relationship Id="rId65" Type="http://schemas.openxmlformats.org/officeDocument/2006/relationships/tags" Target="../tags/tag646.xml"/><Relationship Id="rId86" Type="http://schemas.openxmlformats.org/officeDocument/2006/relationships/tags" Target="../tags/tag667.xml"/><Relationship Id="rId130" Type="http://schemas.openxmlformats.org/officeDocument/2006/relationships/tags" Target="../tags/tag711.xml"/><Relationship Id="rId151" Type="http://schemas.openxmlformats.org/officeDocument/2006/relationships/tags" Target="../tags/tag732.xml"/><Relationship Id="rId172" Type="http://schemas.openxmlformats.org/officeDocument/2006/relationships/tags" Target="../tags/tag753.xml"/><Relationship Id="rId193" Type="http://schemas.openxmlformats.org/officeDocument/2006/relationships/notesSlide" Target="../notesSlides/notesSlide14.xml"/><Relationship Id="rId13" Type="http://schemas.openxmlformats.org/officeDocument/2006/relationships/tags" Target="../tags/tag594.xml"/><Relationship Id="rId109" Type="http://schemas.openxmlformats.org/officeDocument/2006/relationships/tags" Target="../tags/tag690.xml"/><Relationship Id="rId34" Type="http://schemas.openxmlformats.org/officeDocument/2006/relationships/tags" Target="../tags/tag615.xml"/><Relationship Id="rId50" Type="http://schemas.openxmlformats.org/officeDocument/2006/relationships/tags" Target="../tags/tag631.xml"/><Relationship Id="rId55" Type="http://schemas.openxmlformats.org/officeDocument/2006/relationships/tags" Target="../tags/tag636.xml"/><Relationship Id="rId76" Type="http://schemas.openxmlformats.org/officeDocument/2006/relationships/tags" Target="../tags/tag657.xml"/><Relationship Id="rId97" Type="http://schemas.openxmlformats.org/officeDocument/2006/relationships/tags" Target="../tags/tag678.xml"/><Relationship Id="rId104" Type="http://schemas.openxmlformats.org/officeDocument/2006/relationships/tags" Target="../tags/tag685.xml"/><Relationship Id="rId120" Type="http://schemas.openxmlformats.org/officeDocument/2006/relationships/tags" Target="../tags/tag701.xml"/><Relationship Id="rId125" Type="http://schemas.openxmlformats.org/officeDocument/2006/relationships/tags" Target="../tags/tag706.xml"/><Relationship Id="rId141" Type="http://schemas.openxmlformats.org/officeDocument/2006/relationships/tags" Target="../tags/tag722.xml"/><Relationship Id="rId146" Type="http://schemas.openxmlformats.org/officeDocument/2006/relationships/tags" Target="../tags/tag727.xml"/><Relationship Id="rId167" Type="http://schemas.openxmlformats.org/officeDocument/2006/relationships/tags" Target="../tags/tag748.xml"/><Relationship Id="rId188" Type="http://schemas.openxmlformats.org/officeDocument/2006/relationships/tags" Target="../tags/tag769.xml"/><Relationship Id="rId7" Type="http://schemas.openxmlformats.org/officeDocument/2006/relationships/tags" Target="../tags/tag588.xml"/><Relationship Id="rId71" Type="http://schemas.openxmlformats.org/officeDocument/2006/relationships/tags" Target="../tags/tag652.xml"/><Relationship Id="rId92" Type="http://schemas.openxmlformats.org/officeDocument/2006/relationships/tags" Target="../tags/tag673.xml"/><Relationship Id="rId162" Type="http://schemas.openxmlformats.org/officeDocument/2006/relationships/tags" Target="../tags/tag743.xml"/><Relationship Id="rId183" Type="http://schemas.openxmlformats.org/officeDocument/2006/relationships/tags" Target="../tags/tag764.xml"/><Relationship Id="rId2" Type="http://schemas.openxmlformats.org/officeDocument/2006/relationships/tags" Target="../tags/tag583.xml"/><Relationship Id="rId29" Type="http://schemas.openxmlformats.org/officeDocument/2006/relationships/tags" Target="../tags/tag610.xml"/><Relationship Id="rId24" Type="http://schemas.openxmlformats.org/officeDocument/2006/relationships/tags" Target="../tags/tag605.xml"/><Relationship Id="rId40" Type="http://schemas.openxmlformats.org/officeDocument/2006/relationships/tags" Target="../tags/tag621.xml"/><Relationship Id="rId45" Type="http://schemas.openxmlformats.org/officeDocument/2006/relationships/tags" Target="../tags/tag626.xml"/><Relationship Id="rId66" Type="http://schemas.openxmlformats.org/officeDocument/2006/relationships/tags" Target="../tags/tag647.xml"/><Relationship Id="rId87" Type="http://schemas.openxmlformats.org/officeDocument/2006/relationships/tags" Target="../tags/tag668.xml"/><Relationship Id="rId110" Type="http://schemas.openxmlformats.org/officeDocument/2006/relationships/tags" Target="../tags/tag691.xml"/><Relationship Id="rId115" Type="http://schemas.openxmlformats.org/officeDocument/2006/relationships/tags" Target="../tags/tag696.xml"/><Relationship Id="rId131" Type="http://schemas.openxmlformats.org/officeDocument/2006/relationships/tags" Target="../tags/tag712.xml"/><Relationship Id="rId136" Type="http://schemas.openxmlformats.org/officeDocument/2006/relationships/tags" Target="../tags/tag717.xml"/><Relationship Id="rId157" Type="http://schemas.openxmlformats.org/officeDocument/2006/relationships/tags" Target="../tags/tag738.xml"/><Relationship Id="rId178" Type="http://schemas.openxmlformats.org/officeDocument/2006/relationships/tags" Target="../tags/tag759.xml"/><Relationship Id="rId61" Type="http://schemas.openxmlformats.org/officeDocument/2006/relationships/tags" Target="../tags/tag642.xml"/><Relationship Id="rId82" Type="http://schemas.openxmlformats.org/officeDocument/2006/relationships/tags" Target="../tags/tag663.xml"/><Relationship Id="rId152" Type="http://schemas.openxmlformats.org/officeDocument/2006/relationships/tags" Target="../tags/tag733.xml"/><Relationship Id="rId173" Type="http://schemas.openxmlformats.org/officeDocument/2006/relationships/tags" Target="../tags/tag754.xml"/><Relationship Id="rId194" Type="http://schemas.openxmlformats.org/officeDocument/2006/relationships/oleObject" Target="../embeddings/oleObject10.bin"/><Relationship Id="rId19" Type="http://schemas.openxmlformats.org/officeDocument/2006/relationships/tags" Target="../tags/tag600.xml"/><Relationship Id="rId14" Type="http://schemas.openxmlformats.org/officeDocument/2006/relationships/tags" Target="../tags/tag595.xml"/><Relationship Id="rId30" Type="http://schemas.openxmlformats.org/officeDocument/2006/relationships/tags" Target="../tags/tag611.xml"/><Relationship Id="rId35" Type="http://schemas.openxmlformats.org/officeDocument/2006/relationships/tags" Target="../tags/tag616.xml"/><Relationship Id="rId56" Type="http://schemas.openxmlformats.org/officeDocument/2006/relationships/tags" Target="../tags/tag637.xml"/><Relationship Id="rId77" Type="http://schemas.openxmlformats.org/officeDocument/2006/relationships/tags" Target="../tags/tag658.xml"/><Relationship Id="rId100" Type="http://schemas.openxmlformats.org/officeDocument/2006/relationships/tags" Target="../tags/tag681.xml"/><Relationship Id="rId105" Type="http://schemas.openxmlformats.org/officeDocument/2006/relationships/tags" Target="../tags/tag686.xml"/><Relationship Id="rId126" Type="http://schemas.openxmlformats.org/officeDocument/2006/relationships/tags" Target="../tags/tag707.xml"/><Relationship Id="rId147" Type="http://schemas.openxmlformats.org/officeDocument/2006/relationships/tags" Target="../tags/tag728.xml"/><Relationship Id="rId168" Type="http://schemas.openxmlformats.org/officeDocument/2006/relationships/tags" Target="../tags/tag749.xml"/><Relationship Id="rId8" Type="http://schemas.openxmlformats.org/officeDocument/2006/relationships/tags" Target="../tags/tag589.xml"/><Relationship Id="rId51" Type="http://schemas.openxmlformats.org/officeDocument/2006/relationships/tags" Target="../tags/tag632.xml"/><Relationship Id="rId72" Type="http://schemas.openxmlformats.org/officeDocument/2006/relationships/tags" Target="../tags/tag653.xml"/><Relationship Id="rId93" Type="http://schemas.openxmlformats.org/officeDocument/2006/relationships/tags" Target="../tags/tag674.xml"/><Relationship Id="rId98" Type="http://schemas.openxmlformats.org/officeDocument/2006/relationships/tags" Target="../tags/tag679.xml"/><Relationship Id="rId121" Type="http://schemas.openxmlformats.org/officeDocument/2006/relationships/tags" Target="../tags/tag702.xml"/><Relationship Id="rId142" Type="http://schemas.openxmlformats.org/officeDocument/2006/relationships/tags" Target="../tags/tag723.xml"/><Relationship Id="rId163" Type="http://schemas.openxmlformats.org/officeDocument/2006/relationships/tags" Target="../tags/tag744.xml"/><Relationship Id="rId184" Type="http://schemas.openxmlformats.org/officeDocument/2006/relationships/tags" Target="../tags/tag765.xml"/><Relationship Id="rId189" Type="http://schemas.openxmlformats.org/officeDocument/2006/relationships/tags" Target="../tags/tag770.xml"/><Relationship Id="rId3" Type="http://schemas.openxmlformats.org/officeDocument/2006/relationships/tags" Target="../tags/tag584.xml"/><Relationship Id="rId25" Type="http://schemas.openxmlformats.org/officeDocument/2006/relationships/tags" Target="../tags/tag606.xml"/><Relationship Id="rId46" Type="http://schemas.openxmlformats.org/officeDocument/2006/relationships/tags" Target="../tags/tag627.xml"/><Relationship Id="rId67" Type="http://schemas.openxmlformats.org/officeDocument/2006/relationships/tags" Target="../tags/tag648.xml"/><Relationship Id="rId116" Type="http://schemas.openxmlformats.org/officeDocument/2006/relationships/tags" Target="../tags/tag697.xml"/><Relationship Id="rId137" Type="http://schemas.openxmlformats.org/officeDocument/2006/relationships/tags" Target="../tags/tag718.xml"/><Relationship Id="rId158" Type="http://schemas.openxmlformats.org/officeDocument/2006/relationships/tags" Target="../tags/tag739.xml"/><Relationship Id="rId20" Type="http://schemas.openxmlformats.org/officeDocument/2006/relationships/tags" Target="../tags/tag601.xml"/><Relationship Id="rId41" Type="http://schemas.openxmlformats.org/officeDocument/2006/relationships/tags" Target="../tags/tag622.xml"/><Relationship Id="rId62" Type="http://schemas.openxmlformats.org/officeDocument/2006/relationships/tags" Target="../tags/tag643.xml"/><Relationship Id="rId83" Type="http://schemas.openxmlformats.org/officeDocument/2006/relationships/tags" Target="../tags/tag664.xml"/><Relationship Id="rId88" Type="http://schemas.openxmlformats.org/officeDocument/2006/relationships/tags" Target="../tags/tag669.xml"/><Relationship Id="rId111" Type="http://schemas.openxmlformats.org/officeDocument/2006/relationships/tags" Target="../tags/tag692.xml"/><Relationship Id="rId132" Type="http://schemas.openxmlformats.org/officeDocument/2006/relationships/tags" Target="../tags/tag713.xml"/><Relationship Id="rId153" Type="http://schemas.openxmlformats.org/officeDocument/2006/relationships/tags" Target="../tags/tag734.xml"/><Relationship Id="rId174" Type="http://schemas.openxmlformats.org/officeDocument/2006/relationships/tags" Target="../tags/tag755.xml"/><Relationship Id="rId179" Type="http://schemas.openxmlformats.org/officeDocument/2006/relationships/tags" Target="../tags/tag760.xml"/><Relationship Id="rId195" Type="http://schemas.openxmlformats.org/officeDocument/2006/relationships/image" Target="../media/image1.emf"/><Relationship Id="rId190" Type="http://schemas.openxmlformats.org/officeDocument/2006/relationships/tags" Target="../tags/tag771.xml"/><Relationship Id="rId15" Type="http://schemas.openxmlformats.org/officeDocument/2006/relationships/tags" Target="../tags/tag596.xml"/><Relationship Id="rId36" Type="http://schemas.openxmlformats.org/officeDocument/2006/relationships/tags" Target="../tags/tag617.xml"/><Relationship Id="rId57" Type="http://schemas.openxmlformats.org/officeDocument/2006/relationships/tags" Target="../tags/tag638.xml"/><Relationship Id="rId106" Type="http://schemas.openxmlformats.org/officeDocument/2006/relationships/tags" Target="../tags/tag687.xml"/><Relationship Id="rId127" Type="http://schemas.openxmlformats.org/officeDocument/2006/relationships/tags" Target="../tags/tag708.xml"/><Relationship Id="rId10" Type="http://schemas.openxmlformats.org/officeDocument/2006/relationships/tags" Target="../tags/tag591.xml"/><Relationship Id="rId31" Type="http://schemas.openxmlformats.org/officeDocument/2006/relationships/tags" Target="../tags/tag612.xml"/><Relationship Id="rId52" Type="http://schemas.openxmlformats.org/officeDocument/2006/relationships/tags" Target="../tags/tag633.xml"/><Relationship Id="rId73" Type="http://schemas.openxmlformats.org/officeDocument/2006/relationships/tags" Target="../tags/tag654.xml"/><Relationship Id="rId78" Type="http://schemas.openxmlformats.org/officeDocument/2006/relationships/tags" Target="../tags/tag659.xml"/><Relationship Id="rId94" Type="http://schemas.openxmlformats.org/officeDocument/2006/relationships/tags" Target="../tags/tag675.xml"/><Relationship Id="rId99" Type="http://schemas.openxmlformats.org/officeDocument/2006/relationships/tags" Target="../tags/tag680.xml"/><Relationship Id="rId101" Type="http://schemas.openxmlformats.org/officeDocument/2006/relationships/tags" Target="../tags/tag682.xml"/><Relationship Id="rId122" Type="http://schemas.openxmlformats.org/officeDocument/2006/relationships/tags" Target="../tags/tag703.xml"/><Relationship Id="rId143" Type="http://schemas.openxmlformats.org/officeDocument/2006/relationships/tags" Target="../tags/tag724.xml"/><Relationship Id="rId148" Type="http://schemas.openxmlformats.org/officeDocument/2006/relationships/tags" Target="../tags/tag729.xml"/><Relationship Id="rId164" Type="http://schemas.openxmlformats.org/officeDocument/2006/relationships/tags" Target="../tags/tag745.xml"/><Relationship Id="rId169" Type="http://schemas.openxmlformats.org/officeDocument/2006/relationships/tags" Target="../tags/tag750.xml"/><Relationship Id="rId185" Type="http://schemas.openxmlformats.org/officeDocument/2006/relationships/tags" Target="../tags/tag766.xml"/><Relationship Id="rId4" Type="http://schemas.openxmlformats.org/officeDocument/2006/relationships/tags" Target="../tags/tag585.xml"/><Relationship Id="rId9" Type="http://schemas.openxmlformats.org/officeDocument/2006/relationships/tags" Target="../tags/tag590.xml"/><Relationship Id="rId180" Type="http://schemas.openxmlformats.org/officeDocument/2006/relationships/tags" Target="../tags/tag761.xml"/><Relationship Id="rId26" Type="http://schemas.openxmlformats.org/officeDocument/2006/relationships/tags" Target="../tags/tag607.xml"/><Relationship Id="rId47" Type="http://schemas.openxmlformats.org/officeDocument/2006/relationships/tags" Target="../tags/tag628.xml"/><Relationship Id="rId68" Type="http://schemas.openxmlformats.org/officeDocument/2006/relationships/tags" Target="../tags/tag649.xml"/><Relationship Id="rId89" Type="http://schemas.openxmlformats.org/officeDocument/2006/relationships/tags" Target="../tags/tag670.xml"/><Relationship Id="rId112" Type="http://schemas.openxmlformats.org/officeDocument/2006/relationships/tags" Target="../tags/tag693.xml"/><Relationship Id="rId133" Type="http://schemas.openxmlformats.org/officeDocument/2006/relationships/tags" Target="../tags/tag714.xml"/><Relationship Id="rId154" Type="http://schemas.openxmlformats.org/officeDocument/2006/relationships/tags" Target="../tags/tag735.xml"/><Relationship Id="rId175" Type="http://schemas.openxmlformats.org/officeDocument/2006/relationships/tags" Target="../tags/tag756.xml"/><Relationship Id="rId16" Type="http://schemas.openxmlformats.org/officeDocument/2006/relationships/tags" Target="../tags/tag597.xml"/><Relationship Id="rId37" Type="http://schemas.openxmlformats.org/officeDocument/2006/relationships/tags" Target="../tags/tag618.xml"/><Relationship Id="rId58" Type="http://schemas.openxmlformats.org/officeDocument/2006/relationships/tags" Target="../tags/tag639.xml"/><Relationship Id="rId79" Type="http://schemas.openxmlformats.org/officeDocument/2006/relationships/tags" Target="../tags/tag660.xml"/><Relationship Id="rId102" Type="http://schemas.openxmlformats.org/officeDocument/2006/relationships/tags" Target="../tags/tag683.xml"/><Relationship Id="rId123" Type="http://schemas.openxmlformats.org/officeDocument/2006/relationships/tags" Target="../tags/tag704.xml"/><Relationship Id="rId144" Type="http://schemas.openxmlformats.org/officeDocument/2006/relationships/tags" Target="../tags/tag725.xml"/><Relationship Id="rId90" Type="http://schemas.openxmlformats.org/officeDocument/2006/relationships/tags" Target="../tags/tag671.xml"/><Relationship Id="rId165" Type="http://schemas.openxmlformats.org/officeDocument/2006/relationships/tags" Target="../tags/tag746.xml"/><Relationship Id="rId186" Type="http://schemas.openxmlformats.org/officeDocument/2006/relationships/tags" Target="../tags/tag767.xml"/><Relationship Id="rId27" Type="http://schemas.openxmlformats.org/officeDocument/2006/relationships/tags" Target="../tags/tag608.xml"/><Relationship Id="rId48" Type="http://schemas.openxmlformats.org/officeDocument/2006/relationships/tags" Target="../tags/tag629.xml"/><Relationship Id="rId69" Type="http://schemas.openxmlformats.org/officeDocument/2006/relationships/tags" Target="../tags/tag650.xml"/><Relationship Id="rId113" Type="http://schemas.openxmlformats.org/officeDocument/2006/relationships/tags" Target="../tags/tag694.xml"/><Relationship Id="rId134" Type="http://schemas.openxmlformats.org/officeDocument/2006/relationships/tags" Target="../tags/tag715.xml"/><Relationship Id="rId80" Type="http://schemas.openxmlformats.org/officeDocument/2006/relationships/tags" Target="../tags/tag661.xml"/><Relationship Id="rId155" Type="http://schemas.openxmlformats.org/officeDocument/2006/relationships/tags" Target="../tags/tag736.xml"/><Relationship Id="rId176" Type="http://schemas.openxmlformats.org/officeDocument/2006/relationships/tags" Target="../tags/tag757.xml"/><Relationship Id="rId17" Type="http://schemas.openxmlformats.org/officeDocument/2006/relationships/tags" Target="../tags/tag598.xml"/><Relationship Id="rId38" Type="http://schemas.openxmlformats.org/officeDocument/2006/relationships/tags" Target="../tags/tag619.xml"/><Relationship Id="rId59" Type="http://schemas.openxmlformats.org/officeDocument/2006/relationships/tags" Target="../tags/tag640.xml"/><Relationship Id="rId103" Type="http://schemas.openxmlformats.org/officeDocument/2006/relationships/tags" Target="../tags/tag684.xml"/><Relationship Id="rId124" Type="http://schemas.openxmlformats.org/officeDocument/2006/relationships/tags" Target="../tags/tag705.xml"/><Relationship Id="rId70" Type="http://schemas.openxmlformats.org/officeDocument/2006/relationships/tags" Target="../tags/tag651.xml"/><Relationship Id="rId91" Type="http://schemas.openxmlformats.org/officeDocument/2006/relationships/tags" Target="../tags/tag672.xml"/><Relationship Id="rId145" Type="http://schemas.openxmlformats.org/officeDocument/2006/relationships/tags" Target="../tags/tag726.xml"/><Relationship Id="rId166" Type="http://schemas.openxmlformats.org/officeDocument/2006/relationships/tags" Target="../tags/tag747.xml"/><Relationship Id="rId187" Type="http://schemas.openxmlformats.org/officeDocument/2006/relationships/tags" Target="../tags/tag768.xml"/><Relationship Id="rId1" Type="http://schemas.openxmlformats.org/officeDocument/2006/relationships/tags" Target="../tags/tag582.xml"/><Relationship Id="rId28" Type="http://schemas.openxmlformats.org/officeDocument/2006/relationships/tags" Target="../tags/tag609.xml"/><Relationship Id="rId49" Type="http://schemas.openxmlformats.org/officeDocument/2006/relationships/tags" Target="../tags/tag630.xml"/><Relationship Id="rId114" Type="http://schemas.openxmlformats.org/officeDocument/2006/relationships/tags" Target="../tags/tag695.xml"/><Relationship Id="rId60" Type="http://schemas.openxmlformats.org/officeDocument/2006/relationships/tags" Target="../tags/tag641.xml"/><Relationship Id="rId81" Type="http://schemas.openxmlformats.org/officeDocument/2006/relationships/tags" Target="../tags/tag662.xml"/><Relationship Id="rId135" Type="http://schemas.openxmlformats.org/officeDocument/2006/relationships/tags" Target="../tags/tag716.xml"/><Relationship Id="rId156" Type="http://schemas.openxmlformats.org/officeDocument/2006/relationships/tags" Target="../tags/tag737.xml"/><Relationship Id="rId177" Type="http://schemas.openxmlformats.org/officeDocument/2006/relationships/tags" Target="../tags/tag758.xml"/><Relationship Id="rId18" Type="http://schemas.openxmlformats.org/officeDocument/2006/relationships/tags" Target="../tags/tag599.xml"/><Relationship Id="rId39" Type="http://schemas.openxmlformats.org/officeDocument/2006/relationships/tags" Target="../tags/tag620.xml"/></Relationships>
</file>

<file path=ppt/slides/_rels/slide15.xml.rels><?xml version="1.0" encoding="UTF-8" standalone="yes"?>
<Relationships xmlns="http://schemas.openxmlformats.org/package/2006/relationships"><Relationship Id="rId117" Type="http://schemas.openxmlformats.org/officeDocument/2006/relationships/tags" Target="../tags/tag889.xml"/><Relationship Id="rId21" Type="http://schemas.openxmlformats.org/officeDocument/2006/relationships/tags" Target="../tags/tag793.xml"/><Relationship Id="rId42" Type="http://schemas.openxmlformats.org/officeDocument/2006/relationships/tags" Target="../tags/tag814.xml"/><Relationship Id="rId63" Type="http://schemas.openxmlformats.org/officeDocument/2006/relationships/tags" Target="../tags/tag835.xml"/><Relationship Id="rId84" Type="http://schemas.openxmlformats.org/officeDocument/2006/relationships/tags" Target="../tags/tag856.xml"/><Relationship Id="rId138" Type="http://schemas.openxmlformats.org/officeDocument/2006/relationships/tags" Target="../tags/tag910.xml"/><Relationship Id="rId159" Type="http://schemas.openxmlformats.org/officeDocument/2006/relationships/tags" Target="../tags/tag931.xml"/><Relationship Id="rId170" Type="http://schemas.openxmlformats.org/officeDocument/2006/relationships/tags" Target="../tags/tag942.xml"/><Relationship Id="rId107" Type="http://schemas.openxmlformats.org/officeDocument/2006/relationships/tags" Target="../tags/tag879.xml"/><Relationship Id="rId11" Type="http://schemas.openxmlformats.org/officeDocument/2006/relationships/tags" Target="../tags/tag783.xml"/><Relationship Id="rId32" Type="http://schemas.openxmlformats.org/officeDocument/2006/relationships/tags" Target="../tags/tag804.xml"/><Relationship Id="rId53" Type="http://schemas.openxmlformats.org/officeDocument/2006/relationships/tags" Target="../tags/tag825.xml"/><Relationship Id="rId74" Type="http://schemas.openxmlformats.org/officeDocument/2006/relationships/tags" Target="../tags/tag846.xml"/><Relationship Id="rId128" Type="http://schemas.openxmlformats.org/officeDocument/2006/relationships/tags" Target="../tags/tag900.xml"/><Relationship Id="rId149" Type="http://schemas.openxmlformats.org/officeDocument/2006/relationships/tags" Target="../tags/tag921.xml"/><Relationship Id="rId5" Type="http://schemas.openxmlformats.org/officeDocument/2006/relationships/tags" Target="../tags/tag777.xml"/><Relationship Id="rId95" Type="http://schemas.openxmlformats.org/officeDocument/2006/relationships/tags" Target="../tags/tag867.xml"/><Relationship Id="rId160" Type="http://schemas.openxmlformats.org/officeDocument/2006/relationships/tags" Target="../tags/tag932.xml"/><Relationship Id="rId181" Type="http://schemas.openxmlformats.org/officeDocument/2006/relationships/notesSlide" Target="../notesSlides/notesSlide15.xml"/><Relationship Id="rId22" Type="http://schemas.openxmlformats.org/officeDocument/2006/relationships/tags" Target="../tags/tag794.xml"/><Relationship Id="rId43" Type="http://schemas.openxmlformats.org/officeDocument/2006/relationships/tags" Target="../tags/tag815.xml"/><Relationship Id="rId64" Type="http://schemas.openxmlformats.org/officeDocument/2006/relationships/tags" Target="../tags/tag836.xml"/><Relationship Id="rId118" Type="http://schemas.openxmlformats.org/officeDocument/2006/relationships/tags" Target="../tags/tag890.xml"/><Relationship Id="rId139" Type="http://schemas.openxmlformats.org/officeDocument/2006/relationships/tags" Target="../tags/tag911.xml"/><Relationship Id="rId85" Type="http://schemas.openxmlformats.org/officeDocument/2006/relationships/tags" Target="../tags/tag857.xml"/><Relationship Id="rId150" Type="http://schemas.openxmlformats.org/officeDocument/2006/relationships/tags" Target="../tags/tag922.xml"/><Relationship Id="rId171" Type="http://schemas.openxmlformats.org/officeDocument/2006/relationships/tags" Target="../tags/tag943.xml"/><Relationship Id="rId12" Type="http://schemas.openxmlformats.org/officeDocument/2006/relationships/tags" Target="../tags/tag784.xml"/><Relationship Id="rId33" Type="http://schemas.openxmlformats.org/officeDocument/2006/relationships/tags" Target="../tags/tag805.xml"/><Relationship Id="rId108" Type="http://schemas.openxmlformats.org/officeDocument/2006/relationships/tags" Target="../tags/tag880.xml"/><Relationship Id="rId129" Type="http://schemas.openxmlformats.org/officeDocument/2006/relationships/tags" Target="../tags/tag901.xml"/><Relationship Id="rId54" Type="http://schemas.openxmlformats.org/officeDocument/2006/relationships/tags" Target="../tags/tag826.xml"/><Relationship Id="rId75" Type="http://schemas.openxmlformats.org/officeDocument/2006/relationships/tags" Target="../tags/tag847.xml"/><Relationship Id="rId96" Type="http://schemas.openxmlformats.org/officeDocument/2006/relationships/tags" Target="../tags/tag868.xml"/><Relationship Id="rId140" Type="http://schemas.openxmlformats.org/officeDocument/2006/relationships/tags" Target="../tags/tag912.xml"/><Relationship Id="rId161" Type="http://schemas.openxmlformats.org/officeDocument/2006/relationships/tags" Target="../tags/tag933.xml"/><Relationship Id="rId182" Type="http://schemas.openxmlformats.org/officeDocument/2006/relationships/oleObject" Target="../embeddings/oleObject11.bin"/><Relationship Id="rId6" Type="http://schemas.openxmlformats.org/officeDocument/2006/relationships/tags" Target="../tags/tag778.xml"/><Relationship Id="rId23" Type="http://schemas.openxmlformats.org/officeDocument/2006/relationships/tags" Target="../tags/tag795.xml"/><Relationship Id="rId119" Type="http://schemas.openxmlformats.org/officeDocument/2006/relationships/tags" Target="../tags/tag891.xml"/><Relationship Id="rId44" Type="http://schemas.openxmlformats.org/officeDocument/2006/relationships/tags" Target="../tags/tag816.xml"/><Relationship Id="rId60" Type="http://schemas.openxmlformats.org/officeDocument/2006/relationships/tags" Target="../tags/tag832.xml"/><Relationship Id="rId65" Type="http://schemas.openxmlformats.org/officeDocument/2006/relationships/tags" Target="../tags/tag837.xml"/><Relationship Id="rId81" Type="http://schemas.openxmlformats.org/officeDocument/2006/relationships/tags" Target="../tags/tag853.xml"/><Relationship Id="rId86" Type="http://schemas.openxmlformats.org/officeDocument/2006/relationships/tags" Target="../tags/tag858.xml"/><Relationship Id="rId130" Type="http://schemas.openxmlformats.org/officeDocument/2006/relationships/tags" Target="../tags/tag902.xml"/><Relationship Id="rId135" Type="http://schemas.openxmlformats.org/officeDocument/2006/relationships/tags" Target="../tags/tag907.xml"/><Relationship Id="rId151" Type="http://schemas.openxmlformats.org/officeDocument/2006/relationships/tags" Target="../tags/tag923.xml"/><Relationship Id="rId156" Type="http://schemas.openxmlformats.org/officeDocument/2006/relationships/tags" Target="../tags/tag928.xml"/><Relationship Id="rId177" Type="http://schemas.openxmlformats.org/officeDocument/2006/relationships/tags" Target="../tags/tag949.xml"/><Relationship Id="rId172" Type="http://schemas.openxmlformats.org/officeDocument/2006/relationships/tags" Target="../tags/tag944.xml"/><Relationship Id="rId13" Type="http://schemas.openxmlformats.org/officeDocument/2006/relationships/tags" Target="../tags/tag785.xml"/><Relationship Id="rId18" Type="http://schemas.openxmlformats.org/officeDocument/2006/relationships/tags" Target="../tags/tag790.xml"/><Relationship Id="rId39" Type="http://schemas.openxmlformats.org/officeDocument/2006/relationships/tags" Target="../tags/tag811.xml"/><Relationship Id="rId109" Type="http://schemas.openxmlformats.org/officeDocument/2006/relationships/tags" Target="../tags/tag881.xml"/><Relationship Id="rId34" Type="http://schemas.openxmlformats.org/officeDocument/2006/relationships/tags" Target="../tags/tag806.xml"/><Relationship Id="rId50" Type="http://schemas.openxmlformats.org/officeDocument/2006/relationships/tags" Target="../tags/tag822.xml"/><Relationship Id="rId55" Type="http://schemas.openxmlformats.org/officeDocument/2006/relationships/tags" Target="../tags/tag827.xml"/><Relationship Id="rId76" Type="http://schemas.openxmlformats.org/officeDocument/2006/relationships/tags" Target="../tags/tag848.xml"/><Relationship Id="rId97" Type="http://schemas.openxmlformats.org/officeDocument/2006/relationships/tags" Target="../tags/tag869.xml"/><Relationship Id="rId104" Type="http://schemas.openxmlformats.org/officeDocument/2006/relationships/tags" Target="../tags/tag876.xml"/><Relationship Id="rId120" Type="http://schemas.openxmlformats.org/officeDocument/2006/relationships/tags" Target="../tags/tag892.xml"/><Relationship Id="rId125" Type="http://schemas.openxmlformats.org/officeDocument/2006/relationships/tags" Target="../tags/tag897.xml"/><Relationship Id="rId141" Type="http://schemas.openxmlformats.org/officeDocument/2006/relationships/tags" Target="../tags/tag913.xml"/><Relationship Id="rId146" Type="http://schemas.openxmlformats.org/officeDocument/2006/relationships/tags" Target="../tags/tag918.xml"/><Relationship Id="rId167" Type="http://schemas.openxmlformats.org/officeDocument/2006/relationships/tags" Target="../tags/tag939.xml"/><Relationship Id="rId7" Type="http://schemas.openxmlformats.org/officeDocument/2006/relationships/tags" Target="../tags/tag779.xml"/><Relationship Id="rId71" Type="http://schemas.openxmlformats.org/officeDocument/2006/relationships/tags" Target="../tags/tag843.xml"/><Relationship Id="rId92" Type="http://schemas.openxmlformats.org/officeDocument/2006/relationships/tags" Target="../tags/tag864.xml"/><Relationship Id="rId162" Type="http://schemas.openxmlformats.org/officeDocument/2006/relationships/tags" Target="../tags/tag934.xml"/><Relationship Id="rId183" Type="http://schemas.openxmlformats.org/officeDocument/2006/relationships/image" Target="../media/image1.emf"/><Relationship Id="rId2" Type="http://schemas.openxmlformats.org/officeDocument/2006/relationships/tags" Target="../tags/tag774.xml"/><Relationship Id="rId29" Type="http://schemas.openxmlformats.org/officeDocument/2006/relationships/tags" Target="../tags/tag801.xml"/><Relationship Id="rId24" Type="http://schemas.openxmlformats.org/officeDocument/2006/relationships/tags" Target="../tags/tag796.xml"/><Relationship Id="rId40" Type="http://schemas.openxmlformats.org/officeDocument/2006/relationships/tags" Target="../tags/tag812.xml"/><Relationship Id="rId45" Type="http://schemas.openxmlformats.org/officeDocument/2006/relationships/tags" Target="../tags/tag817.xml"/><Relationship Id="rId66" Type="http://schemas.openxmlformats.org/officeDocument/2006/relationships/tags" Target="../tags/tag838.xml"/><Relationship Id="rId87" Type="http://schemas.openxmlformats.org/officeDocument/2006/relationships/tags" Target="../tags/tag859.xml"/><Relationship Id="rId110" Type="http://schemas.openxmlformats.org/officeDocument/2006/relationships/tags" Target="../tags/tag882.xml"/><Relationship Id="rId115" Type="http://schemas.openxmlformats.org/officeDocument/2006/relationships/tags" Target="../tags/tag887.xml"/><Relationship Id="rId131" Type="http://schemas.openxmlformats.org/officeDocument/2006/relationships/tags" Target="../tags/tag903.xml"/><Relationship Id="rId136" Type="http://schemas.openxmlformats.org/officeDocument/2006/relationships/tags" Target="../tags/tag908.xml"/><Relationship Id="rId157" Type="http://schemas.openxmlformats.org/officeDocument/2006/relationships/tags" Target="../tags/tag929.xml"/><Relationship Id="rId178" Type="http://schemas.openxmlformats.org/officeDocument/2006/relationships/tags" Target="../tags/tag950.xml"/><Relationship Id="rId61" Type="http://schemas.openxmlformats.org/officeDocument/2006/relationships/tags" Target="../tags/tag833.xml"/><Relationship Id="rId82" Type="http://schemas.openxmlformats.org/officeDocument/2006/relationships/tags" Target="../tags/tag854.xml"/><Relationship Id="rId152" Type="http://schemas.openxmlformats.org/officeDocument/2006/relationships/tags" Target="../tags/tag924.xml"/><Relationship Id="rId173" Type="http://schemas.openxmlformats.org/officeDocument/2006/relationships/tags" Target="../tags/tag945.xml"/><Relationship Id="rId19" Type="http://schemas.openxmlformats.org/officeDocument/2006/relationships/tags" Target="../tags/tag791.xml"/><Relationship Id="rId14" Type="http://schemas.openxmlformats.org/officeDocument/2006/relationships/tags" Target="../tags/tag786.xml"/><Relationship Id="rId30" Type="http://schemas.openxmlformats.org/officeDocument/2006/relationships/tags" Target="../tags/tag802.xml"/><Relationship Id="rId35" Type="http://schemas.openxmlformats.org/officeDocument/2006/relationships/tags" Target="../tags/tag807.xml"/><Relationship Id="rId56" Type="http://schemas.openxmlformats.org/officeDocument/2006/relationships/tags" Target="../tags/tag828.xml"/><Relationship Id="rId77" Type="http://schemas.openxmlformats.org/officeDocument/2006/relationships/tags" Target="../tags/tag849.xml"/><Relationship Id="rId100" Type="http://schemas.openxmlformats.org/officeDocument/2006/relationships/tags" Target="../tags/tag872.xml"/><Relationship Id="rId105" Type="http://schemas.openxmlformats.org/officeDocument/2006/relationships/tags" Target="../tags/tag877.xml"/><Relationship Id="rId126" Type="http://schemas.openxmlformats.org/officeDocument/2006/relationships/tags" Target="../tags/tag898.xml"/><Relationship Id="rId147" Type="http://schemas.openxmlformats.org/officeDocument/2006/relationships/tags" Target="../tags/tag919.xml"/><Relationship Id="rId168" Type="http://schemas.openxmlformats.org/officeDocument/2006/relationships/tags" Target="../tags/tag940.xml"/><Relationship Id="rId8" Type="http://schemas.openxmlformats.org/officeDocument/2006/relationships/tags" Target="../tags/tag780.xml"/><Relationship Id="rId51" Type="http://schemas.openxmlformats.org/officeDocument/2006/relationships/tags" Target="../tags/tag823.xml"/><Relationship Id="rId72" Type="http://schemas.openxmlformats.org/officeDocument/2006/relationships/tags" Target="../tags/tag844.xml"/><Relationship Id="rId93" Type="http://schemas.openxmlformats.org/officeDocument/2006/relationships/tags" Target="../tags/tag865.xml"/><Relationship Id="rId98" Type="http://schemas.openxmlformats.org/officeDocument/2006/relationships/tags" Target="../tags/tag870.xml"/><Relationship Id="rId121" Type="http://schemas.openxmlformats.org/officeDocument/2006/relationships/tags" Target="../tags/tag893.xml"/><Relationship Id="rId142" Type="http://schemas.openxmlformats.org/officeDocument/2006/relationships/tags" Target="../tags/tag914.xml"/><Relationship Id="rId163" Type="http://schemas.openxmlformats.org/officeDocument/2006/relationships/tags" Target="../tags/tag935.xml"/><Relationship Id="rId3" Type="http://schemas.openxmlformats.org/officeDocument/2006/relationships/tags" Target="../tags/tag775.xml"/><Relationship Id="rId25" Type="http://schemas.openxmlformats.org/officeDocument/2006/relationships/tags" Target="../tags/tag797.xml"/><Relationship Id="rId46" Type="http://schemas.openxmlformats.org/officeDocument/2006/relationships/tags" Target="../tags/tag818.xml"/><Relationship Id="rId67" Type="http://schemas.openxmlformats.org/officeDocument/2006/relationships/tags" Target="../tags/tag839.xml"/><Relationship Id="rId116" Type="http://schemas.openxmlformats.org/officeDocument/2006/relationships/tags" Target="../tags/tag888.xml"/><Relationship Id="rId137" Type="http://schemas.openxmlformats.org/officeDocument/2006/relationships/tags" Target="../tags/tag909.xml"/><Relationship Id="rId158" Type="http://schemas.openxmlformats.org/officeDocument/2006/relationships/tags" Target="../tags/tag930.xml"/><Relationship Id="rId20" Type="http://schemas.openxmlformats.org/officeDocument/2006/relationships/tags" Target="../tags/tag792.xml"/><Relationship Id="rId41" Type="http://schemas.openxmlformats.org/officeDocument/2006/relationships/tags" Target="../tags/tag813.xml"/><Relationship Id="rId62" Type="http://schemas.openxmlformats.org/officeDocument/2006/relationships/tags" Target="../tags/tag834.xml"/><Relationship Id="rId83" Type="http://schemas.openxmlformats.org/officeDocument/2006/relationships/tags" Target="../tags/tag855.xml"/><Relationship Id="rId88" Type="http://schemas.openxmlformats.org/officeDocument/2006/relationships/tags" Target="../tags/tag860.xml"/><Relationship Id="rId111" Type="http://schemas.openxmlformats.org/officeDocument/2006/relationships/tags" Target="../tags/tag883.xml"/><Relationship Id="rId132" Type="http://schemas.openxmlformats.org/officeDocument/2006/relationships/tags" Target="../tags/tag904.xml"/><Relationship Id="rId153" Type="http://schemas.openxmlformats.org/officeDocument/2006/relationships/tags" Target="../tags/tag925.xml"/><Relationship Id="rId174" Type="http://schemas.openxmlformats.org/officeDocument/2006/relationships/tags" Target="../tags/tag946.xml"/><Relationship Id="rId179" Type="http://schemas.openxmlformats.org/officeDocument/2006/relationships/tags" Target="../tags/tag951.xml"/><Relationship Id="rId15" Type="http://schemas.openxmlformats.org/officeDocument/2006/relationships/tags" Target="../tags/tag787.xml"/><Relationship Id="rId36" Type="http://schemas.openxmlformats.org/officeDocument/2006/relationships/tags" Target="../tags/tag808.xml"/><Relationship Id="rId57" Type="http://schemas.openxmlformats.org/officeDocument/2006/relationships/tags" Target="../tags/tag829.xml"/><Relationship Id="rId106" Type="http://schemas.openxmlformats.org/officeDocument/2006/relationships/tags" Target="../tags/tag878.xml"/><Relationship Id="rId127" Type="http://schemas.openxmlformats.org/officeDocument/2006/relationships/tags" Target="../tags/tag899.xml"/><Relationship Id="rId10" Type="http://schemas.openxmlformats.org/officeDocument/2006/relationships/tags" Target="../tags/tag782.xml"/><Relationship Id="rId31" Type="http://schemas.openxmlformats.org/officeDocument/2006/relationships/tags" Target="../tags/tag803.xml"/><Relationship Id="rId52" Type="http://schemas.openxmlformats.org/officeDocument/2006/relationships/tags" Target="../tags/tag824.xml"/><Relationship Id="rId73" Type="http://schemas.openxmlformats.org/officeDocument/2006/relationships/tags" Target="../tags/tag845.xml"/><Relationship Id="rId78" Type="http://schemas.openxmlformats.org/officeDocument/2006/relationships/tags" Target="../tags/tag850.xml"/><Relationship Id="rId94" Type="http://schemas.openxmlformats.org/officeDocument/2006/relationships/tags" Target="../tags/tag866.xml"/><Relationship Id="rId99" Type="http://schemas.openxmlformats.org/officeDocument/2006/relationships/tags" Target="../tags/tag871.xml"/><Relationship Id="rId101" Type="http://schemas.openxmlformats.org/officeDocument/2006/relationships/tags" Target="../tags/tag873.xml"/><Relationship Id="rId122" Type="http://schemas.openxmlformats.org/officeDocument/2006/relationships/tags" Target="../tags/tag894.xml"/><Relationship Id="rId143" Type="http://schemas.openxmlformats.org/officeDocument/2006/relationships/tags" Target="../tags/tag915.xml"/><Relationship Id="rId148" Type="http://schemas.openxmlformats.org/officeDocument/2006/relationships/tags" Target="../tags/tag920.xml"/><Relationship Id="rId164" Type="http://schemas.openxmlformats.org/officeDocument/2006/relationships/tags" Target="../tags/tag936.xml"/><Relationship Id="rId169" Type="http://schemas.openxmlformats.org/officeDocument/2006/relationships/tags" Target="../tags/tag941.xml"/><Relationship Id="rId4" Type="http://schemas.openxmlformats.org/officeDocument/2006/relationships/tags" Target="../tags/tag776.xml"/><Relationship Id="rId9" Type="http://schemas.openxmlformats.org/officeDocument/2006/relationships/tags" Target="../tags/tag781.xml"/><Relationship Id="rId180" Type="http://schemas.openxmlformats.org/officeDocument/2006/relationships/slideLayout" Target="../slideLayouts/slideLayout6.xml"/><Relationship Id="rId26" Type="http://schemas.openxmlformats.org/officeDocument/2006/relationships/tags" Target="../tags/tag798.xml"/><Relationship Id="rId47" Type="http://schemas.openxmlformats.org/officeDocument/2006/relationships/tags" Target="../tags/tag819.xml"/><Relationship Id="rId68" Type="http://schemas.openxmlformats.org/officeDocument/2006/relationships/tags" Target="../tags/tag840.xml"/><Relationship Id="rId89" Type="http://schemas.openxmlformats.org/officeDocument/2006/relationships/tags" Target="../tags/tag861.xml"/><Relationship Id="rId112" Type="http://schemas.openxmlformats.org/officeDocument/2006/relationships/tags" Target="../tags/tag884.xml"/><Relationship Id="rId133" Type="http://schemas.openxmlformats.org/officeDocument/2006/relationships/tags" Target="../tags/tag905.xml"/><Relationship Id="rId154" Type="http://schemas.openxmlformats.org/officeDocument/2006/relationships/tags" Target="../tags/tag926.xml"/><Relationship Id="rId175" Type="http://schemas.openxmlformats.org/officeDocument/2006/relationships/tags" Target="../tags/tag947.xml"/><Relationship Id="rId16" Type="http://schemas.openxmlformats.org/officeDocument/2006/relationships/tags" Target="../tags/tag788.xml"/><Relationship Id="rId37" Type="http://schemas.openxmlformats.org/officeDocument/2006/relationships/tags" Target="../tags/tag809.xml"/><Relationship Id="rId58" Type="http://schemas.openxmlformats.org/officeDocument/2006/relationships/tags" Target="../tags/tag830.xml"/><Relationship Id="rId79" Type="http://schemas.openxmlformats.org/officeDocument/2006/relationships/tags" Target="../tags/tag851.xml"/><Relationship Id="rId102" Type="http://schemas.openxmlformats.org/officeDocument/2006/relationships/tags" Target="../tags/tag874.xml"/><Relationship Id="rId123" Type="http://schemas.openxmlformats.org/officeDocument/2006/relationships/tags" Target="../tags/tag895.xml"/><Relationship Id="rId144" Type="http://schemas.openxmlformats.org/officeDocument/2006/relationships/tags" Target="../tags/tag916.xml"/><Relationship Id="rId90" Type="http://schemas.openxmlformats.org/officeDocument/2006/relationships/tags" Target="../tags/tag862.xml"/><Relationship Id="rId165" Type="http://schemas.openxmlformats.org/officeDocument/2006/relationships/tags" Target="../tags/tag937.xml"/><Relationship Id="rId27" Type="http://schemas.openxmlformats.org/officeDocument/2006/relationships/tags" Target="../tags/tag799.xml"/><Relationship Id="rId48" Type="http://schemas.openxmlformats.org/officeDocument/2006/relationships/tags" Target="../tags/tag820.xml"/><Relationship Id="rId69" Type="http://schemas.openxmlformats.org/officeDocument/2006/relationships/tags" Target="../tags/tag841.xml"/><Relationship Id="rId113" Type="http://schemas.openxmlformats.org/officeDocument/2006/relationships/tags" Target="../tags/tag885.xml"/><Relationship Id="rId134" Type="http://schemas.openxmlformats.org/officeDocument/2006/relationships/tags" Target="../tags/tag906.xml"/><Relationship Id="rId80" Type="http://schemas.openxmlformats.org/officeDocument/2006/relationships/tags" Target="../tags/tag852.xml"/><Relationship Id="rId155" Type="http://schemas.openxmlformats.org/officeDocument/2006/relationships/tags" Target="../tags/tag927.xml"/><Relationship Id="rId176" Type="http://schemas.openxmlformats.org/officeDocument/2006/relationships/tags" Target="../tags/tag948.xml"/><Relationship Id="rId17" Type="http://schemas.openxmlformats.org/officeDocument/2006/relationships/tags" Target="../tags/tag789.xml"/><Relationship Id="rId38" Type="http://schemas.openxmlformats.org/officeDocument/2006/relationships/tags" Target="../tags/tag810.xml"/><Relationship Id="rId59" Type="http://schemas.openxmlformats.org/officeDocument/2006/relationships/tags" Target="../tags/tag831.xml"/><Relationship Id="rId103" Type="http://schemas.openxmlformats.org/officeDocument/2006/relationships/tags" Target="../tags/tag875.xml"/><Relationship Id="rId124" Type="http://schemas.openxmlformats.org/officeDocument/2006/relationships/tags" Target="../tags/tag896.xml"/><Relationship Id="rId70" Type="http://schemas.openxmlformats.org/officeDocument/2006/relationships/tags" Target="../tags/tag842.xml"/><Relationship Id="rId91" Type="http://schemas.openxmlformats.org/officeDocument/2006/relationships/tags" Target="../tags/tag863.xml"/><Relationship Id="rId145" Type="http://schemas.openxmlformats.org/officeDocument/2006/relationships/tags" Target="../tags/tag917.xml"/><Relationship Id="rId166" Type="http://schemas.openxmlformats.org/officeDocument/2006/relationships/tags" Target="../tags/tag938.xml"/><Relationship Id="rId1" Type="http://schemas.openxmlformats.org/officeDocument/2006/relationships/tags" Target="../tags/tag773.xml"/><Relationship Id="rId28" Type="http://schemas.openxmlformats.org/officeDocument/2006/relationships/tags" Target="../tags/tag800.xml"/><Relationship Id="rId49" Type="http://schemas.openxmlformats.org/officeDocument/2006/relationships/tags" Target="../tags/tag821.xml"/><Relationship Id="rId114" Type="http://schemas.openxmlformats.org/officeDocument/2006/relationships/tags" Target="../tags/tag886.xml"/></Relationships>
</file>

<file path=ppt/slides/_rels/slide16.xml.rels><?xml version="1.0" encoding="UTF-8" standalone="yes"?>
<Relationships xmlns="http://schemas.openxmlformats.org/package/2006/relationships"><Relationship Id="rId117" Type="http://schemas.openxmlformats.org/officeDocument/2006/relationships/tags" Target="../tags/tag1068.xml"/><Relationship Id="rId21" Type="http://schemas.openxmlformats.org/officeDocument/2006/relationships/tags" Target="../tags/tag972.xml"/><Relationship Id="rId42" Type="http://schemas.openxmlformats.org/officeDocument/2006/relationships/tags" Target="../tags/tag993.xml"/><Relationship Id="rId63" Type="http://schemas.openxmlformats.org/officeDocument/2006/relationships/tags" Target="../tags/tag1014.xml"/><Relationship Id="rId84" Type="http://schemas.openxmlformats.org/officeDocument/2006/relationships/tags" Target="../tags/tag1035.xml"/><Relationship Id="rId138" Type="http://schemas.openxmlformats.org/officeDocument/2006/relationships/tags" Target="../tags/tag1089.xml"/><Relationship Id="rId159" Type="http://schemas.openxmlformats.org/officeDocument/2006/relationships/tags" Target="../tags/tag1110.xml"/><Relationship Id="rId170" Type="http://schemas.openxmlformats.org/officeDocument/2006/relationships/tags" Target="../tags/tag1121.xml"/><Relationship Id="rId107" Type="http://schemas.openxmlformats.org/officeDocument/2006/relationships/tags" Target="../tags/tag1058.xml"/><Relationship Id="rId11" Type="http://schemas.openxmlformats.org/officeDocument/2006/relationships/tags" Target="../tags/tag962.xml"/><Relationship Id="rId32" Type="http://schemas.openxmlformats.org/officeDocument/2006/relationships/tags" Target="../tags/tag983.xml"/><Relationship Id="rId53" Type="http://schemas.openxmlformats.org/officeDocument/2006/relationships/tags" Target="../tags/tag1004.xml"/><Relationship Id="rId74" Type="http://schemas.openxmlformats.org/officeDocument/2006/relationships/tags" Target="../tags/tag1025.xml"/><Relationship Id="rId128" Type="http://schemas.openxmlformats.org/officeDocument/2006/relationships/tags" Target="../tags/tag1079.xml"/><Relationship Id="rId149" Type="http://schemas.openxmlformats.org/officeDocument/2006/relationships/tags" Target="../tags/tag1100.xml"/><Relationship Id="rId5" Type="http://schemas.openxmlformats.org/officeDocument/2006/relationships/tags" Target="../tags/tag956.xml"/><Relationship Id="rId95" Type="http://schemas.openxmlformats.org/officeDocument/2006/relationships/tags" Target="../tags/tag1046.xml"/><Relationship Id="rId160" Type="http://schemas.openxmlformats.org/officeDocument/2006/relationships/tags" Target="../tags/tag1111.xml"/><Relationship Id="rId181" Type="http://schemas.openxmlformats.org/officeDocument/2006/relationships/notesSlide" Target="../notesSlides/notesSlide16.xml"/><Relationship Id="rId22" Type="http://schemas.openxmlformats.org/officeDocument/2006/relationships/tags" Target="../tags/tag973.xml"/><Relationship Id="rId43" Type="http://schemas.openxmlformats.org/officeDocument/2006/relationships/tags" Target="../tags/tag994.xml"/><Relationship Id="rId64" Type="http://schemas.openxmlformats.org/officeDocument/2006/relationships/tags" Target="../tags/tag1015.xml"/><Relationship Id="rId118" Type="http://schemas.openxmlformats.org/officeDocument/2006/relationships/tags" Target="../tags/tag1069.xml"/><Relationship Id="rId139" Type="http://schemas.openxmlformats.org/officeDocument/2006/relationships/tags" Target="../tags/tag1090.xml"/><Relationship Id="rId85" Type="http://schemas.openxmlformats.org/officeDocument/2006/relationships/tags" Target="../tags/tag1036.xml"/><Relationship Id="rId150" Type="http://schemas.openxmlformats.org/officeDocument/2006/relationships/tags" Target="../tags/tag1101.xml"/><Relationship Id="rId171" Type="http://schemas.openxmlformats.org/officeDocument/2006/relationships/tags" Target="../tags/tag1122.xml"/><Relationship Id="rId12" Type="http://schemas.openxmlformats.org/officeDocument/2006/relationships/tags" Target="../tags/tag963.xml"/><Relationship Id="rId33" Type="http://schemas.openxmlformats.org/officeDocument/2006/relationships/tags" Target="../tags/tag984.xml"/><Relationship Id="rId108" Type="http://schemas.openxmlformats.org/officeDocument/2006/relationships/tags" Target="../tags/tag1059.xml"/><Relationship Id="rId129" Type="http://schemas.openxmlformats.org/officeDocument/2006/relationships/tags" Target="../tags/tag1080.xml"/><Relationship Id="rId54" Type="http://schemas.openxmlformats.org/officeDocument/2006/relationships/tags" Target="../tags/tag1005.xml"/><Relationship Id="rId75" Type="http://schemas.openxmlformats.org/officeDocument/2006/relationships/tags" Target="../tags/tag1026.xml"/><Relationship Id="rId96" Type="http://schemas.openxmlformats.org/officeDocument/2006/relationships/tags" Target="../tags/tag1047.xml"/><Relationship Id="rId140" Type="http://schemas.openxmlformats.org/officeDocument/2006/relationships/tags" Target="../tags/tag1091.xml"/><Relationship Id="rId161" Type="http://schemas.openxmlformats.org/officeDocument/2006/relationships/tags" Target="../tags/tag1112.xml"/><Relationship Id="rId182" Type="http://schemas.openxmlformats.org/officeDocument/2006/relationships/oleObject" Target="../embeddings/oleObject12.bin"/><Relationship Id="rId6" Type="http://schemas.openxmlformats.org/officeDocument/2006/relationships/tags" Target="../tags/tag957.xml"/><Relationship Id="rId23" Type="http://schemas.openxmlformats.org/officeDocument/2006/relationships/tags" Target="../tags/tag974.xml"/><Relationship Id="rId119" Type="http://schemas.openxmlformats.org/officeDocument/2006/relationships/tags" Target="../tags/tag1070.xml"/><Relationship Id="rId44" Type="http://schemas.openxmlformats.org/officeDocument/2006/relationships/tags" Target="../tags/tag995.xml"/><Relationship Id="rId60" Type="http://schemas.openxmlformats.org/officeDocument/2006/relationships/tags" Target="../tags/tag1011.xml"/><Relationship Id="rId65" Type="http://schemas.openxmlformats.org/officeDocument/2006/relationships/tags" Target="../tags/tag1016.xml"/><Relationship Id="rId81" Type="http://schemas.openxmlformats.org/officeDocument/2006/relationships/tags" Target="../tags/tag1032.xml"/><Relationship Id="rId86" Type="http://schemas.openxmlformats.org/officeDocument/2006/relationships/tags" Target="../tags/tag1037.xml"/><Relationship Id="rId130" Type="http://schemas.openxmlformats.org/officeDocument/2006/relationships/tags" Target="../tags/tag1081.xml"/><Relationship Id="rId135" Type="http://schemas.openxmlformats.org/officeDocument/2006/relationships/tags" Target="../tags/tag1086.xml"/><Relationship Id="rId151" Type="http://schemas.openxmlformats.org/officeDocument/2006/relationships/tags" Target="../tags/tag1102.xml"/><Relationship Id="rId156" Type="http://schemas.openxmlformats.org/officeDocument/2006/relationships/tags" Target="../tags/tag1107.xml"/><Relationship Id="rId177" Type="http://schemas.openxmlformats.org/officeDocument/2006/relationships/tags" Target="../tags/tag1128.xml"/><Relationship Id="rId172" Type="http://schemas.openxmlformats.org/officeDocument/2006/relationships/tags" Target="../tags/tag1123.xml"/><Relationship Id="rId13" Type="http://schemas.openxmlformats.org/officeDocument/2006/relationships/tags" Target="../tags/tag964.xml"/><Relationship Id="rId18" Type="http://schemas.openxmlformats.org/officeDocument/2006/relationships/tags" Target="../tags/tag969.xml"/><Relationship Id="rId39" Type="http://schemas.openxmlformats.org/officeDocument/2006/relationships/tags" Target="../tags/tag990.xml"/><Relationship Id="rId109" Type="http://schemas.openxmlformats.org/officeDocument/2006/relationships/tags" Target="../tags/tag1060.xml"/><Relationship Id="rId34" Type="http://schemas.openxmlformats.org/officeDocument/2006/relationships/tags" Target="../tags/tag985.xml"/><Relationship Id="rId50" Type="http://schemas.openxmlformats.org/officeDocument/2006/relationships/tags" Target="../tags/tag1001.xml"/><Relationship Id="rId55" Type="http://schemas.openxmlformats.org/officeDocument/2006/relationships/tags" Target="../tags/tag1006.xml"/><Relationship Id="rId76" Type="http://schemas.openxmlformats.org/officeDocument/2006/relationships/tags" Target="../tags/tag1027.xml"/><Relationship Id="rId97" Type="http://schemas.openxmlformats.org/officeDocument/2006/relationships/tags" Target="../tags/tag1048.xml"/><Relationship Id="rId104" Type="http://schemas.openxmlformats.org/officeDocument/2006/relationships/tags" Target="../tags/tag1055.xml"/><Relationship Id="rId120" Type="http://schemas.openxmlformats.org/officeDocument/2006/relationships/tags" Target="../tags/tag1071.xml"/><Relationship Id="rId125" Type="http://schemas.openxmlformats.org/officeDocument/2006/relationships/tags" Target="../tags/tag1076.xml"/><Relationship Id="rId141" Type="http://schemas.openxmlformats.org/officeDocument/2006/relationships/tags" Target="../tags/tag1092.xml"/><Relationship Id="rId146" Type="http://schemas.openxmlformats.org/officeDocument/2006/relationships/tags" Target="../tags/tag1097.xml"/><Relationship Id="rId167" Type="http://schemas.openxmlformats.org/officeDocument/2006/relationships/tags" Target="../tags/tag1118.xml"/><Relationship Id="rId7" Type="http://schemas.openxmlformats.org/officeDocument/2006/relationships/tags" Target="../tags/tag958.xml"/><Relationship Id="rId71" Type="http://schemas.openxmlformats.org/officeDocument/2006/relationships/tags" Target="../tags/tag1022.xml"/><Relationship Id="rId92" Type="http://schemas.openxmlformats.org/officeDocument/2006/relationships/tags" Target="../tags/tag1043.xml"/><Relationship Id="rId162" Type="http://schemas.openxmlformats.org/officeDocument/2006/relationships/tags" Target="../tags/tag1113.xml"/><Relationship Id="rId183" Type="http://schemas.openxmlformats.org/officeDocument/2006/relationships/image" Target="../media/image1.emf"/><Relationship Id="rId2" Type="http://schemas.openxmlformats.org/officeDocument/2006/relationships/tags" Target="../tags/tag953.xml"/><Relationship Id="rId29" Type="http://schemas.openxmlformats.org/officeDocument/2006/relationships/tags" Target="../tags/tag980.xml"/><Relationship Id="rId24" Type="http://schemas.openxmlformats.org/officeDocument/2006/relationships/tags" Target="../tags/tag975.xml"/><Relationship Id="rId40" Type="http://schemas.openxmlformats.org/officeDocument/2006/relationships/tags" Target="../tags/tag991.xml"/><Relationship Id="rId45" Type="http://schemas.openxmlformats.org/officeDocument/2006/relationships/tags" Target="../tags/tag996.xml"/><Relationship Id="rId66" Type="http://schemas.openxmlformats.org/officeDocument/2006/relationships/tags" Target="../tags/tag1017.xml"/><Relationship Id="rId87" Type="http://schemas.openxmlformats.org/officeDocument/2006/relationships/tags" Target="../tags/tag1038.xml"/><Relationship Id="rId110" Type="http://schemas.openxmlformats.org/officeDocument/2006/relationships/tags" Target="../tags/tag1061.xml"/><Relationship Id="rId115" Type="http://schemas.openxmlformats.org/officeDocument/2006/relationships/tags" Target="../tags/tag1066.xml"/><Relationship Id="rId131" Type="http://schemas.openxmlformats.org/officeDocument/2006/relationships/tags" Target="../tags/tag1082.xml"/><Relationship Id="rId136" Type="http://schemas.openxmlformats.org/officeDocument/2006/relationships/tags" Target="../tags/tag1087.xml"/><Relationship Id="rId157" Type="http://schemas.openxmlformats.org/officeDocument/2006/relationships/tags" Target="../tags/tag1108.xml"/><Relationship Id="rId178" Type="http://schemas.openxmlformats.org/officeDocument/2006/relationships/tags" Target="../tags/tag1129.xml"/><Relationship Id="rId61" Type="http://schemas.openxmlformats.org/officeDocument/2006/relationships/tags" Target="../tags/tag1012.xml"/><Relationship Id="rId82" Type="http://schemas.openxmlformats.org/officeDocument/2006/relationships/tags" Target="../tags/tag1033.xml"/><Relationship Id="rId152" Type="http://schemas.openxmlformats.org/officeDocument/2006/relationships/tags" Target="../tags/tag1103.xml"/><Relationship Id="rId173" Type="http://schemas.openxmlformats.org/officeDocument/2006/relationships/tags" Target="../tags/tag1124.xml"/><Relationship Id="rId19" Type="http://schemas.openxmlformats.org/officeDocument/2006/relationships/tags" Target="../tags/tag970.xml"/><Relationship Id="rId14" Type="http://schemas.openxmlformats.org/officeDocument/2006/relationships/tags" Target="../tags/tag965.xml"/><Relationship Id="rId30" Type="http://schemas.openxmlformats.org/officeDocument/2006/relationships/tags" Target="../tags/tag981.xml"/><Relationship Id="rId35" Type="http://schemas.openxmlformats.org/officeDocument/2006/relationships/tags" Target="../tags/tag986.xml"/><Relationship Id="rId56" Type="http://schemas.openxmlformats.org/officeDocument/2006/relationships/tags" Target="../tags/tag1007.xml"/><Relationship Id="rId77" Type="http://schemas.openxmlformats.org/officeDocument/2006/relationships/tags" Target="../tags/tag1028.xml"/><Relationship Id="rId100" Type="http://schemas.openxmlformats.org/officeDocument/2006/relationships/tags" Target="../tags/tag1051.xml"/><Relationship Id="rId105" Type="http://schemas.openxmlformats.org/officeDocument/2006/relationships/tags" Target="../tags/tag1056.xml"/><Relationship Id="rId126" Type="http://schemas.openxmlformats.org/officeDocument/2006/relationships/tags" Target="../tags/tag1077.xml"/><Relationship Id="rId147" Type="http://schemas.openxmlformats.org/officeDocument/2006/relationships/tags" Target="../tags/tag1098.xml"/><Relationship Id="rId168" Type="http://schemas.openxmlformats.org/officeDocument/2006/relationships/tags" Target="../tags/tag1119.xml"/><Relationship Id="rId8" Type="http://schemas.openxmlformats.org/officeDocument/2006/relationships/tags" Target="../tags/tag959.xml"/><Relationship Id="rId51" Type="http://schemas.openxmlformats.org/officeDocument/2006/relationships/tags" Target="../tags/tag1002.xml"/><Relationship Id="rId72" Type="http://schemas.openxmlformats.org/officeDocument/2006/relationships/tags" Target="../tags/tag1023.xml"/><Relationship Id="rId93" Type="http://schemas.openxmlformats.org/officeDocument/2006/relationships/tags" Target="../tags/tag1044.xml"/><Relationship Id="rId98" Type="http://schemas.openxmlformats.org/officeDocument/2006/relationships/tags" Target="../tags/tag1049.xml"/><Relationship Id="rId121" Type="http://schemas.openxmlformats.org/officeDocument/2006/relationships/tags" Target="../tags/tag1072.xml"/><Relationship Id="rId142" Type="http://schemas.openxmlformats.org/officeDocument/2006/relationships/tags" Target="../tags/tag1093.xml"/><Relationship Id="rId163" Type="http://schemas.openxmlformats.org/officeDocument/2006/relationships/tags" Target="../tags/tag1114.xml"/><Relationship Id="rId3" Type="http://schemas.openxmlformats.org/officeDocument/2006/relationships/tags" Target="../tags/tag954.xml"/><Relationship Id="rId25" Type="http://schemas.openxmlformats.org/officeDocument/2006/relationships/tags" Target="../tags/tag976.xml"/><Relationship Id="rId46" Type="http://schemas.openxmlformats.org/officeDocument/2006/relationships/tags" Target="../tags/tag997.xml"/><Relationship Id="rId67" Type="http://schemas.openxmlformats.org/officeDocument/2006/relationships/tags" Target="../tags/tag1018.xml"/><Relationship Id="rId116" Type="http://schemas.openxmlformats.org/officeDocument/2006/relationships/tags" Target="../tags/tag1067.xml"/><Relationship Id="rId137" Type="http://schemas.openxmlformats.org/officeDocument/2006/relationships/tags" Target="../tags/tag1088.xml"/><Relationship Id="rId158" Type="http://schemas.openxmlformats.org/officeDocument/2006/relationships/tags" Target="../tags/tag1109.xml"/><Relationship Id="rId20" Type="http://schemas.openxmlformats.org/officeDocument/2006/relationships/tags" Target="../tags/tag971.xml"/><Relationship Id="rId41" Type="http://schemas.openxmlformats.org/officeDocument/2006/relationships/tags" Target="../tags/tag992.xml"/><Relationship Id="rId62" Type="http://schemas.openxmlformats.org/officeDocument/2006/relationships/tags" Target="../tags/tag1013.xml"/><Relationship Id="rId83" Type="http://schemas.openxmlformats.org/officeDocument/2006/relationships/tags" Target="../tags/tag1034.xml"/><Relationship Id="rId88" Type="http://schemas.openxmlformats.org/officeDocument/2006/relationships/tags" Target="../tags/tag1039.xml"/><Relationship Id="rId111" Type="http://schemas.openxmlformats.org/officeDocument/2006/relationships/tags" Target="../tags/tag1062.xml"/><Relationship Id="rId132" Type="http://schemas.openxmlformats.org/officeDocument/2006/relationships/tags" Target="../tags/tag1083.xml"/><Relationship Id="rId153" Type="http://schemas.openxmlformats.org/officeDocument/2006/relationships/tags" Target="../tags/tag1104.xml"/><Relationship Id="rId174" Type="http://schemas.openxmlformats.org/officeDocument/2006/relationships/tags" Target="../tags/tag1125.xml"/><Relationship Id="rId179" Type="http://schemas.openxmlformats.org/officeDocument/2006/relationships/tags" Target="../tags/tag1130.xml"/><Relationship Id="rId15" Type="http://schemas.openxmlformats.org/officeDocument/2006/relationships/tags" Target="../tags/tag966.xml"/><Relationship Id="rId36" Type="http://schemas.openxmlformats.org/officeDocument/2006/relationships/tags" Target="../tags/tag987.xml"/><Relationship Id="rId57" Type="http://schemas.openxmlformats.org/officeDocument/2006/relationships/tags" Target="../tags/tag1008.xml"/><Relationship Id="rId106" Type="http://schemas.openxmlformats.org/officeDocument/2006/relationships/tags" Target="../tags/tag1057.xml"/><Relationship Id="rId127" Type="http://schemas.openxmlformats.org/officeDocument/2006/relationships/tags" Target="../tags/tag1078.xml"/><Relationship Id="rId10" Type="http://schemas.openxmlformats.org/officeDocument/2006/relationships/tags" Target="../tags/tag961.xml"/><Relationship Id="rId31" Type="http://schemas.openxmlformats.org/officeDocument/2006/relationships/tags" Target="../tags/tag982.xml"/><Relationship Id="rId52" Type="http://schemas.openxmlformats.org/officeDocument/2006/relationships/tags" Target="../tags/tag1003.xml"/><Relationship Id="rId73" Type="http://schemas.openxmlformats.org/officeDocument/2006/relationships/tags" Target="../tags/tag1024.xml"/><Relationship Id="rId78" Type="http://schemas.openxmlformats.org/officeDocument/2006/relationships/tags" Target="../tags/tag1029.xml"/><Relationship Id="rId94" Type="http://schemas.openxmlformats.org/officeDocument/2006/relationships/tags" Target="../tags/tag1045.xml"/><Relationship Id="rId99" Type="http://schemas.openxmlformats.org/officeDocument/2006/relationships/tags" Target="../tags/tag1050.xml"/><Relationship Id="rId101" Type="http://schemas.openxmlformats.org/officeDocument/2006/relationships/tags" Target="../tags/tag1052.xml"/><Relationship Id="rId122" Type="http://schemas.openxmlformats.org/officeDocument/2006/relationships/tags" Target="../tags/tag1073.xml"/><Relationship Id="rId143" Type="http://schemas.openxmlformats.org/officeDocument/2006/relationships/tags" Target="../tags/tag1094.xml"/><Relationship Id="rId148" Type="http://schemas.openxmlformats.org/officeDocument/2006/relationships/tags" Target="../tags/tag1099.xml"/><Relationship Id="rId164" Type="http://schemas.openxmlformats.org/officeDocument/2006/relationships/tags" Target="../tags/tag1115.xml"/><Relationship Id="rId169" Type="http://schemas.openxmlformats.org/officeDocument/2006/relationships/tags" Target="../tags/tag1120.xml"/><Relationship Id="rId4" Type="http://schemas.openxmlformats.org/officeDocument/2006/relationships/tags" Target="../tags/tag955.xml"/><Relationship Id="rId9" Type="http://schemas.openxmlformats.org/officeDocument/2006/relationships/tags" Target="../tags/tag960.xml"/><Relationship Id="rId180" Type="http://schemas.openxmlformats.org/officeDocument/2006/relationships/slideLayout" Target="../slideLayouts/slideLayout6.xml"/><Relationship Id="rId26" Type="http://schemas.openxmlformats.org/officeDocument/2006/relationships/tags" Target="../tags/tag977.xml"/><Relationship Id="rId47" Type="http://schemas.openxmlformats.org/officeDocument/2006/relationships/tags" Target="../tags/tag998.xml"/><Relationship Id="rId68" Type="http://schemas.openxmlformats.org/officeDocument/2006/relationships/tags" Target="../tags/tag1019.xml"/><Relationship Id="rId89" Type="http://schemas.openxmlformats.org/officeDocument/2006/relationships/tags" Target="../tags/tag1040.xml"/><Relationship Id="rId112" Type="http://schemas.openxmlformats.org/officeDocument/2006/relationships/tags" Target="../tags/tag1063.xml"/><Relationship Id="rId133" Type="http://schemas.openxmlformats.org/officeDocument/2006/relationships/tags" Target="../tags/tag1084.xml"/><Relationship Id="rId154" Type="http://schemas.openxmlformats.org/officeDocument/2006/relationships/tags" Target="../tags/tag1105.xml"/><Relationship Id="rId175" Type="http://schemas.openxmlformats.org/officeDocument/2006/relationships/tags" Target="../tags/tag1126.xml"/><Relationship Id="rId16" Type="http://schemas.openxmlformats.org/officeDocument/2006/relationships/tags" Target="../tags/tag967.xml"/><Relationship Id="rId37" Type="http://schemas.openxmlformats.org/officeDocument/2006/relationships/tags" Target="../tags/tag988.xml"/><Relationship Id="rId58" Type="http://schemas.openxmlformats.org/officeDocument/2006/relationships/tags" Target="../tags/tag1009.xml"/><Relationship Id="rId79" Type="http://schemas.openxmlformats.org/officeDocument/2006/relationships/tags" Target="../tags/tag1030.xml"/><Relationship Id="rId102" Type="http://schemas.openxmlformats.org/officeDocument/2006/relationships/tags" Target="../tags/tag1053.xml"/><Relationship Id="rId123" Type="http://schemas.openxmlformats.org/officeDocument/2006/relationships/tags" Target="../tags/tag1074.xml"/><Relationship Id="rId144" Type="http://schemas.openxmlformats.org/officeDocument/2006/relationships/tags" Target="../tags/tag1095.xml"/><Relationship Id="rId90" Type="http://schemas.openxmlformats.org/officeDocument/2006/relationships/tags" Target="../tags/tag1041.xml"/><Relationship Id="rId165" Type="http://schemas.openxmlformats.org/officeDocument/2006/relationships/tags" Target="../tags/tag1116.xml"/><Relationship Id="rId27" Type="http://schemas.openxmlformats.org/officeDocument/2006/relationships/tags" Target="../tags/tag978.xml"/><Relationship Id="rId48" Type="http://schemas.openxmlformats.org/officeDocument/2006/relationships/tags" Target="../tags/tag999.xml"/><Relationship Id="rId69" Type="http://schemas.openxmlformats.org/officeDocument/2006/relationships/tags" Target="../tags/tag1020.xml"/><Relationship Id="rId113" Type="http://schemas.openxmlformats.org/officeDocument/2006/relationships/tags" Target="../tags/tag1064.xml"/><Relationship Id="rId134" Type="http://schemas.openxmlformats.org/officeDocument/2006/relationships/tags" Target="../tags/tag1085.xml"/><Relationship Id="rId80" Type="http://schemas.openxmlformats.org/officeDocument/2006/relationships/tags" Target="../tags/tag1031.xml"/><Relationship Id="rId155" Type="http://schemas.openxmlformats.org/officeDocument/2006/relationships/tags" Target="../tags/tag1106.xml"/><Relationship Id="rId176" Type="http://schemas.openxmlformats.org/officeDocument/2006/relationships/tags" Target="../tags/tag1127.xml"/><Relationship Id="rId17" Type="http://schemas.openxmlformats.org/officeDocument/2006/relationships/tags" Target="../tags/tag968.xml"/><Relationship Id="rId38" Type="http://schemas.openxmlformats.org/officeDocument/2006/relationships/tags" Target="../tags/tag989.xml"/><Relationship Id="rId59" Type="http://schemas.openxmlformats.org/officeDocument/2006/relationships/tags" Target="../tags/tag1010.xml"/><Relationship Id="rId103" Type="http://schemas.openxmlformats.org/officeDocument/2006/relationships/tags" Target="../tags/tag1054.xml"/><Relationship Id="rId124" Type="http://schemas.openxmlformats.org/officeDocument/2006/relationships/tags" Target="../tags/tag1075.xml"/><Relationship Id="rId70" Type="http://schemas.openxmlformats.org/officeDocument/2006/relationships/tags" Target="../tags/tag1021.xml"/><Relationship Id="rId91" Type="http://schemas.openxmlformats.org/officeDocument/2006/relationships/tags" Target="../tags/tag1042.xml"/><Relationship Id="rId145" Type="http://schemas.openxmlformats.org/officeDocument/2006/relationships/tags" Target="../tags/tag1096.xml"/><Relationship Id="rId166" Type="http://schemas.openxmlformats.org/officeDocument/2006/relationships/tags" Target="../tags/tag1117.xml"/><Relationship Id="rId1" Type="http://schemas.openxmlformats.org/officeDocument/2006/relationships/tags" Target="../tags/tag952.xml"/><Relationship Id="rId28" Type="http://schemas.openxmlformats.org/officeDocument/2006/relationships/tags" Target="../tags/tag979.xml"/><Relationship Id="rId49" Type="http://schemas.openxmlformats.org/officeDocument/2006/relationships/tags" Target="../tags/tag1000.xml"/><Relationship Id="rId114" Type="http://schemas.openxmlformats.org/officeDocument/2006/relationships/tags" Target="../tags/tag1065.xml"/></Relationships>
</file>

<file path=ppt/slides/_rels/slide17.xml.rels><?xml version="1.0" encoding="UTF-8" standalone="yes"?>
<Relationships xmlns="http://schemas.openxmlformats.org/package/2006/relationships"><Relationship Id="rId117" Type="http://schemas.openxmlformats.org/officeDocument/2006/relationships/tags" Target="../tags/tag1247.xml"/><Relationship Id="rId21" Type="http://schemas.openxmlformats.org/officeDocument/2006/relationships/tags" Target="../tags/tag1151.xml"/><Relationship Id="rId42" Type="http://schemas.openxmlformats.org/officeDocument/2006/relationships/tags" Target="../tags/tag1172.xml"/><Relationship Id="rId63" Type="http://schemas.openxmlformats.org/officeDocument/2006/relationships/tags" Target="../tags/tag1193.xml"/><Relationship Id="rId84" Type="http://schemas.openxmlformats.org/officeDocument/2006/relationships/tags" Target="../tags/tag1214.xml"/><Relationship Id="rId138" Type="http://schemas.openxmlformats.org/officeDocument/2006/relationships/tags" Target="../tags/tag1268.xml"/><Relationship Id="rId159" Type="http://schemas.openxmlformats.org/officeDocument/2006/relationships/tags" Target="../tags/tag1289.xml"/><Relationship Id="rId170" Type="http://schemas.openxmlformats.org/officeDocument/2006/relationships/tags" Target="../tags/tag1300.xml"/><Relationship Id="rId107" Type="http://schemas.openxmlformats.org/officeDocument/2006/relationships/tags" Target="../tags/tag1237.xml"/><Relationship Id="rId11" Type="http://schemas.openxmlformats.org/officeDocument/2006/relationships/tags" Target="../tags/tag1141.xml"/><Relationship Id="rId32" Type="http://schemas.openxmlformats.org/officeDocument/2006/relationships/tags" Target="../tags/tag1162.xml"/><Relationship Id="rId53" Type="http://schemas.openxmlformats.org/officeDocument/2006/relationships/tags" Target="../tags/tag1183.xml"/><Relationship Id="rId74" Type="http://schemas.openxmlformats.org/officeDocument/2006/relationships/tags" Target="../tags/tag1204.xml"/><Relationship Id="rId128" Type="http://schemas.openxmlformats.org/officeDocument/2006/relationships/tags" Target="../tags/tag1258.xml"/><Relationship Id="rId149" Type="http://schemas.openxmlformats.org/officeDocument/2006/relationships/tags" Target="../tags/tag1279.xml"/><Relationship Id="rId5" Type="http://schemas.openxmlformats.org/officeDocument/2006/relationships/tags" Target="../tags/tag1135.xml"/><Relationship Id="rId95" Type="http://schemas.openxmlformats.org/officeDocument/2006/relationships/tags" Target="../tags/tag1225.xml"/><Relationship Id="rId160" Type="http://schemas.openxmlformats.org/officeDocument/2006/relationships/tags" Target="../tags/tag1290.xml"/><Relationship Id="rId181" Type="http://schemas.openxmlformats.org/officeDocument/2006/relationships/notesSlide" Target="../notesSlides/notesSlide17.xml"/><Relationship Id="rId22" Type="http://schemas.openxmlformats.org/officeDocument/2006/relationships/tags" Target="../tags/tag1152.xml"/><Relationship Id="rId43" Type="http://schemas.openxmlformats.org/officeDocument/2006/relationships/tags" Target="../tags/tag1173.xml"/><Relationship Id="rId64" Type="http://schemas.openxmlformats.org/officeDocument/2006/relationships/tags" Target="../tags/tag1194.xml"/><Relationship Id="rId118" Type="http://schemas.openxmlformats.org/officeDocument/2006/relationships/tags" Target="../tags/tag1248.xml"/><Relationship Id="rId139" Type="http://schemas.openxmlformats.org/officeDocument/2006/relationships/tags" Target="../tags/tag1269.xml"/><Relationship Id="rId85" Type="http://schemas.openxmlformats.org/officeDocument/2006/relationships/tags" Target="../tags/tag1215.xml"/><Relationship Id="rId150" Type="http://schemas.openxmlformats.org/officeDocument/2006/relationships/tags" Target="../tags/tag1280.xml"/><Relationship Id="rId171" Type="http://schemas.openxmlformats.org/officeDocument/2006/relationships/tags" Target="../tags/tag1301.xml"/><Relationship Id="rId12" Type="http://schemas.openxmlformats.org/officeDocument/2006/relationships/tags" Target="../tags/tag1142.xml"/><Relationship Id="rId33" Type="http://schemas.openxmlformats.org/officeDocument/2006/relationships/tags" Target="../tags/tag1163.xml"/><Relationship Id="rId108" Type="http://schemas.openxmlformats.org/officeDocument/2006/relationships/tags" Target="../tags/tag1238.xml"/><Relationship Id="rId129" Type="http://schemas.openxmlformats.org/officeDocument/2006/relationships/tags" Target="../tags/tag1259.xml"/><Relationship Id="rId54" Type="http://schemas.openxmlformats.org/officeDocument/2006/relationships/tags" Target="../tags/tag1184.xml"/><Relationship Id="rId75" Type="http://schemas.openxmlformats.org/officeDocument/2006/relationships/tags" Target="../tags/tag1205.xml"/><Relationship Id="rId96" Type="http://schemas.openxmlformats.org/officeDocument/2006/relationships/tags" Target="../tags/tag1226.xml"/><Relationship Id="rId140" Type="http://schemas.openxmlformats.org/officeDocument/2006/relationships/tags" Target="../tags/tag1270.xml"/><Relationship Id="rId161" Type="http://schemas.openxmlformats.org/officeDocument/2006/relationships/tags" Target="../tags/tag1291.xml"/><Relationship Id="rId182" Type="http://schemas.openxmlformats.org/officeDocument/2006/relationships/oleObject" Target="../embeddings/oleObject13.bin"/><Relationship Id="rId6" Type="http://schemas.openxmlformats.org/officeDocument/2006/relationships/tags" Target="../tags/tag1136.xml"/><Relationship Id="rId23" Type="http://schemas.openxmlformats.org/officeDocument/2006/relationships/tags" Target="../tags/tag1153.xml"/><Relationship Id="rId119" Type="http://schemas.openxmlformats.org/officeDocument/2006/relationships/tags" Target="../tags/tag1249.xml"/><Relationship Id="rId44" Type="http://schemas.openxmlformats.org/officeDocument/2006/relationships/tags" Target="../tags/tag1174.xml"/><Relationship Id="rId60" Type="http://schemas.openxmlformats.org/officeDocument/2006/relationships/tags" Target="../tags/tag1190.xml"/><Relationship Id="rId65" Type="http://schemas.openxmlformats.org/officeDocument/2006/relationships/tags" Target="../tags/tag1195.xml"/><Relationship Id="rId81" Type="http://schemas.openxmlformats.org/officeDocument/2006/relationships/tags" Target="../tags/tag1211.xml"/><Relationship Id="rId86" Type="http://schemas.openxmlformats.org/officeDocument/2006/relationships/tags" Target="../tags/tag1216.xml"/><Relationship Id="rId130" Type="http://schemas.openxmlformats.org/officeDocument/2006/relationships/tags" Target="../tags/tag1260.xml"/><Relationship Id="rId135" Type="http://schemas.openxmlformats.org/officeDocument/2006/relationships/tags" Target="../tags/tag1265.xml"/><Relationship Id="rId151" Type="http://schemas.openxmlformats.org/officeDocument/2006/relationships/tags" Target="../tags/tag1281.xml"/><Relationship Id="rId156" Type="http://schemas.openxmlformats.org/officeDocument/2006/relationships/tags" Target="../tags/tag1286.xml"/><Relationship Id="rId177" Type="http://schemas.openxmlformats.org/officeDocument/2006/relationships/tags" Target="../tags/tag1307.xml"/><Relationship Id="rId172" Type="http://schemas.openxmlformats.org/officeDocument/2006/relationships/tags" Target="../tags/tag1302.xml"/><Relationship Id="rId13" Type="http://schemas.openxmlformats.org/officeDocument/2006/relationships/tags" Target="../tags/tag1143.xml"/><Relationship Id="rId18" Type="http://schemas.openxmlformats.org/officeDocument/2006/relationships/tags" Target="../tags/tag1148.xml"/><Relationship Id="rId39" Type="http://schemas.openxmlformats.org/officeDocument/2006/relationships/tags" Target="../tags/tag1169.xml"/><Relationship Id="rId109" Type="http://schemas.openxmlformats.org/officeDocument/2006/relationships/tags" Target="../tags/tag1239.xml"/><Relationship Id="rId34" Type="http://schemas.openxmlformats.org/officeDocument/2006/relationships/tags" Target="../tags/tag1164.xml"/><Relationship Id="rId50" Type="http://schemas.openxmlformats.org/officeDocument/2006/relationships/tags" Target="../tags/tag1180.xml"/><Relationship Id="rId55" Type="http://schemas.openxmlformats.org/officeDocument/2006/relationships/tags" Target="../tags/tag1185.xml"/><Relationship Id="rId76" Type="http://schemas.openxmlformats.org/officeDocument/2006/relationships/tags" Target="../tags/tag1206.xml"/><Relationship Id="rId97" Type="http://schemas.openxmlformats.org/officeDocument/2006/relationships/tags" Target="../tags/tag1227.xml"/><Relationship Id="rId104" Type="http://schemas.openxmlformats.org/officeDocument/2006/relationships/tags" Target="../tags/tag1234.xml"/><Relationship Id="rId120" Type="http://schemas.openxmlformats.org/officeDocument/2006/relationships/tags" Target="../tags/tag1250.xml"/><Relationship Id="rId125" Type="http://schemas.openxmlformats.org/officeDocument/2006/relationships/tags" Target="../tags/tag1255.xml"/><Relationship Id="rId141" Type="http://schemas.openxmlformats.org/officeDocument/2006/relationships/tags" Target="../tags/tag1271.xml"/><Relationship Id="rId146" Type="http://schemas.openxmlformats.org/officeDocument/2006/relationships/tags" Target="../tags/tag1276.xml"/><Relationship Id="rId167" Type="http://schemas.openxmlformats.org/officeDocument/2006/relationships/tags" Target="../tags/tag1297.xml"/><Relationship Id="rId7" Type="http://schemas.openxmlformats.org/officeDocument/2006/relationships/tags" Target="../tags/tag1137.xml"/><Relationship Id="rId71" Type="http://schemas.openxmlformats.org/officeDocument/2006/relationships/tags" Target="../tags/tag1201.xml"/><Relationship Id="rId92" Type="http://schemas.openxmlformats.org/officeDocument/2006/relationships/tags" Target="../tags/tag1222.xml"/><Relationship Id="rId162" Type="http://schemas.openxmlformats.org/officeDocument/2006/relationships/tags" Target="../tags/tag1292.xml"/><Relationship Id="rId183" Type="http://schemas.openxmlformats.org/officeDocument/2006/relationships/image" Target="../media/image1.emf"/><Relationship Id="rId2" Type="http://schemas.openxmlformats.org/officeDocument/2006/relationships/tags" Target="../tags/tag1132.xml"/><Relationship Id="rId29" Type="http://schemas.openxmlformats.org/officeDocument/2006/relationships/tags" Target="../tags/tag1159.xml"/><Relationship Id="rId24" Type="http://schemas.openxmlformats.org/officeDocument/2006/relationships/tags" Target="../tags/tag1154.xml"/><Relationship Id="rId40" Type="http://schemas.openxmlformats.org/officeDocument/2006/relationships/tags" Target="../tags/tag1170.xml"/><Relationship Id="rId45" Type="http://schemas.openxmlformats.org/officeDocument/2006/relationships/tags" Target="../tags/tag1175.xml"/><Relationship Id="rId66" Type="http://schemas.openxmlformats.org/officeDocument/2006/relationships/tags" Target="../tags/tag1196.xml"/><Relationship Id="rId87" Type="http://schemas.openxmlformats.org/officeDocument/2006/relationships/tags" Target="../tags/tag1217.xml"/><Relationship Id="rId110" Type="http://schemas.openxmlformats.org/officeDocument/2006/relationships/tags" Target="../tags/tag1240.xml"/><Relationship Id="rId115" Type="http://schemas.openxmlformats.org/officeDocument/2006/relationships/tags" Target="../tags/tag1245.xml"/><Relationship Id="rId131" Type="http://schemas.openxmlformats.org/officeDocument/2006/relationships/tags" Target="../tags/tag1261.xml"/><Relationship Id="rId136" Type="http://schemas.openxmlformats.org/officeDocument/2006/relationships/tags" Target="../tags/tag1266.xml"/><Relationship Id="rId157" Type="http://schemas.openxmlformats.org/officeDocument/2006/relationships/tags" Target="../tags/tag1287.xml"/><Relationship Id="rId178" Type="http://schemas.openxmlformats.org/officeDocument/2006/relationships/tags" Target="../tags/tag1308.xml"/><Relationship Id="rId61" Type="http://schemas.openxmlformats.org/officeDocument/2006/relationships/tags" Target="../tags/tag1191.xml"/><Relationship Id="rId82" Type="http://schemas.openxmlformats.org/officeDocument/2006/relationships/tags" Target="../tags/tag1212.xml"/><Relationship Id="rId152" Type="http://schemas.openxmlformats.org/officeDocument/2006/relationships/tags" Target="../tags/tag1282.xml"/><Relationship Id="rId173" Type="http://schemas.openxmlformats.org/officeDocument/2006/relationships/tags" Target="../tags/tag1303.xml"/><Relationship Id="rId19" Type="http://schemas.openxmlformats.org/officeDocument/2006/relationships/tags" Target="../tags/tag1149.xml"/><Relationship Id="rId14" Type="http://schemas.openxmlformats.org/officeDocument/2006/relationships/tags" Target="../tags/tag1144.xml"/><Relationship Id="rId30" Type="http://schemas.openxmlformats.org/officeDocument/2006/relationships/tags" Target="../tags/tag1160.xml"/><Relationship Id="rId35" Type="http://schemas.openxmlformats.org/officeDocument/2006/relationships/tags" Target="../tags/tag1165.xml"/><Relationship Id="rId56" Type="http://schemas.openxmlformats.org/officeDocument/2006/relationships/tags" Target="../tags/tag1186.xml"/><Relationship Id="rId77" Type="http://schemas.openxmlformats.org/officeDocument/2006/relationships/tags" Target="../tags/tag1207.xml"/><Relationship Id="rId100" Type="http://schemas.openxmlformats.org/officeDocument/2006/relationships/tags" Target="../tags/tag1230.xml"/><Relationship Id="rId105" Type="http://schemas.openxmlformats.org/officeDocument/2006/relationships/tags" Target="../tags/tag1235.xml"/><Relationship Id="rId126" Type="http://schemas.openxmlformats.org/officeDocument/2006/relationships/tags" Target="../tags/tag1256.xml"/><Relationship Id="rId147" Type="http://schemas.openxmlformats.org/officeDocument/2006/relationships/tags" Target="../tags/tag1277.xml"/><Relationship Id="rId168" Type="http://schemas.openxmlformats.org/officeDocument/2006/relationships/tags" Target="../tags/tag1298.xml"/><Relationship Id="rId8" Type="http://schemas.openxmlformats.org/officeDocument/2006/relationships/tags" Target="../tags/tag1138.xml"/><Relationship Id="rId51" Type="http://schemas.openxmlformats.org/officeDocument/2006/relationships/tags" Target="../tags/tag1181.xml"/><Relationship Id="rId72" Type="http://schemas.openxmlformats.org/officeDocument/2006/relationships/tags" Target="../tags/tag1202.xml"/><Relationship Id="rId93" Type="http://schemas.openxmlformats.org/officeDocument/2006/relationships/tags" Target="../tags/tag1223.xml"/><Relationship Id="rId98" Type="http://schemas.openxmlformats.org/officeDocument/2006/relationships/tags" Target="../tags/tag1228.xml"/><Relationship Id="rId121" Type="http://schemas.openxmlformats.org/officeDocument/2006/relationships/tags" Target="../tags/tag1251.xml"/><Relationship Id="rId142" Type="http://schemas.openxmlformats.org/officeDocument/2006/relationships/tags" Target="../tags/tag1272.xml"/><Relationship Id="rId163" Type="http://schemas.openxmlformats.org/officeDocument/2006/relationships/tags" Target="../tags/tag1293.xml"/><Relationship Id="rId3" Type="http://schemas.openxmlformats.org/officeDocument/2006/relationships/tags" Target="../tags/tag1133.xml"/><Relationship Id="rId25" Type="http://schemas.openxmlformats.org/officeDocument/2006/relationships/tags" Target="../tags/tag1155.xml"/><Relationship Id="rId46" Type="http://schemas.openxmlformats.org/officeDocument/2006/relationships/tags" Target="../tags/tag1176.xml"/><Relationship Id="rId67" Type="http://schemas.openxmlformats.org/officeDocument/2006/relationships/tags" Target="../tags/tag1197.xml"/><Relationship Id="rId116" Type="http://schemas.openxmlformats.org/officeDocument/2006/relationships/tags" Target="../tags/tag1246.xml"/><Relationship Id="rId137" Type="http://schemas.openxmlformats.org/officeDocument/2006/relationships/tags" Target="../tags/tag1267.xml"/><Relationship Id="rId158" Type="http://schemas.openxmlformats.org/officeDocument/2006/relationships/tags" Target="../tags/tag1288.xml"/><Relationship Id="rId20" Type="http://schemas.openxmlformats.org/officeDocument/2006/relationships/tags" Target="../tags/tag1150.xml"/><Relationship Id="rId41" Type="http://schemas.openxmlformats.org/officeDocument/2006/relationships/tags" Target="../tags/tag1171.xml"/><Relationship Id="rId62" Type="http://schemas.openxmlformats.org/officeDocument/2006/relationships/tags" Target="../tags/tag1192.xml"/><Relationship Id="rId83" Type="http://schemas.openxmlformats.org/officeDocument/2006/relationships/tags" Target="../tags/tag1213.xml"/><Relationship Id="rId88" Type="http://schemas.openxmlformats.org/officeDocument/2006/relationships/tags" Target="../tags/tag1218.xml"/><Relationship Id="rId111" Type="http://schemas.openxmlformats.org/officeDocument/2006/relationships/tags" Target="../tags/tag1241.xml"/><Relationship Id="rId132" Type="http://schemas.openxmlformats.org/officeDocument/2006/relationships/tags" Target="../tags/tag1262.xml"/><Relationship Id="rId153" Type="http://schemas.openxmlformats.org/officeDocument/2006/relationships/tags" Target="../tags/tag1283.xml"/><Relationship Id="rId174" Type="http://schemas.openxmlformats.org/officeDocument/2006/relationships/tags" Target="../tags/tag1304.xml"/><Relationship Id="rId179" Type="http://schemas.openxmlformats.org/officeDocument/2006/relationships/tags" Target="../tags/tag1309.xml"/><Relationship Id="rId15" Type="http://schemas.openxmlformats.org/officeDocument/2006/relationships/tags" Target="../tags/tag1145.xml"/><Relationship Id="rId36" Type="http://schemas.openxmlformats.org/officeDocument/2006/relationships/tags" Target="../tags/tag1166.xml"/><Relationship Id="rId57" Type="http://schemas.openxmlformats.org/officeDocument/2006/relationships/tags" Target="../tags/tag1187.xml"/><Relationship Id="rId106" Type="http://schemas.openxmlformats.org/officeDocument/2006/relationships/tags" Target="../tags/tag1236.xml"/><Relationship Id="rId127" Type="http://schemas.openxmlformats.org/officeDocument/2006/relationships/tags" Target="../tags/tag1257.xml"/><Relationship Id="rId10" Type="http://schemas.openxmlformats.org/officeDocument/2006/relationships/tags" Target="../tags/tag1140.xml"/><Relationship Id="rId31" Type="http://schemas.openxmlformats.org/officeDocument/2006/relationships/tags" Target="../tags/tag1161.xml"/><Relationship Id="rId52" Type="http://schemas.openxmlformats.org/officeDocument/2006/relationships/tags" Target="../tags/tag1182.xml"/><Relationship Id="rId73" Type="http://schemas.openxmlformats.org/officeDocument/2006/relationships/tags" Target="../tags/tag1203.xml"/><Relationship Id="rId78" Type="http://schemas.openxmlformats.org/officeDocument/2006/relationships/tags" Target="../tags/tag1208.xml"/><Relationship Id="rId94" Type="http://schemas.openxmlformats.org/officeDocument/2006/relationships/tags" Target="../tags/tag1224.xml"/><Relationship Id="rId99" Type="http://schemas.openxmlformats.org/officeDocument/2006/relationships/tags" Target="../tags/tag1229.xml"/><Relationship Id="rId101" Type="http://schemas.openxmlformats.org/officeDocument/2006/relationships/tags" Target="../tags/tag1231.xml"/><Relationship Id="rId122" Type="http://schemas.openxmlformats.org/officeDocument/2006/relationships/tags" Target="../tags/tag1252.xml"/><Relationship Id="rId143" Type="http://schemas.openxmlformats.org/officeDocument/2006/relationships/tags" Target="../tags/tag1273.xml"/><Relationship Id="rId148" Type="http://schemas.openxmlformats.org/officeDocument/2006/relationships/tags" Target="../tags/tag1278.xml"/><Relationship Id="rId164" Type="http://schemas.openxmlformats.org/officeDocument/2006/relationships/tags" Target="../tags/tag1294.xml"/><Relationship Id="rId169" Type="http://schemas.openxmlformats.org/officeDocument/2006/relationships/tags" Target="../tags/tag1299.xml"/><Relationship Id="rId4" Type="http://schemas.openxmlformats.org/officeDocument/2006/relationships/tags" Target="../tags/tag1134.xml"/><Relationship Id="rId9" Type="http://schemas.openxmlformats.org/officeDocument/2006/relationships/tags" Target="../tags/tag1139.xml"/><Relationship Id="rId180" Type="http://schemas.openxmlformats.org/officeDocument/2006/relationships/slideLayout" Target="../slideLayouts/slideLayout6.xml"/><Relationship Id="rId26" Type="http://schemas.openxmlformats.org/officeDocument/2006/relationships/tags" Target="../tags/tag1156.xml"/><Relationship Id="rId47" Type="http://schemas.openxmlformats.org/officeDocument/2006/relationships/tags" Target="../tags/tag1177.xml"/><Relationship Id="rId68" Type="http://schemas.openxmlformats.org/officeDocument/2006/relationships/tags" Target="../tags/tag1198.xml"/><Relationship Id="rId89" Type="http://schemas.openxmlformats.org/officeDocument/2006/relationships/tags" Target="../tags/tag1219.xml"/><Relationship Id="rId112" Type="http://schemas.openxmlformats.org/officeDocument/2006/relationships/tags" Target="../tags/tag1242.xml"/><Relationship Id="rId133" Type="http://schemas.openxmlformats.org/officeDocument/2006/relationships/tags" Target="../tags/tag1263.xml"/><Relationship Id="rId154" Type="http://schemas.openxmlformats.org/officeDocument/2006/relationships/tags" Target="../tags/tag1284.xml"/><Relationship Id="rId175" Type="http://schemas.openxmlformats.org/officeDocument/2006/relationships/tags" Target="../tags/tag1305.xml"/><Relationship Id="rId16" Type="http://schemas.openxmlformats.org/officeDocument/2006/relationships/tags" Target="../tags/tag1146.xml"/><Relationship Id="rId37" Type="http://schemas.openxmlformats.org/officeDocument/2006/relationships/tags" Target="../tags/tag1167.xml"/><Relationship Id="rId58" Type="http://schemas.openxmlformats.org/officeDocument/2006/relationships/tags" Target="../tags/tag1188.xml"/><Relationship Id="rId79" Type="http://schemas.openxmlformats.org/officeDocument/2006/relationships/tags" Target="../tags/tag1209.xml"/><Relationship Id="rId102" Type="http://schemas.openxmlformats.org/officeDocument/2006/relationships/tags" Target="../tags/tag1232.xml"/><Relationship Id="rId123" Type="http://schemas.openxmlformats.org/officeDocument/2006/relationships/tags" Target="../tags/tag1253.xml"/><Relationship Id="rId144" Type="http://schemas.openxmlformats.org/officeDocument/2006/relationships/tags" Target="../tags/tag1274.xml"/><Relationship Id="rId90" Type="http://schemas.openxmlformats.org/officeDocument/2006/relationships/tags" Target="../tags/tag1220.xml"/><Relationship Id="rId165" Type="http://schemas.openxmlformats.org/officeDocument/2006/relationships/tags" Target="../tags/tag1295.xml"/><Relationship Id="rId27" Type="http://schemas.openxmlformats.org/officeDocument/2006/relationships/tags" Target="../tags/tag1157.xml"/><Relationship Id="rId48" Type="http://schemas.openxmlformats.org/officeDocument/2006/relationships/tags" Target="../tags/tag1178.xml"/><Relationship Id="rId69" Type="http://schemas.openxmlformats.org/officeDocument/2006/relationships/tags" Target="../tags/tag1199.xml"/><Relationship Id="rId113" Type="http://schemas.openxmlformats.org/officeDocument/2006/relationships/tags" Target="../tags/tag1243.xml"/><Relationship Id="rId134" Type="http://schemas.openxmlformats.org/officeDocument/2006/relationships/tags" Target="../tags/tag1264.xml"/><Relationship Id="rId80" Type="http://schemas.openxmlformats.org/officeDocument/2006/relationships/tags" Target="../tags/tag1210.xml"/><Relationship Id="rId155" Type="http://schemas.openxmlformats.org/officeDocument/2006/relationships/tags" Target="../tags/tag1285.xml"/><Relationship Id="rId176" Type="http://schemas.openxmlformats.org/officeDocument/2006/relationships/tags" Target="../tags/tag1306.xml"/><Relationship Id="rId17" Type="http://schemas.openxmlformats.org/officeDocument/2006/relationships/tags" Target="../tags/tag1147.xml"/><Relationship Id="rId38" Type="http://schemas.openxmlformats.org/officeDocument/2006/relationships/tags" Target="../tags/tag1168.xml"/><Relationship Id="rId59" Type="http://schemas.openxmlformats.org/officeDocument/2006/relationships/tags" Target="../tags/tag1189.xml"/><Relationship Id="rId103" Type="http://schemas.openxmlformats.org/officeDocument/2006/relationships/tags" Target="../tags/tag1233.xml"/><Relationship Id="rId124" Type="http://schemas.openxmlformats.org/officeDocument/2006/relationships/tags" Target="../tags/tag1254.xml"/><Relationship Id="rId70" Type="http://schemas.openxmlformats.org/officeDocument/2006/relationships/tags" Target="../tags/tag1200.xml"/><Relationship Id="rId91" Type="http://schemas.openxmlformats.org/officeDocument/2006/relationships/tags" Target="../tags/tag1221.xml"/><Relationship Id="rId145" Type="http://schemas.openxmlformats.org/officeDocument/2006/relationships/tags" Target="../tags/tag1275.xml"/><Relationship Id="rId166" Type="http://schemas.openxmlformats.org/officeDocument/2006/relationships/tags" Target="../tags/tag1296.xml"/><Relationship Id="rId1" Type="http://schemas.openxmlformats.org/officeDocument/2006/relationships/tags" Target="../tags/tag1131.xml"/><Relationship Id="rId28" Type="http://schemas.openxmlformats.org/officeDocument/2006/relationships/tags" Target="../tags/tag1158.xml"/><Relationship Id="rId49" Type="http://schemas.openxmlformats.org/officeDocument/2006/relationships/tags" Target="../tags/tag1179.xml"/><Relationship Id="rId114" Type="http://schemas.openxmlformats.org/officeDocument/2006/relationships/tags" Target="../tags/tag1244.xml"/></Relationships>
</file>

<file path=ppt/slides/_rels/slide18.xml.rels><?xml version="1.0" encoding="UTF-8" standalone="yes"?>
<Relationships xmlns="http://schemas.openxmlformats.org/package/2006/relationships"><Relationship Id="rId117" Type="http://schemas.openxmlformats.org/officeDocument/2006/relationships/tags" Target="../tags/tag1426.xml"/><Relationship Id="rId21" Type="http://schemas.openxmlformats.org/officeDocument/2006/relationships/tags" Target="../tags/tag1330.xml"/><Relationship Id="rId42" Type="http://schemas.openxmlformats.org/officeDocument/2006/relationships/tags" Target="../tags/tag1351.xml"/><Relationship Id="rId63" Type="http://schemas.openxmlformats.org/officeDocument/2006/relationships/tags" Target="../tags/tag1372.xml"/><Relationship Id="rId84" Type="http://schemas.openxmlformats.org/officeDocument/2006/relationships/tags" Target="../tags/tag1393.xml"/><Relationship Id="rId138" Type="http://schemas.openxmlformats.org/officeDocument/2006/relationships/tags" Target="../tags/tag1447.xml"/><Relationship Id="rId159" Type="http://schemas.openxmlformats.org/officeDocument/2006/relationships/tags" Target="../tags/tag1468.xml"/><Relationship Id="rId170" Type="http://schemas.openxmlformats.org/officeDocument/2006/relationships/tags" Target="../tags/tag1479.xml"/><Relationship Id="rId107" Type="http://schemas.openxmlformats.org/officeDocument/2006/relationships/tags" Target="../tags/tag1416.xml"/><Relationship Id="rId11" Type="http://schemas.openxmlformats.org/officeDocument/2006/relationships/tags" Target="../tags/tag1320.xml"/><Relationship Id="rId32" Type="http://schemas.openxmlformats.org/officeDocument/2006/relationships/tags" Target="../tags/tag1341.xml"/><Relationship Id="rId53" Type="http://schemas.openxmlformats.org/officeDocument/2006/relationships/tags" Target="../tags/tag1362.xml"/><Relationship Id="rId74" Type="http://schemas.openxmlformats.org/officeDocument/2006/relationships/tags" Target="../tags/tag1383.xml"/><Relationship Id="rId128" Type="http://schemas.openxmlformats.org/officeDocument/2006/relationships/tags" Target="../tags/tag1437.xml"/><Relationship Id="rId149" Type="http://schemas.openxmlformats.org/officeDocument/2006/relationships/tags" Target="../tags/tag1458.xml"/><Relationship Id="rId5" Type="http://schemas.openxmlformats.org/officeDocument/2006/relationships/tags" Target="../tags/tag1314.xml"/><Relationship Id="rId95" Type="http://schemas.openxmlformats.org/officeDocument/2006/relationships/tags" Target="../tags/tag1404.xml"/><Relationship Id="rId160" Type="http://schemas.openxmlformats.org/officeDocument/2006/relationships/tags" Target="../tags/tag1469.xml"/><Relationship Id="rId181" Type="http://schemas.openxmlformats.org/officeDocument/2006/relationships/notesSlide" Target="../notesSlides/notesSlide18.xml"/><Relationship Id="rId22" Type="http://schemas.openxmlformats.org/officeDocument/2006/relationships/tags" Target="../tags/tag1331.xml"/><Relationship Id="rId43" Type="http://schemas.openxmlformats.org/officeDocument/2006/relationships/tags" Target="../tags/tag1352.xml"/><Relationship Id="rId64" Type="http://schemas.openxmlformats.org/officeDocument/2006/relationships/tags" Target="../tags/tag1373.xml"/><Relationship Id="rId118" Type="http://schemas.openxmlformats.org/officeDocument/2006/relationships/tags" Target="../tags/tag1427.xml"/><Relationship Id="rId139" Type="http://schemas.openxmlformats.org/officeDocument/2006/relationships/tags" Target="../tags/tag1448.xml"/><Relationship Id="rId85" Type="http://schemas.openxmlformats.org/officeDocument/2006/relationships/tags" Target="../tags/tag1394.xml"/><Relationship Id="rId150" Type="http://schemas.openxmlformats.org/officeDocument/2006/relationships/tags" Target="../tags/tag1459.xml"/><Relationship Id="rId171" Type="http://schemas.openxmlformats.org/officeDocument/2006/relationships/tags" Target="../tags/tag1480.xml"/><Relationship Id="rId12" Type="http://schemas.openxmlformats.org/officeDocument/2006/relationships/tags" Target="../tags/tag1321.xml"/><Relationship Id="rId33" Type="http://schemas.openxmlformats.org/officeDocument/2006/relationships/tags" Target="../tags/tag1342.xml"/><Relationship Id="rId108" Type="http://schemas.openxmlformats.org/officeDocument/2006/relationships/tags" Target="../tags/tag1417.xml"/><Relationship Id="rId129" Type="http://schemas.openxmlformats.org/officeDocument/2006/relationships/tags" Target="../tags/tag1438.xml"/><Relationship Id="rId54" Type="http://schemas.openxmlformats.org/officeDocument/2006/relationships/tags" Target="../tags/tag1363.xml"/><Relationship Id="rId75" Type="http://schemas.openxmlformats.org/officeDocument/2006/relationships/tags" Target="../tags/tag1384.xml"/><Relationship Id="rId96" Type="http://schemas.openxmlformats.org/officeDocument/2006/relationships/tags" Target="../tags/tag1405.xml"/><Relationship Id="rId140" Type="http://schemas.openxmlformats.org/officeDocument/2006/relationships/tags" Target="../tags/tag1449.xml"/><Relationship Id="rId161" Type="http://schemas.openxmlformats.org/officeDocument/2006/relationships/tags" Target="../tags/tag1470.xml"/><Relationship Id="rId182" Type="http://schemas.openxmlformats.org/officeDocument/2006/relationships/oleObject" Target="../embeddings/oleObject12.bin"/><Relationship Id="rId6" Type="http://schemas.openxmlformats.org/officeDocument/2006/relationships/tags" Target="../tags/tag1315.xml"/><Relationship Id="rId23" Type="http://schemas.openxmlformats.org/officeDocument/2006/relationships/tags" Target="../tags/tag1332.xml"/><Relationship Id="rId119" Type="http://schemas.openxmlformats.org/officeDocument/2006/relationships/tags" Target="../tags/tag1428.xml"/><Relationship Id="rId44" Type="http://schemas.openxmlformats.org/officeDocument/2006/relationships/tags" Target="../tags/tag1353.xml"/><Relationship Id="rId60" Type="http://schemas.openxmlformats.org/officeDocument/2006/relationships/tags" Target="../tags/tag1369.xml"/><Relationship Id="rId65" Type="http://schemas.openxmlformats.org/officeDocument/2006/relationships/tags" Target="../tags/tag1374.xml"/><Relationship Id="rId81" Type="http://schemas.openxmlformats.org/officeDocument/2006/relationships/tags" Target="../tags/tag1390.xml"/><Relationship Id="rId86" Type="http://schemas.openxmlformats.org/officeDocument/2006/relationships/tags" Target="../tags/tag1395.xml"/><Relationship Id="rId130" Type="http://schemas.openxmlformats.org/officeDocument/2006/relationships/tags" Target="../tags/tag1439.xml"/><Relationship Id="rId135" Type="http://schemas.openxmlformats.org/officeDocument/2006/relationships/tags" Target="../tags/tag1444.xml"/><Relationship Id="rId151" Type="http://schemas.openxmlformats.org/officeDocument/2006/relationships/tags" Target="../tags/tag1460.xml"/><Relationship Id="rId156" Type="http://schemas.openxmlformats.org/officeDocument/2006/relationships/tags" Target="../tags/tag1465.xml"/><Relationship Id="rId177" Type="http://schemas.openxmlformats.org/officeDocument/2006/relationships/tags" Target="../tags/tag1486.xml"/><Relationship Id="rId172" Type="http://schemas.openxmlformats.org/officeDocument/2006/relationships/tags" Target="../tags/tag1481.xml"/><Relationship Id="rId13" Type="http://schemas.openxmlformats.org/officeDocument/2006/relationships/tags" Target="../tags/tag1322.xml"/><Relationship Id="rId18" Type="http://schemas.openxmlformats.org/officeDocument/2006/relationships/tags" Target="../tags/tag1327.xml"/><Relationship Id="rId39" Type="http://schemas.openxmlformats.org/officeDocument/2006/relationships/tags" Target="../tags/tag1348.xml"/><Relationship Id="rId109" Type="http://schemas.openxmlformats.org/officeDocument/2006/relationships/tags" Target="../tags/tag1418.xml"/><Relationship Id="rId34" Type="http://schemas.openxmlformats.org/officeDocument/2006/relationships/tags" Target="../tags/tag1343.xml"/><Relationship Id="rId50" Type="http://schemas.openxmlformats.org/officeDocument/2006/relationships/tags" Target="../tags/tag1359.xml"/><Relationship Id="rId55" Type="http://schemas.openxmlformats.org/officeDocument/2006/relationships/tags" Target="../tags/tag1364.xml"/><Relationship Id="rId76" Type="http://schemas.openxmlformats.org/officeDocument/2006/relationships/tags" Target="../tags/tag1385.xml"/><Relationship Id="rId97" Type="http://schemas.openxmlformats.org/officeDocument/2006/relationships/tags" Target="../tags/tag1406.xml"/><Relationship Id="rId104" Type="http://schemas.openxmlformats.org/officeDocument/2006/relationships/tags" Target="../tags/tag1413.xml"/><Relationship Id="rId120" Type="http://schemas.openxmlformats.org/officeDocument/2006/relationships/tags" Target="../tags/tag1429.xml"/><Relationship Id="rId125" Type="http://schemas.openxmlformats.org/officeDocument/2006/relationships/tags" Target="../tags/tag1434.xml"/><Relationship Id="rId141" Type="http://schemas.openxmlformats.org/officeDocument/2006/relationships/tags" Target="../tags/tag1450.xml"/><Relationship Id="rId146" Type="http://schemas.openxmlformats.org/officeDocument/2006/relationships/tags" Target="../tags/tag1455.xml"/><Relationship Id="rId167" Type="http://schemas.openxmlformats.org/officeDocument/2006/relationships/tags" Target="../tags/tag1476.xml"/><Relationship Id="rId7" Type="http://schemas.openxmlformats.org/officeDocument/2006/relationships/tags" Target="../tags/tag1316.xml"/><Relationship Id="rId71" Type="http://schemas.openxmlformats.org/officeDocument/2006/relationships/tags" Target="../tags/tag1380.xml"/><Relationship Id="rId92" Type="http://schemas.openxmlformats.org/officeDocument/2006/relationships/tags" Target="../tags/tag1401.xml"/><Relationship Id="rId162" Type="http://schemas.openxmlformats.org/officeDocument/2006/relationships/tags" Target="../tags/tag1471.xml"/><Relationship Id="rId183" Type="http://schemas.openxmlformats.org/officeDocument/2006/relationships/image" Target="../media/image1.emf"/><Relationship Id="rId2" Type="http://schemas.openxmlformats.org/officeDocument/2006/relationships/tags" Target="../tags/tag1311.xml"/><Relationship Id="rId29" Type="http://schemas.openxmlformats.org/officeDocument/2006/relationships/tags" Target="../tags/tag1338.xml"/><Relationship Id="rId24" Type="http://schemas.openxmlformats.org/officeDocument/2006/relationships/tags" Target="../tags/tag1333.xml"/><Relationship Id="rId40" Type="http://schemas.openxmlformats.org/officeDocument/2006/relationships/tags" Target="../tags/tag1349.xml"/><Relationship Id="rId45" Type="http://schemas.openxmlformats.org/officeDocument/2006/relationships/tags" Target="../tags/tag1354.xml"/><Relationship Id="rId66" Type="http://schemas.openxmlformats.org/officeDocument/2006/relationships/tags" Target="../tags/tag1375.xml"/><Relationship Id="rId87" Type="http://schemas.openxmlformats.org/officeDocument/2006/relationships/tags" Target="../tags/tag1396.xml"/><Relationship Id="rId110" Type="http://schemas.openxmlformats.org/officeDocument/2006/relationships/tags" Target="../tags/tag1419.xml"/><Relationship Id="rId115" Type="http://schemas.openxmlformats.org/officeDocument/2006/relationships/tags" Target="../tags/tag1424.xml"/><Relationship Id="rId131" Type="http://schemas.openxmlformats.org/officeDocument/2006/relationships/tags" Target="../tags/tag1440.xml"/><Relationship Id="rId136" Type="http://schemas.openxmlformats.org/officeDocument/2006/relationships/tags" Target="../tags/tag1445.xml"/><Relationship Id="rId157" Type="http://schemas.openxmlformats.org/officeDocument/2006/relationships/tags" Target="../tags/tag1466.xml"/><Relationship Id="rId178" Type="http://schemas.openxmlformats.org/officeDocument/2006/relationships/tags" Target="../tags/tag1487.xml"/><Relationship Id="rId61" Type="http://schemas.openxmlformats.org/officeDocument/2006/relationships/tags" Target="../tags/tag1370.xml"/><Relationship Id="rId82" Type="http://schemas.openxmlformats.org/officeDocument/2006/relationships/tags" Target="../tags/tag1391.xml"/><Relationship Id="rId152" Type="http://schemas.openxmlformats.org/officeDocument/2006/relationships/tags" Target="../tags/tag1461.xml"/><Relationship Id="rId173" Type="http://schemas.openxmlformats.org/officeDocument/2006/relationships/tags" Target="../tags/tag1482.xml"/><Relationship Id="rId19" Type="http://schemas.openxmlformats.org/officeDocument/2006/relationships/tags" Target="../tags/tag1328.xml"/><Relationship Id="rId14" Type="http://schemas.openxmlformats.org/officeDocument/2006/relationships/tags" Target="../tags/tag1323.xml"/><Relationship Id="rId30" Type="http://schemas.openxmlformats.org/officeDocument/2006/relationships/tags" Target="../tags/tag1339.xml"/><Relationship Id="rId35" Type="http://schemas.openxmlformats.org/officeDocument/2006/relationships/tags" Target="../tags/tag1344.xml"/><Relationship Id="rId56" Type="http://schemas.openxmlformats.org/officeDocument/2006/relationships/tags" Target="../tags/tag1365.xml"/><Relationship Id="rId77" Type="http://schemas.openxmlformats.org/officeDocument/2006/relationships/tags" Target="../tags/tag1386.xml"/><Relationship Id="rId100" Type="http://schemas.openxmlformats.org/officeDocument/2006/relationships/tags" Target="../tags/tag1409.xml"/><Relationship Id="rId105" Type="http://schemas.openxmlformats.org/officeDocument/2006/relationships/tags" Target="../tags/tag1414.xml"/><Relationship Id="rId126" Type="http://schemas.openxmlformats.org/officeDocument/2006/relationships/tags" Target="../tags/tag1435.xml"/><Relationship Id="rId147" Type="http://schemas.openxmlformats.org/officeDocument/2006/relationships/tags" Target="../tags/tag1456.xml"/><Relationship Id="rId168" Type="http://schemas.openxmlformats.org/officeDocument/2006/relationships/tags" Target="../tags/tag1477.xml"/><Relationship Id="rId8" Type="http://schemas.openxmlformats.org/officeDocument/2006/relationships/tags" Target="../tags/tag1317.xml"/><Relationship Id="rId51" Type="http://schemas.openxmlformats.org/officeDocument/2006/relationships/tags" Target="../tags/tag1360.xml"/><Relationship Id="rId72" Type="http://schemas.openxmlformats.org/officeDocument/2006/relationships/tags" Target="../tags/tag1381.xml"/><Relationship Id="rId93" Type="http://schemas.openxmlformats.org/officeDocument/2006/relationships/tags" Target="../tags/tag1402.xml"/><Relationship Id="rId98" Type="http://schemas.openxmlformats.org/officeDocument/2006/relationships/tags" Target="../tags/tag1407.xml"/><Relationship Id="rId121" Type="http://schemas.openxmlformats.org/officeDocument/2006/relationships/tags" Target="../tags/tag1430.xml"/><Relationship Id="rId142" Type="http://schemas.openxmlformats.org/officeDocument/2006/relationships/tags" Target="../tags/tag1451.xml"/><Relationship Id="rId163" Type="http://schemas.openxmlformats.org/officeDocument/2006/relationships/tags" Target="../tags/tag1472.xml"/><Relationship Id="rId3" Type="http://schemas.openxmlformats.org/officeDocument/2006/relationships/tags" Target="../tags/tag1312.xml"/><Relationship Id="rId25" Type="http://schemas.openxmlformats.org/officeDocument/2006/relationships/tags" Target="../tags/tag1334.xml"/><Relationship Id="rId46" Type="http://schemas.openxmlformats.org/officeDocument/2006/relationships/tags" Target="../tags/tag1355.xml"/><Relationship Id="rId67" Type="http://schemas.openxmlformats.org/officeDocument/2006/relationships/tags" Target="../tags/tag1376.xml"/><Relationship Id="rId116" Type="http://schemas.openxmlformats.org/officeDocument/2006/relationships/tags" Target="../tags/tag1425.xml"/><Relationship Id="rId137" Type="http://schemas.openxmlformats.org/officeDocument/2006/relationships/tags" Target="../tags/tag1446.xml"/><Relationship Id="rId158" Type="http://schemas.openxmlformats.org/officeDocument/2006/relationships/tags" Target="../tags/tag1467.xml"/><Relationship Id="rId20" Type="http://schemas.openxmlformats.org/officeDocument/2006/relationships/tags" Target="../tags/tag1329.xml"/><Relationship Id="rId41" Type="http://schemas.openxmlformats.org/officeDocument/2006/relationships/tags" Target="../tags/tag1350.xml"/><Relationship Id="rId62" Type="http://schemas.openxmlformats.org/officeDocument/2006/relationships/tags" Target="../tags/tag1371.xml"/><Relationship Id="rId83" Type="http://schemas.openxmlformats.org/officeDocument/2006/relationships/tags" Target="../tags/tag1392.xml"/><Relationship Id="rId88" Type="http://schemas.openxmlformats.org/officeDocument/2006/relationships/tags" Target="../tags/tag1397.xml"/><Relationship Id="rId111" Type="http://schemas.openxmlformats.org/officeDocument/2006/relationships/tags" Target="../tags/tag1420.xml"/><Relationship Id="rId132" Type="http://schemas.openxmlformats.org/officeDocument/2006/relationships/tags" Target="../tags/tag1441.xml"/><Relationship Id="rId153" Type="http://schemas.openxmlformats.org/officeDocument/2006/relationships/tags" Target="../tags/tag1462.xml"/><Relationship Id="rId174" Type="http://schemas.openxmlformats.org/officeDocument/2006/relationships/tags" Target="../tags/tag1483.xml"/><Relationship Id="rId179" Type="http://schemas.openxmlformats.org/officeDocument/2006/relationships/tags" Target="../tags/tag1488.xml"/><Relationship Id="rId15" Type="http://schemas.openxmlformats.org/officeDocument/2006/relationships/tags" Target="../tags/tag1324.xml"/><Relationship Id="rId36" Type="http://schemas.openxmlformats.org/officeDocument/2006/relationships/tags" Target="../tags/tag1345.xml"/><Relationship Id="rId57" Type="http://schemas.openxmlformats.org/officeDocument/2006/relationships/tags" Target="../tags/tag1366.xml"/><Relationship Id="rId106" Type="http://schemas.openxmlformats.org/officeDocument/2006/relationships/tags" Target="../tags/tag1415.xml"/><Relationship Id="rId127" Type="http://schemas.openxmlformats.org/officeDocument/2006/relationships/tags" Target="../tags/tag1436.xml"/><Relationship Id="rId10" Type="http://schemas.openxmlformats.org/officeDocument/2006/relationships/tags" Target="../tags/tag1319.xml"/><Relationship Id="rId31" Type="http://schemas.openxmlformats.org/officeDocument/2006/relationships/tags" Target="../tags/tag1340.xml"/><Relationship Id="rId52" Type="http://schemas.openxmlformats.org/officeDocument/2006/relationships/tags" Target="../tags/tag1361.xml"/><Relationship Id="rId73" Type="http://schemas.openxmlformats.org/officeDocument/2006/relationships/tags" Target="../tags/tag1382.xml"/><Relationship Id="rId78" Type="http://schemas.openxmlformats.org/officeDocument/2006/relationships/tags" Target="../tags/tag1387.xml"/><Relationship Id="rId94" Type="http://schemas.openxmlformats.org/officeDocument/2006/relationships/tags" Target="../tags/tag1403.xml"/><Relationship Id="rId99" Type="http://schemas.openxmlformats.org/officeDocument/2006/relationships/tags" Target="../tags/tag1408.xml"/><Relationship Id="rId101" Type="http://schemas.openxmlformats.org/officeDocument/2006/relationships/tags" Target="../tags/tag1410.xml"/><Relationship Id="rId122" Type="http://schemas.openxmlformats.org/officeDocument/2006/relationships/tags" Target="../tags/tag1431.xml"/><Relationship Id="rId143" Type="http://schemas.openxmlformats.org/officeDocument/2006/relationships/tags" Target="../tags/tag1452.xml"/><Relationship Id="rId148" Type="http://schemas.openxmlformats.org/officeDocument/2006/relationships/tags" Target="../tags/tag1457.xml"/><Relationship Id="rId164" Type="http://schemas.openxmlformats.org/officeDocument/2006/relationships/tags" Target="../tags/tag1473.xml"/><Relationship Id="rId169" Type="http://schemas.openxmlformats.org/officeDocument/2006/relationships/tags" Target="../tags/tag1478.xml"/><Relationship Id="rId4" Type="http://schemas.openxmlformats.org/officeDocument/2006/relationships/tags" Target="../tags/tag1313.xml"/><Relationship Id="rId9" Type="http://schemas.openxmlformats.org/officeDocument/2006/relationships/tags" Target="../tags/tag1318.xml"/><Relationship Id="rId180" Type="http://schemas.openxmlformats.org/officeDocument/2006/relationships/slideLayout" Target="../slideLayouts/slideLayout6.xml"/><Relationship Id="rId26" Type="http://schemas.openxmlformats.org/officeDocument/2006/relationships/tags" Target="../tags/tag1335.xml"/><Relationship Id="rId47" Type="http://schemas.openxmlformats.org/officeDocument/2006/relationships/tags" Target="../tags/tag1356.xml"/><Relationship Id="rId68" Type="http://schemas.openxmlformats.org/officeDocument/2006/relationships/tags" Target="../tags/tag1377.xml"/><Relationship Id="rId89" Type="http://schemas.openxmlformats.org/officeDocument/2006/relationships/tags" Target="../tags/tag1398.xml"/><Relationship Id="rId112" Type="http://schemas.openxmlformats.org/officeDocument/2006/relationships/tags" Target="../tags/tag1421.xml"/><Relationship Id="rId133" Type="http://schemas.openxmlformats.org/officeDocument/2006/relationships/tags" Target="../tags/tag1442.xml"/><Relationship Id="rId154" Type="http://schemas.openxmlformats.org/officeDocument/2006/relationships/tags" Target="../tags/tag1463.xml"/><Relationship Id="rId175" Type="http://schemas.openxmlformats.org/officeDocument/2006/relationships/tags" Target="../tags/tag1484.xml"/><Relationship Id="rId16" Type="http://schemas.openxmlformats.org/officeDocument/2006/relationships/tags" Target="../tags/tag1325.xml"/><Relationship Id="rId37" Type="http://schemas.openxmlformats.org/officeDocument/2006/relationships/tags" Target="../tags/tag1346.xml"/><Relationship Id="rId58" Type="http://schemas.openxmlformats.org/officeDocument/2006/relationships/tags" Target="../tags/tag1367.xml"/><Relationship Id="rId79" Type="http://schemas.openxmlformats.org/officeDocument/2006/relationships/tags" Target="../tags/tag1388.xml"/><Relationship Id="rId102" Type="http://schemas.openxmlformats.org/officeDocument/2006/relationships/tags" Target="../tags/tag1411.xml"/><Relationship Id="rId123" Type="http://schemas.openxmlformats.org/officeDocument/2006/relationships/tags" Target="../tags/tag1432.xml"/><Relationship Id="rId144" Type="http://schemas.openxmlformats.org/officeDocument/2006/relationships/tags" Target="../tags/tag1453.xml"/><Relationship Id="rId90" Type="http://schemas.openxmlformats.org/officeDocument/2006/relationships/tags" Target="../tags/tag1399.xml"/><Relationship Id="rId165" Type="http://schemas.openxmlformats.org/officeDocument/2006/relationships/tags" Target="../tags/tag1474.xml"/><Relationship Id="rId27" Type="http://schemas.openxmlformats.org/officeDocument/2006/relationships/tags" Target="../tags/tag1336.xml"/><Relationship Id="rId48" Type="http://schemas.openxmlformats.org/officeDocument/2006/relationships/tags" Target="../tags/tag1357.xml"/><Relationship Id="rId69" Type="http://schemas.openxmlformats.org/officeDocument/2006/relationships/tags" Target="../tags/tag1378.xml"/><Relationship Id="rId113" Type="http://schemas.openxmlformats.org/officeDocument/2006/relationships/tags" Target="../tags/tag1422.xml"/><Relationship Id="rId134" Type="http://schemas.openxmlformats.org/officeDocument/2006/relationships/tags" Target="../tags/tag1443.xml"/><Relationship Id="rId80" Type="http://schemas.openxmlformats.org/officeDocument/2006/relationships/tags" Target="../tags/tag1389.xml"/><Relationship Id="rId155" Type="http://schemas.openxmlformats.org/officeDocument/2006/relationships/tags" Target="../tags/tag1464.xml"/><Relationship Id="rId176" Type="http://schemas.openxmlformats.org/officeDocument/2006/relationships/tags" Target="../tags/tag1485.xml"/><Relationship Id="rId17" Type="http://schemas.openxmlformats.org/officeDocument/2006/relationships/tags" Target="../tags/tag1326.xml"/><Relationship Id="rId38" Type="http://schemas.openxmlformats.org/officeDocument/2006/relationships/tags" Target="../tags/tag1347.xml"/><Relationship Id="rId59" Type="http://schemas.openxmlformats.org/officeDocument/2006/relationships/tags" Target="../tags/tag1368.xml"/><Relationship Id="rId103" Type="http://schemas.openxmlformats.org/officeDocument/2006/relationships/tags" Target="../tags/tag1412.xml"/><Relationship Id="rId124" Type="http://schemas.openxmlformats.org/officeDocument/2006/relationships/tags" Target="../tags/tag1433.xml"/><Relationship Id="rId70" Type="http://schemas.openxmlformats.org/officeDocument/2006/relationships/tags" Target="../tags/tag1379.xml"/><Relationship Id="rId91" Type="http://schemas.openxmlformats.org/officeDocument/2006/relationships/tags" Target="../tags/tag1400.xml"/><Relationship Id="rId145" Type="http://schemas.openxmlformats.org/officeDocument/2006/relationships/tags" Target="../tags/tag1454.xml"/><Relationship Id="rId166" Type="http://schemas.openxmlformats.org/officeDocument/2006/relationships/tags" Target="../tags/tag1475.xml"/><Relationship Id="rId1" Type="http://schemas.openxmlformats.org/officeDocument/2006/relationships/tags" Target="../tags/tag1310.xml"/><Relationship Id="rId28" Type="http://schemas.openxmlformats.org/officeDocument/2006/relationships/tags" Target="../tags/tag1337.xml"/><Relationship Id="rId49" Type="http://schemas.openxmlformats.org/officeDocument/2006/relationships/tags" Target="../tags/tag1358.xml"/><Relationship Id="rId114" Type="http://schemas.openxmlformats.org/officeDocument/2006/relationships/tags" Target="../tags/tag1423.xml"/></Relationships>
</file>

<file path=ppt/slides/_rels/slide19.xml.rels><?xml version="1.0" encoding="UTF-8" standalone="yes"?>
<Relationships xmlns="http://schemas.openxmlformats.org/package/2006/relationships"><Relationship Id="rId117" Type="http://schemas.openxmlformats.org/officeDocument/2006/relationships/tags" Target="../tags/tag1605.xml"/><Relationship Id="rId21" Type="http://schemas.openxmlformats.org/officeDocument/2006/relationships/tags" Target="../tags/tag1509.xml"/><Relationship Id="rId42" Type="http://schemas.openxmlformats.org/officeDocument/2006/relationships/tags" Target="../tags/tag1530.xml"/><Relationship Id="rId63" Type="http://schemas.openxmlformats.org/officeDocument/2006/relationships/tags" Target="../tags/tag1551.xml"/><Relationship Id="rId84" Type="http://schemas.openxmlformats.org/officeDocument/2006/relationships/tags" Target="../tags/tag1572.xml"/><Relationship Id="rId138" Type="http://schemas.openxmlformats.org/officeDocument/2006/relationships/tags" Target="../tags/tag1626.xml"/><Relationship Id="rId159" Type="http://schemas.openxmlformats.org/officeDocument/2006/relationships/tags" Target="../tags/tag1647.xml"/><Relationship Id="rId170" Type="http://schemas.openxmlformats.org/officeDocument/2006/relationships/tags" Target="../tags/tag1658.xml"/><Relationship Id="rId107" Type="http://schemas.openxmlformats.org/officeDocument/2006/relationships/tags" Target="../tags/tag1595.xml"/><Relationship Id="rId11" Type="http://schemas.openxmlformats.org/officeDocument/2006/relationships/tags" Target="../tags/tag1499.xml"/><Relationship Id="rId32" Type="http://schemas.openxmlformats.org/officeDocument/2006/relationships/tags" Target="../tags/tag1520.xml"/><Relationship Id="rId53" Type="http://schemas.openxmlformats.org/officeDocument/2006/relationships/tags" Target="../tags/tag1541.xml"/><Relationship Id="rId74" Type="http://schemas.openxmlformats.org/officeDocument/2006/relationships/tags" Target="../tags/tag1562.xml"/><Relationship Id="rId128" Type="http://schemas.openxmlformats.org/officeDocument/2006/relationships/tags" Target="../tags/tag1616.xml"/><Relationship Id="rId149" Type="http://schemas.openxmlformats.org/officeDocument/2006/relationships/tags" Target="../tags/tag1637.xml"/><Relationship Id="rId5" Type="http://schemas.openxmlformats.org/officeDocument/2006/relationships/tags" Target="../tags/tag1493.xml"/><Relationship Id="rId95" Type="http://schemas.openxmlformats.org/officeDocument/2006/relationships/tags" Target="../tags/tag1583.xml"/><Relationship Id="rId160" Type="http://schemas.openxmlformats.org/officeDocument/2006/relationships/tags" Target="../tags/tag1648.xml"/><Relationship Id="rId181" Type="http://schemas.openxmlformats.org/officeDocument/2006/relationships/notesSlide" Target="../notesSlides/notesSlide19.xml"/><Relationship Id="rId22" Type="http://schemas.openxmlformats.org/officeDocument/2006/relationships/tags" Target="../tags/tag1510.xml"/><Relationship Id="rId43" Type="http://schemas.openxmlformats.org/officeDocument/2006/relationships/tags" Target="../tags/tag1531.xml"/><Relationship Id="rId64" Type="http://schemas.openxmlformats.org/officeDocument/2006/relationships/tags" Target="../tags/tag1552.xml"/><Relationship Id="rId118" Type="http://schemas.openxmlformats.org/officeDocument/2006/relationships/tags" Target="../tags/tag1606.xml"/><Relationship Id="rId139" Type="http://schemas.openxmlformats.org/officeDocument/2006/relationships/tags" Target="../tags/tag1627.xml"/><Relationship Id="rId85" Type="http://schemas.openxmlformats.org/officeDocument/2006/relationships/tags" Target="../tags/tag1573.xml"/><Relationship Id="rId150" Type="http://schemas.openxmlformats.org/officeDocument/2006/relationships/tags" Target="../tags/tag1638.xml"/><Relationship Id="rId171" Type="http://schemas.openxmlformats.org/officeDocument/2006/relationships/tags" Target="../tags/tag1659.xml"/><Relationship Id="rId12" Type="http://schemas.openxmlformats.org/officeDocument/2006/relationships/tags" Target="../tags/tag1500.xml"/><Relationship Id="rId33" Type="http://schemas.openxmlformats.org/officeDocument/2006/relationships/tags" Target="../tags/tag1521.xml"/><Relationship Id="rId108" Type="http://schemas.openxmlformats.org/officeDocument/2006/relationships/tags" Target="../tags/tag1596.xml"/><Relationship Id="rId129" Type="http://schemas.openxmlformats.org/officeDocument/2006/relationships/tags" Target="../tags/tag1617.xml"/><Relationship Id="rId54" Type="http://schemas.openxmlformats.org/officeDocument/2006/relationships/tags" Target="../tags/tag1542.xml"/><Relationship Id="rId75" Type="http://schemas.openxmlformats.org/officeDocument/2006/relationships/tags" Target="../tags/tag1563.xml"/><Relationship Id="rId96" Type="http://schemas.openxmlformats.org/officeDocument/2006/relationships/tags" Target="../tags/tag1584.xml"/><Relationship Id="rId140" Type="http://schemas.openxmlformats.org/officeDocument/2006/relationships/tags" Target="../tags/tag1628.xml"/><Relationship Id="rId161" Type="http://schemas.openxmlformats.org/officeDocument/2006/relationships/tags" Target="../tags/tag1649.xml"/><Relationship Id="rId182" Type="http://schemas.openxmlformats.org/officeDocument/2006/relationships/oleObject" Target="../embeddings/oleObject12.bin"/><Relationship Id="rId6" Type="http://schemas.openxmlformats.org/officeDocument/2006/relationships/tags" Target="../tags/tag1494.xml"/><Relationship Id="rId23" Type="http://schemas.openxmlformats.org/officeDocument/2006/relationships/tags" Target="../tags/tag1511.xml"/><Relationship Id="rId119" Type="http://schemas.openxmlformats.org/officeDocument/2006/relationships/tags" Target="../tags/tag1607.xml"/><Relationship Id="rId44" Type="http://schemas.openxmlformats.org/officeDocument/2006/relationships/tags" Target="../tags/tag1532.xml"/><Relationship Id="rId60" Type="http://schemas.openxmlformats.org/officeDocument/2006/relationships/tags" Target="../tags/tag1548.xml"/><Relationship Id="rId65" Type="http://schemas.openxmlformats.org/officeDocument/2006/relationships/tags" Target="../tags/tag1553.xml"/><Relationship Id="rId81" Type="http://schemas.openxmlformats.org/officeDocument/2006/relationships/tags" Target="../tags/tag1569.xml"/><Relationship Id="rId86" Type="http://schemas.openxmlformats.org/officeDocument/2006/relationships/tags" Target="../tags/tag1574.xml"/><Relationship Id="rId130" Type="http://schemas.openxmlformats.org/officeDocument/2006/relationships/tags" Target="../tags/tag1618.xml"/><Relationship Id="rId135" Type="http://schemas.openxmlformats.org/officeDocument/2006/relationships/tags" Target="../tags/tag1623.xml"/><Relationship Id="rId151" Type="http://schemas.openxmlformats.org/officeDocument/2006/relationships/tags" Target="../tags/tag1639.xml"/><Relationship Id="rId156" Type="http://schemas.openxmlformats.org/officeDocument/2006/relationships/tags" Target="../tags/tag1644.xml"/><Relationship Id="rId177" Type="http://schemas.openxmlformats.org/officeDocument/2006/relationships/tags" Target="../tags/tag1665.xml"/><Relationship Id="rId172" Type="http://schemas.openxmlformats.org/officeDocument/2006/relationships/tags" Target="../tags/tag1660.xml"/><Relationship Id="rId13" Type="http://schemas.openxmlformats.org/officeDocument/2006/relationships/tags" Target="../tags/tag1501.xml"/><Relationship Id="rId18" Type="http://schemas.openxmlformats.org/officeDocument/2006/relationships/tags" Target="../tags/tag1506.xml"/><Relationship Id="rId39" Type="http://schemas.openxmlformats.org/officeDocument/2006/relationships/tags" Target="../tags/tag1527.xml"/><Relationship Id="rId109" Type="http://schemas.openxmlformats.org/officeDocument/2006/relationships/tags" Target="../tags/tag1597.xml"/><Relationship Id="rId34" Type="http://schemas.openxmlformats.org/officeDocument/2006/relationships/tags" Target="../tags/tag1522.xml"/><Relationship Id="rId50" Type="http://schemas.openxmlformats.org/officeDocument/2006/relationships/tags" Target="../tags/tag1538.xml"/><Relationship Id="rId55" Type="http://schemas.openxmlformats.org/officeDocument/2006/relationships/tags" Target="../tags/tag1543.xml"/><Relationship Id="rId76" Type="http://schemas.openxmlformats.org/officeDocument/2006/relationships/tags" Target="../tags/tag1564.xml"/><Relationship Id="rId97" Type="http://schemas.openxmlformats.org/officeDocument/2006/relationships/tags" Target="../tags/tag1585.xml"/><Relationship Id="rId104" Type="http://schemas.openxmlformats.org/officeDocument/2006/relationships/tags" Target="../tags/tag1592.xml"/><Relationship Id="rId120" Type="http://schemas.openxmlformats.org/officeDocument/2006/relationships/tags" Target="../tags/tag1608.xml"/><Relationship Id="rId125" Type="http://schemas.openxmlformats.org/officeDocument/2006/relationships/tags" Target="../tags/tag1613.xml"/><Relationship Id="rId141" Type="http://schemas.openxmlformats.org/officeDocument/2006/relationships/tags" Target="../tags/tag1629.xml"/><Relationship Id="rId146" Type="http://schemas.openxmlformats.org/officeDocument/2006/relationships/tags" Target="../tags/tag1634.xml"/><Relationship Id="rId167" Type="http://schemas.openxmlformats.org/officeDocument/2006/relationships/tags" Target="../tags/tag1655.xml"/><Relationship Id="rId7" Type="http://schemas.openxmlformats.org/officeDocument/2006/relationships/tags" Target="../tags/tag1495.xml"/><Relationship Id="rId71" Type="http://schemas.openxmlformats.org/officeDocument/2006/relationships/tags" Target="../tags/tag1559.xml"/><Relationship Id="rId92" Type="http://schemas.openxmlformats.org/officeDocument/2006/relationships/tags" Target="../tags/tag1580.xml"/><Relationship Id="rId162" Type="http://schemas.openxmlformats.org/officeDocument/2006/relationships/tags" Target="../tags/tag1650.xml"/><Relationship Id="rId183" Type="http://schemas.openxmlformats.org/officeDocument/2006/relationships/image" Target="../media/image1.emf"/><Relationship Id="rId2" Type="http://schemas.openxmlformats.org/officeDocument/2006/relationships/tags" Target="../tags/tag1490.xml"/><Relationship Id="rId29" Type="http://schemas.openxmlformats.org/officeDocument/2006/relationships/tags" Target="../tags/tag1517.xml"/><Relationship Id="rId24" Type="http://schemas.openxmlformats.org/officeDocument/2006/relationships/tags" Target="../tags/tag1512.xml"/><Relationship Id="rId40" Type="http://schemas.openxmlformats.org/officeDocument/2006/relationships/tags" Target="../tags/tag1528.xml"/><Relationship Id="rId45" Type="http://schemas.openxmlformats.org/officeDocument/2006/relationships/tags" Target="../tags/tag1533.xml"/><Relationship Id="rId66" Type="http://schemas.openxmlformats.org/officeDocument/2006/relationships/tags" Target="../tags/tag1554.xml"/><Relationship Id="rId87" Type="http://schemas.openxmlformats.org/officeDocument/2006/relationships/tags" Target="../tags/tag1575.xml"/><Relationship Id="rId110" Type="http://schemas.openxmlformats.org/officeDocument/2006/relationships/tags" Target="../tags/tag1598.xml"/><Relationship Id="rId115" Type="http://schemas.openxmlformats.org/officeDocument/2006/relationships/tags" Target="../tags/tag1603.xml"/><Relationship Id="rId131" Type="http://schemas.openxmlformats.org/officeDocument/2006/relationships/tags" Target="../tags/tag1619.xml"/><Relationship Id="rId136" Type="http://schemas.openxmlformats.org/officeDocument/2006/relationships/tags" Target="../tags/tag1624.xml"/><Relationship Id="rId157" Type="http://schemas.openxmlformats.org/officeDocument/2006/relationships/tags" Target="../tags/tag1645.xml"/><Relationship Id="rId178" Type="http://schemas.openxmlformats.org/officeDocument/2006/relationships/tags" Target="../tags/tag1666.xml"/><Relationship Id="rId61" Type="http://schemas.openxmlformats.org/officeDocument/2006/relationships/tags" Target="../tags/tag1549.xml"/><Relationship Id="rId82" Type="http://schemas.openxmlformats.org/officeDocument/2006/relationships/tags" Target="../tags/tag1570.xml"/><Relationship Id="rId152" Type="http://schemas.openxmlformats.org/officeDocument/2006/relationships/tags" Target="../tags/tag1640.xml"/><Relationship Id="rId173" Type="http://schemas.openxmlformats.org/officeDocument/2006/relationships/tags" Target="../tags/tag1661.xml"/><Relationship Id="rId19" Type="http://schemas.openxmlformats.org/officeDocument/2006/relationships/tags" Target="../tags/tag1507.xml"/><Relationship Id="rId14" Type="http://schemas.openxmlformats.org/officeDocument/2006/relationships/tags" Target="../tags/tag1502.xml"/><Relationship Id="rId30" Type="http://schemas.openxmlformats.org/officeDocument/2006/relationships/tags" Target="../tags/tag1518.xml"/><Relationship Id="rId35" Type="http://schemas.openxmlformats.org/officeDocument/2006/relationships/tags" Target="../tags/tag1523.xml"/><Relationship Id="rId56" Type="http://schemas.openxmlformats.org/officeDocument/2006/relationships/tags" Target="../tags/tag1544.xml"/><Relationship Id="rId77" Type="http://schemas.openxmlformats.org/officeDocument/2006/relationships/tags" Target="../tags/tag1565.xml"/><Relationship Id="rId100" Type="http://schemas.openxmlformats.org/officeDocument/2006/relationships/tags" Target="../tags/tag1588.xml"/><Relationship Id="rId105" Type="http://schemas.openxmlformats.org/officeDocument/2006/relationships/tags" Target="../tags/tag1593.xml"/><Relationship Id="rId126" Type="http://schemas.openxmlformats.org/officeDocument/2006/relationships/tags" Target="../tags/tag1614.xml"/><Relationship Id="rId147" Type="http://schemas.openxmlformats.org/officeDocument/2006/relationships/tags" Target="../tags/tag1635.xml"/><Relationship Id="rId168" Type="http://schemas.openxmlformats.org/officeDocument/2006/relationships/tags" Target="../tags/tag1656.xml"/><Relationship Id="rId8" Type="http://schemas.openxmlformats.org/officeDocument/2006/relationships/tags" Target="../tags/tag1496.xml"/><Relationship Id="rId51" Type="http://schemas.openxmlformats.org/officeDocument/2006/relationships/tags" Target="../tags/tag1539.xml"/><Relationship Id="rId72" Type="http://schemas.openxmlformats.org/officeDocument/2006/relationships/tags" Target="../tags/tag1560.xml"/><Relationship Id="rId93" Type="http://schemas.openxmlformats.org/officeDocument/2006/relationships/tags" Target="../tags/tag1581.xml"/><Relationship Id="rId98" Type="http://schemas.openxmlformats.org/officeDocument/2006/relationships/tags" Target="../tags/tag1586.xml"/><Relationship Id="rId121" Type="http://schemas.openxmlformats.org/officeDocument/2006/relationships/tags" Target="../tags/tag1609.xml"/><Relationship Id="rId142" Type="http://schemas.openxmlformats.org/officeDocument/2006/relationships/tags" Target="../tags/tag1630.xml"/><Relationship Id="rId163" Type="http://schemas.openxmlformats.org/officeDocument/2006/relationships/tags" Target="../tags/tag1651.xml"/><Relationship Id="rId3" Type="http://schemas.openxmlformats.org/officeDocument/2006/relationships/tags" Target="../tags/tag1491.xml"/><Relationship Id="rId25" Type="http://schemas.openxmlformats.org/officeDocument/2006/relationships/tags" Target="../tags/tag1513.xml"/><Relationship Id="rId46" Type="http://schemas.openxmlformats.org/officeDocument/2006/relationships/tags" Target="../tags/tag1534.xml"/><Relationship Id="rId67" Type="http://schemas.openxmlformats.org/officeDocument/2006/relationships/tags" Target="../tags/tag1555.xml"/><Relationship Id="rId116" Type="http://schemas.openxmlformats.org/officeDocument/2006/relationships/tags" Target="../tags/tag1604.xml"/><Relationship Id="rId137" Type="http://schemas.openxmlformats.org/officeDocument/2006/relationships/tags" Target="../tags/tag1625.xml"/><Relationship Id="rId158" Type="http://schemas.openxmlformats.org/officeDocument/2006/relationships/tags" Target="../tags/tag1646.xml"/><Relationship Id="rId20" Type="http://schemas.openxmlformats.org/officeDocument/2006/relationships/tags" Target="../tags/tag1508.xml"/><Relationship Id="rId41" Type="http://schemas.openxmlformats.org/officeDocument/2006/relationships/tags" Target="../tags/tag1529.xml"/><Relationship Id="rId62" Type="http://schemas.openxmlformats.org/officeDocument/2006/relationships/tags" Target="../tags/tag1550.xml"/><Relationship Id="rId83" Type="http://schemas.openxmlformats.org/officeDocument/2006/relationships/tags" Target="../tags/tag1571.xml"/><Relationship Id="rId88" Type="http://schemas.openxmlformats.org/officeDocument/2006/relationships/tags" Target="../tags/tag1576.xml"/><Relationship Id="rId111" Type="http://schemas.openxmlformats.org/officeDocument/2006/relationships/tags" Target="../tags/tag1599.xml"/><Relationship Id="rId132" Type="http://schemas.openxmlformats.org/officeDocument/2006/relationships/tags" Target="../tags/tag1620.xml"/><Relationship Id="rId153" Type="http://schemas.openxmlformats.org/officeDocument/2006/relationships/tags" Target="../tags/tag1641.xml"/><Relationship Id="rId174" Type="http://schemas.openxmlformats.org/officeDocument/2006/relationships/tags" Target="../tags/tag1662.xml"/><Relationship Id="rId179" Type="http://schemas.openxmlformats.org/officeDocument/2006/relationships/tags" Target="../tags/tag1667.xml"/><Relationship Id="rId15" Type="http://schemas.openxmlformats.org/officeDocument/2006/relationships/tags" Target="../tags/tag1503.xml"/><Relationship Id="rId36" Type="http://schemas.openxmlformats.org/officeDocument/2006/relationships/tags" Target="../tags/tag1524.xml"/><Relationship Id="rId57" Type="http://schemas.openxmlformats.org/officeDocument/2006/relationships/tags" Target="../tags/tag1545.xml"/><Relationship Id="rId106" Type="http://schemas.openxmlformats.org/officeDocument/2006/relationships/tags" Target="../tags/tag1594.xml"/><Relationship Id="rId127" Type="http://schemas.openxmlformats.org/officeDocument/2006/relationships/tags" Target="../tags/tag1615.xml"/><Relationship Id="rId10" Type="http://schemas.openxmlformats.org/officeDocument/2006/relationships/tags" Target="../tags/tag1498.xml"/><Relationship Id="rId31" Type="http://schemas.openxmlformats.org/officeDocument/2006/relationships/tags" Target="../tags/tag1519.xml"/><Relationship Id="rId52" Type="http://schemas.openxmlformats.org/officeDocument/2006/relationships/tags" Target="../tags/tag1540.xml"/><Relationship Id="rId73" Type="http://schemas.openxmlformats.org/officeDocument/2006/relationships/tags" Target="../tags/tag1561.xml"/><Relationship Id="rId78" Type="http://schemas.openxmlformats.org/officeDocument/2006/relationships/tags" Target="../tags/tag1566.xml"/><Relationship Id="rId94" Type="http://schemas.openxmlformats.org/officeDocument/2006/relationships/tags" Target="../tags/tag1582.xml"/><Relationship Id="rId99" Type="http://schemas.openxmlformats.org/officeDocument/2006/relationships/tags" Target="../tags/tag1587.xml"/><Relationship Id="rId101" Type="http://schemas.openxmlformats.org/officeDocument/2006/relationships/tags" Target="../tags/tag1589.xml"/><Relationship Id="rId122" Type="http://schemas.openxmlformats.org/officeDocument/2006/relationships/tags" Target="../tags/tag1610.xml"/><Relationship Id="rId143" Type="http://schemas.openxmlformats.org/officeDocument/2006/relationships/tags" Target="../tags/tag1631.xml"/><Relationship Id="rId148" Type="http://schemas.openxmlformats.org/officeDocument/2006/relationships/tags" Target="../tags/tag1636.xml"/><Relationship Id="rId164" Type="http://schemas.openxmlformats.org/officeDocument/2006/relationships/tags" Target="../tags/tag1652.xml"/><Relationship Id="rId169" Type="http://schemas.openxmlformats.org/officeDocument/2006/relationships/tags" Target="../tags/tag1657.xml"/><Relationship Id="rId4" Type="http://schemas.openxmlformats.org/officeDocument/2006/relationships/tags" Target="../tags/tag1492.xml"/><Relationship Id="rId9" Type="http://schemas.openxmlformats.org/officeDocument/2006/relationships/tags" Target="../tags/tag1497.xml"/><Relationship Id="rId180" Type="http://schemas.openxmlformats.org/officeDocument/2006/relationships/slideLayout" Target="../slideLayouts/slideLayout6.xml"/><Relationship Id="rId26" Type="http://schemas.openxmlformats.org/officeDocument/2006/relationships/tags" Target="../tags/tag1514.xml"/><Relationship Id="rId47" Type="http://schemas.openxmlformats.org/officeDocument/2006/relationships/tags" Target="../tags/tag1535.xml"/><Relationship Id="rId68" Type="http://schemas.openxmlformats.org/officeDocument/2006/relationships/tags" Target="../tags/tag1556.xml"/><Relationship Id="rId89" Type="http://schemas.openxmlformats.org/officeDocument/2006/relationships/tags" Target="../tags/tag1577.xml"/><Relationship Id="rId112" Type="http://schemas.openxmlformats.org/officeDocument/2006/relationships/tags" Target="../tags/tag1600.xml"/><Relationship Id="rId133" Type="http://schemas.openxmlformats.org/officeDocument/2006/relationships/tags" Target="../tags/tag1621.xml"/><Relationship Id="rId154" Type="http://schemas.openxmlformats.org/officeDocument/2006/relationships/tags" Target="../tags/tag1642.xml"/><Relationship Id="rId175" Type="http://schemas.openxmlformats.org/officeDocument/2006/relationships/tags" Target="../tags/tag1663.xml"/><Relationship Id="rId16" Type="http://schemas.openxmlformats.org/officeDocument/2006/relationships/tags" Target="../tags/tag1504.xml"/><Relationship Id="rId37" Type="http://schemas.openxmlformats.org/officeDocument/2006/relationships/tags" Target="../tags/tag1525.xml"/><Relationship Id="rId58" Type="http://schemas.openxmlformats.org/officeDocument/2006/relationships/tags" Target="../tags/tag1546.xml"/><Relationship Id="rId79" Type="http://schemas.openxmlformats.org/officeDocument/2006/relationships/tags" Target="../tags/tag1567.xml"/><Relationship Id="rId102" Type="http://schemas.openxmlformats.org/officeDocument/2006/relationships/tags" Target="../tags/tag1590.xml"/><Relationship Id="rId123" Type="http://schemas.openxmlformats.org/officeDocument/2006/relationships/tags" Target="../tags/tag1611.xml"/><Relationship Id="rId144" Type="http://schemas.openxmlformats.org/officeDocument/2006/relationships/tags" Target="../tags/tag1632.xml"/><Relationship Id="rId90" Type="http://schemas.openxmlformats.org/officeDocument/2006/relationships/tags" Target="../tags/tag1578.xml"/><Relationship Id="rId165" Type="http://schemas.openxmlformats.org/officeDocument/2006/relationships/tags" Target="../tags/tag1653.xml"/><Relationship Id="rId27" Type="http://schemas.openxmlformats.org/officeDocument/2006/relationships/tags" Target="../tags/tag1515.xml"/><Relationship Id="rId48" Type="http://schemas.openxmlformats.org/officeDocument/2006/relationships/tags" Target="../tags/tag1536.xml"/><Relationship Id="rId69" Type="http://schemas.openxmlformats.org/officeDocument/2006/relationships/tags" Target="../tags/tag1557.xml"/><Relationship Id="rId113" Type="http://schemas.openxmlformats.org/officeDocument/2006/relationships/tags" Target="../tags/tag1601.xml"/><Relationship Id="rId134" Type="http://schemas.openxmlformats.org/officeDocument/2006/relationships/tags" Target="../tags/tag1622.xml"/><Relationship Id="rId80" Type="http://schemas.openxmlformats.org/officeDocument/2006/relationships/tags" Target="../tags/tag1568.xml"/><Relationship Id="rId155" Type="http://schemas.openxmlformats.org/officeDocument/2006/relationships/tags" Target="../tags/tag1643.xml"/><Relationship Id="rId176" Type="http://schemas.openxmlformats.org/officeDocument/2006/relationships/tags" Target="../tags/tag1664.xml"/><Relationship Id="rId17" Type="http://schemas.openxmlformats.org/officeDocument/2006/relationships/tags" Target="../tags/tag1505.xml"/><Relationship Id="rId38" Type="http://schemas.openxmlformats.org/officeDocument/2006/relationships/tags" Target="../tags/tag1526.xml"/><Relationship Id="rId59" Type="http://schemas.openxmlformats.org/officeDocument/2006/relationships/tags" Target="../tags/tag1547.xml"/><Relationship Id="rId103" Type="http://schemas.openxmlformats.org/officeDocument/2006/relationships/tags" Target="../tags/tag1591.xml"/><Relationship Id="rId124" Type="http://schemas.openxmlformats.org/officeDocument/2006/relationships/tags" Target="../tags/tag1612.xml"/><Relationship Id="rId70" Type="http://schemas.openxmlformats.org/officeDocument/2006/relationships/tags" Target="../tags/tag1558.xml"/><Relationship Id="rId91" Type="http://schemas.openxmlformats.org/officeDocument/2006/relationships/tags" Target="../tags/tag1579.xml"/><Relationship Id="rId145" Type="http://schemas.openxmlformats.org/officeDocument/2006/relationships/tags" Target="../tags/tag1633.xml"/><Relationship Id="rId166" Type="http://schemas.openxmlformats.org/officeDocument/2006/relationships/tags" Target="../tags/tag1654.xml"/><Relationship Id="rId1" Type="http://schemas.openxmlformats.org/officeDocument/2006/relationships/tags" Target="../tags/tag1489.xml"/><Relationship Id="rId28" Type="http://schemas.openxmlformats.org/officeDocument/2006/relationships/tags" Target="../tags/tag1516.xml"/><Relationship Id="rId49" Type="http://schemas.openxmlformats.org/officeDocument/2006/relationships/tags" Target="../tags/tag1537.xml"/><Relationship Id="rId114" Type="http://schemas.openxmlformats.org/officeDocument/2006/relationships/tags" Target="../tags/tag160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slide" Target="slide2.xml"/><Relationship Id="rId3" Type="http://schemas.openxmlformats.org/officeDocument/2006/relationships/tags" Target="../tags/tag9.xml"/><Relationship Id="rId21" Type="http://schemas.openxmlformats.org/officeDocument/2006/relationships/slide" Target="slide9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notesSlide" Target="../notesSlides/notesSlide2.xml"/><Relationship Id="rId2" Type="http://schemas.openxmlformats.org/officeDocument/2006/relationships/tags" Target="../tags/tag8.xml"/><Relationship Id="rId16" Type="http://schemas.openxmlformats.org/officeDocument/2006/relationships/slideLayout" Target="../slideLayouts/slideLayout32.xml"/><Relationship Id="rId20" Type="http://schemas.openxmlformats.org/officeDocument/2006/relationships/slide" Target="slide6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23" Type="http://schemas.openxmlformats.org/officeDocument/2006/relationships/slide" Target="slide20.xml"/><Relationship Id="rId10" Type="http://schemas.openxmlformats.org/officeDocument/2006/relationships/tags" Target="../tags/tag16.xml"/><Relationship Id="rId19" Type="http://schemas.openxmlformats.org/officeDocument/2006/relationships/slide" Target="slide4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slide" Target="slide1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675.xml"/><Relationship Id="rId13" Type="http://schemas.openxmlformats.org/officeDocument/2006/relationships/tags" Target="../tags/tag1680.xml"/><Relationship Id="rId18" Type="http://schemas.openxmlformats.org/officeDocument/2006/relationships/slide" Target="slide2.xml"/><Relationship Id="rId3" Type="http://schemas.openxmlformats.org/officeDocument/2006/relationships/tags" Target="../tags/tag1670.xml"/><Relationship Id="rId21" Type="http://schemas.openxmlformats.org/officeDocument/2006/relationships/slide" Target="slide9.xml"/><Relationship Id="rId7" Type="http://schemas.openxmlformats.org/officeDocument/2006/relationships/tags" Target="../tags/tag1674.xml"/><Relationship Id="rId12" Type="http://schemas.openxmlformats.org/officeDocument/2006/relationships/tags" Target="../tags/tag1679.xml"/><Relationship Id="rId17" Type="http://schemas.openxmlformats.org/officeDocument/2006/relationships/notesSlide" Target="../notesSlides/notesSlide20.xml"/><Relationship Id="rId2" Type="http://schemas.openxmlformats.org/officeDocument/2006/relationships/tags" Target="../tags/tag1669.xml"/><Relationship Id="rId16" Type="http://schemas.openxmlformats.org/officeDocument/2006/relationships/slideLayout" Target="../slideLayouts/slideLayout32.xml"/><Relationship Id="rId20" Type="http://schemas.openxmlformats.org/officeDocument/2006/relationships/slide" Target="slide6.xml"/><Relationship Id="rId1" Type="http://schemas.openxmlformats.org/officeDocument/2006/relationships/tags" Target="../tags/tag1668.xml"/><Relationship Id="rId6" Type="http://schemas.openxmlformats.org/officeDocument/2006/relationships/tags" Target="../tags/tag1673.xml"/><Relationship Id="rId11" Type="http://schemas.openxmlformats.org/officeDocument/2006/relationships/tags" Target="../tags/tag1678.xml"/><Relationship Id="rId5" Type="http://schemas.openxmlformats.org/officeDocument/2006/relationships/tags" Target="../tags/tag1672.xml"/><Relationship Id="rId15" Type="http://schemas.openxmlformats.org/officeDocument/2006/relationships/tags" Target="../tags/tag1682.xml"/><Relationship Id="rId23" Type="http://schemas.openxmlformats.org/officeDocument/2006/relationships/slide" Target="slide20.xml"/><Relationship Id="rId10" Type="http://schemas.openxmlformats.org/officeDocument/2006/relationships/tags" Target="../tags/tag1677.xml"/><Relationship Id="rId19" Type="http://schemas.openxmlformats.org/officeDocument/2006/relationships/slide" Target="slide4.xml"/><Relationship Id="rId4" Type="http://schemas.openxmlformats.org/officeDocument/2006/relationships/tags" Target="../tags/tag1671.xml"/><Relationship Id="rId9" Type="http://schemas.openxmlformats.org/officeDocument/2006/relationships/tags" Target="../tags/tag1676.xml"/><Relationship Id="rId14" Type="http://schemas.openxmlformats.org/officeDocument/2006/relationships/tags" Target="../tags/tag1681.xml"/><Relationship Id="rId22" Type="http://schemas.openxmlformats.org/officeDocument/2006/relationships/slide" Target="slide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68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tags" Target="../tags/tag35.xml"/><Relationship Id="rId18" Type="http://schemas.openxmlformats.org/officeDocument/2006/relationships/slide" Target="slide2.xml"/><Relationship Id="rId3" Type="http://schemas.openxmlformats.org/officeDocument/2006/relationships/tags" Target="../tags/tag25.xml"/><Relationship Id="rId21" Type="http://schemas.openxmlformats.org/officeDocument/2006/relationships/slide" Target="slide9.xml"/><Relationship Id="rId7" Type="http://schemas.openxmlformats.org/officeDocument/2006/relationships/tags" Target="../tags/tag29.xml"/><Relationship Id="rId12" Type="http://schemas.openxmlformats.org/officeDocument/2006/relationships/tags" Target="../tags/tag34.xml"/><Relationship Id="rId17" Type="http://schemas.openxmlformats.org/officeDocument/2006/relationships/notesSlide" Target="../notesSlides/notesSlide4.xml"/><Relationship Id="rId2" Type="http://schemas.openxmlformats.org/officeDocument/2006/relationships/tags" Target="../tags/tag24.xml"/><Relationship Id="rId16" Type="http://schemas.openxmlformats.org/officeDocument/2006/relationships/slideLayout" Target="../slideLayouts/slideLayout32.xml"/><Relationship Id="rId20" Type="http://schemas.openxmlformats.org/officeDocument/2006/relationships/slide" Target="slide6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5" Type="http://schemas.openxmlformats.org/officeDocument/2006/relationships/tags" Target="../tags/tag27.xml"/><Relationship Id="rId15" Type="http://schemas.openxmlformats.org/officeDocument/2006/relationships/tags" Target="../tags/tag37.xml"/><Relationship Id="rId23" Type="http://schemas.openxmlformats.org/officeDocument/2006/relationships/slide" Target="slide20.xml"/><Relationship Id="rId10" Type="http://schemas.openxmlformats.org/officeDocument/2006/relationships/tags" Target="../tags/tag32.xml"/><Relationship Id="rId19" Type="http://schemas.openxmlformats.org/officeDocument/2006/relationships/slide" Target="slide4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tags" Target="../tags/tag36.xml"/><Relationship Id="rId22" Type="http://schemas.openxmlformats.org/officeDocument/2006/relationships/slide" Target="slide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.xml"/><Relationship Id="rId6" Type="http://schemas.openxmlformats.org/officeDocument/2006/relationships/image" Target="../media/image7.t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tags" Target="../tags/tag51.xml"/><Relationship Id="rId18" Type="http://schemas.openxmlformats.org/officeDocument/2006/relationships/slide" Target="slide2.xml"/><Relationship Id="rId3" Type="http://schemas.openxmlformats.org/officeDocument/2006/relationships/tags" Target="../tags/tag41.xml"/><Relationship Id="rId21" Type="http://schemas.openxmlformats.org/officeDocument/2006/relationships/slide" Target="slide9.xml"/><Relationship Id="rId7" Type="http://schemas.openxmlformats.org/officeDocument/2006/relationships/tags" Target="../tags/tag45.xml"/><Relationship Id="rId12" Type="http://schemas.openxmlformats.org/officeDocument/2006/relationships/tags" Target="../tags/tag50.xml"/><Relationship Id="rId17" Type="http://schemas.openxmlformats.org/officeDocument/2006/relationships/notesSlide" Target="../notesSlides/notesSlide6.xml"/><Relationship Id="rId2" Type="http://schemas.openxmlformats.org/officeDocument/2006/relationships/tags" Target="../tags/tag40.xml"/><Relationship Id="rId16" Type="http://schemas.openxmlformats.org/officeDocument/2006/relationships/slideLayout" Target="../slideLayouts/slideLayout32.xml"/><Relationship Id="rId20" Type="http://schemas.openxmlformats.org/officeDocument/2006/relationships/slide" Target="slide6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11" Type="http://schemas.openxmlformats.org/officeDocument/2006/relationships/tags" Target="../tags/tag49.xml"/><Relationship Id="rId5" Type="http://schemas.openxmlformats.org/officeDocument/2006/relationships/tags" Target="../tags/tag43.xml"/><Relationship Id="rId15" Type="http://schemas.openxmlformats.org/officeDocument/2006/relationships/tags" Target="../tags/tag53.xml"/><Relationship Id="rId23" Type="http://schemas.openxmlformats.org/officeDocument/2006/relationships/slide" Target="slide20.xml"/><Relationship Id="rId10" Type="http://schemas.openxmlformats.org/officeDocument/2006/relationships/tags" Target="../tags/tag48.xml"/><Relationship Id="rId19" Type="http://schemas.openxmlformats.org/officeDocument/2006/relationships/slide" Target="slide4.xml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4" Type="http://schemas.openxmlformats.org/officeDocument/2006/relationships/tags" Target="../tags/tag52.xml"/><Relationship Id="rId22" Type="http://schemas.openxmlformats.org/officeDocument/2006/relationships/slide" Target="slide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4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8.xml.rels><?xml version="1.0" encoding="UTF-8" standalone="yes"?>
<Relationships xmlns="http://schemas.openxmlformats.org/package/2006/relationships"><Relationship Id="rId117" Type="http://schemas.openxmlformats.org/officeDocument/2006/relationships/tags" Target="../tags/tag171.xml"/><Relationship Id="rId21" Type="http://schemas.openxmlformats.org/officeDocument/2006/relationships/tags" Target="../tags/tag75.xml"/><Relationship Id="rId42" Type="http://schemas.openxmlformats.org/officeDocument/2006/relationships/tags" Target="../tags/tag96.xml"/><Relationship Id="rId63" Type="http://schemas.openxmlformats.org/officeDocument/2006/relationships/tags" Target="../tags/tag117.xml"/><Relationship Id="rId84" Type="http://schemas.openxmlformats.org/officeDocument/2006/relationships/tags" Target="../tags/tag138.xml"/><Relationship Id="rId138" Type="http://schemas.openxmlformats.org/officeDocument/2006/relationships/tags" Target="../tags/tag192.xml"/><Relationship Id="rId107" Type="http://schemas.openxmlformats.org/officeDocument/2006/relationships/tags" Target="../tags/tag161.xml"/><Relationship Id="rId11" Type="http://schemas.openxmlformats.org/officeDocument/2006/relationships/tags" Target="../tags/tag65.xml"/><Relationship Id="rId32" Type="http://schemas.openxmlformats.org/officeDocument/2006/relationships/tags" Target="../tags/tag86.xml"/><Relationship Id="rId53" Type="http://schemas.openxmlformats.org/officeDocument/2006/relationships/tags" Target="../tags/tag107.xml"/><Relationship Id="rId74" Type="http://schemas.openxmlformats.org/officeDocument/2006/relationships/tags" Target="../tags/tag128.xml"/><Relationship Id="rId128" Type="http://schemas.openxmlformats.org/officeDocument/2006/relationships/tags" Target="../tags/tag182.xml"/><Relationship Id="rId149" Type="http://schemas.openxmlformats.org/officeDocument/2006/relationships/slideLayout" Target="../slideLayouts/slideLayout6.xml"/><Relationship Id="rId5" Type="http://schemas.openxmlformats.org/officeDocument/2006/relationships/tags" Target="../tags/tag59.xml"/><Relationship Id="rId95" Type="http://schemas.openxmlformats.org/officeDocument/2006/relationships/tags" Target="../tags/tag149.xml"/><Relationship Id="rId22" Type="http://schemas.openxmlformats.org/officeDocument/2006/relationships/tags" Target="../tags/tag76.xml"/><Relationship Id="rId27" Type="http://schemas.openxmlformats.org/officeDocument/2006/relationships/tags" Target="../tags/tag81.xml"/><Relationship Id="rId43" Type="http://schemas.openxmlformats.org/officeDocument/2006/relationships/tags" Target="../tags/tag97.xml"/><Relationship Id="rId48" Type="http://schemas.openxmlformats.org/officeDocument/2006/relationships/tags" Target="../tags/tag102.xml"/><Relationship Id="rId64" Type="http://schemas.openxmlformats.org/officeDocument/2006/relationships/tags" Target="../tags/tag118.xml"/><Relationship Id="rId69" Type="http://schemas.openxmlformats.org/officeDocument/2006/relationships/tags" Target="../tags/tag123.xml"/><Relationship Id="rId113" Type="http://schemas.openxmlformats.org/officeDocument/2006/relationships/tags" Target="../tags/tag167.xml"/><Relationship Id="rId118" Type="http://schemas.openxmlformats.org/officeDocument/2006/relationships/tags" Target="../tags/tag172.xml"/><Relationship Id="rId134" Type="http://schemas.openxmlformats.org/officeDocument/2006/relationships/tags" Target="../tags/tag188.xml"/><Relationship Id="rId139" Type="http://schemas.openxmlformats.org/officeDocument/2006/relationships/tags" Target="../tags/tag193.xml"/><Relationship Id="rId80" Type="http://schemas.openxmlformats.org/officeDocument/2006/relationships/tags" Target="../tags/tag134.xml"/><Relationship Id="rId85" Type="http://schemas.openxmlformats.org/officeDocument/2006/relationships/tags" Target="../tags/tag139.xml"/><Relationship Id="rId150" Type="http://schemas.openxmlformats.org/officeDocument/2006/relationships/notesSlide" Target="../notesSlides/notesSlide8.xml"/><Relationship Id="rId12" Type="http://schemas.openxmlformats.org/officeDocument/2006/relationships/tags" Target="../tags/tag66.xml"/><Relationship Id="rId17" Type="http://schemas.openxmlformats.org/officeDocument/2006/relationships/tags" Target="../tags/tag71.xml"/><Relationship Id="rId33" Type="http://schemas.openxmlformats.org/officeDocument/2006/relationships/tags" Target="../tags/tag87.xml"/><Relationship Id="rId38" Type="http://schemas.openxmlformats.org/officeDocument/2006/relationships/tags" Target="../tags/tag92.xml"/><Relationship Id="rId59" Type="http://schemas.openxmlformats.org/officeDocument/2006/relationships/tags" Target="../tags/tag113.xml"/><Relationship Id="rId103" Type="http://schemas.openxmlformats.org/officeDocument/2006/relationships/tags" Target="../tags/tag157.xml"/><Relationship Id="rId108" Type="http://schemas.openxmlformats.org/officeDocument/2006/relationships/tags" Target="../tags/tag162.xml"/><Relationship Id="rId124" Type="http://schemas.openxmlformats.org/officeDocument/2006/relationships/tags" Target="../tags/tag178.xml"/><Relationship Id="rId129" Type="http://schemas.openxmlformats.org/officeDocument/2006/relationships/tags" Target="../tags/tag183.xml"/><Relationship Id="rId54" Type="http://schemas.openxmlformats.org/officeDocument/2006/relationships/tags" Target="../tags/tag108.xml"/><Relationship Id="rId70" Type="http://schemas.openxmlformats.org/officeDocument/2006/relationships/tags" Target="../tags/tag124.xml"/><Relationship Id="rId75" Type="http://schemas.openxmlformats.org/officeDocument/2006/relationships/tags" Target="../tags/tag129.xml"/><Relationship Id="rId91" Type="http://schemas.openxmlformats.org/officeDocument/2006/relationships/tags" Target="../tags/tag145.xml"/><Relationship Id="rId96" Type="http://schemas.openxmlformats.org/officeDocument/2006/relationships/tags" Target="../tags/tag150.xml"/><Relationship Id="rId140" Type="http://schemas.openxmlformats.org/officeDocument/2006/relationships/tags" Target="../tags/tag194.xml"/><Relationship Id="rId145" Type="http://schemas.openxmlformats.org/officeDocument/2006/relationships/tags" Target="../tags/tag199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23" Type="http://schemas.openxmlformats.org/officeDocument/2006/relationships/tags" Target="../tags/tag77.xml"/><Relationship Id="rId28" Type="http://schemas.openxmlformats.org/officeDocument/2006/relationships/tags" Target="../tags/tag82.xml"/><Relationship Id="rId49" Type="http://schemas.openxmlformats.org/officeDocument/2006/relationships/tags" Target="../tags/tag103.xml"/><Relationship Id="rId114" Type="http://schemas.openxmlformats.org/officeDocument/2006/relationships/tags" Target="../tags/tag168.xml"/><Relationship Id="rId119" Type="http://schemas.openxmlformats.org/officeDocument/2006/relationships/tags" Target="../tags/tag173.xml"/><Relationship Id="rId44" Type="http://schemas.openxmlformats.org/officeDocument/2006/relationships/tags" Target="../tags/tag98.xml"/><Relationship Id="rId60" Type="http://schemas.openxmlformats.org/officeDocument/2006/relationships/tags" Target="../tags/tag114.xml"/><Relationship Id="rId65" Type="http://schemas.openxmlformats.org/officeDocument/2006/relationships/tags" Target="../tags/tag119.xml"/><Relationship Id="rId81" Type="http://schemas.openxmlformats.org/officeDocument/2006/relationships/tags" Target="../tags/tag135.xml"/><Relationship Id="rId86" Type="http://schemas.openxmlformats.org/officeDocument/2006/relationships/tags" Target="../tags/tag140.xml"/><Relationship Id="rId130" Type="http://schemas.openxmlformats.org/officeDocument/2006/relationships/tags" Target="../tags/tag184.xml"/><Relationship Id="rId135" Type="http://schemas.openxmlformats.org/officeDocument/2006/relationships/tags" Target="../tags/tag189.xml"/><Relationship Id="rId151" Type="http://schemas.openxmlformats.org/officeDocument/2006/relationships/oleObject" Target="../embeddings/oleObject6.bin"/><Relationship Id="rId13" Type="http://schemas.openxmlformats.org/officeDocument/2006/relationships/tags" Target="../tags/tag67.xml"/><Relationship Id="rId18" Type="http://schemas.openxmlformats.org/officeDocument/2006/relationships/tags" Target="../tags/tag72.xml"/><Relationship Id="rId39" Type="http://schemas.openxmlformats.org/officeDocument/2006/relationships/tags" Target="../tags/tag93.xml"/><Relationship Id="rId109" Type="http://schemas.openxmlformats.org/officeDocument/2006/relationships/tags" Target="../tags/tag163.xml"/><Relationship Id="rId34" Type="http://schemas.openxmlformats.org/officeDocument/2006/relationships/tags" Target="../tags/tag88.xml"/><Relationship Id="rId50" Type="http://schemas.openxmlformats.org/officeDocument/2006/relationships/tags" Target="../tags/tag104.xml"/><Relationship Id="rId55" Type="http://schemas.openxmlformats.org/officeDocument/2006/relationships/tags" Target="../tags/tag109.xml"/><Relationship Id="rId76" Type="http://schemas.openxmlformats.org/officeDocument/2006/relationships/tags" Target="../tags/tag130.xml"/><Relationship Id="rId97" Type="http://schemas.openxmlformats.org/officeDocument/2006/relationships/tags" Target="../tags/tag151.xml"/><Relationship Id="rId104" Type="http://schemas.openxmlformats.org/officeDocument/2006/relationships/tags" Target="../tags/tag158.xml"/><Relationship Id="rId120" Type="http://schemas.openxmlformats.org/officeDocument/2006/relationships/tags" Target="../tags/tag174.xml"/><Relationship Id="rId125" Type="http://schemas.openxmlformats.org/officeDocument/2006/relationships/tags" Target="../tags/tag179.xml"/><Relationship Id="rId141" Type="http://schemas.openxmlformats.org/officeDocument/2006/relationships/tags" Target="../tags/tag195.xml"/><Relationship Id="rId146" Type="http://schemas.openxmlformats.org/officeDocument/2006/relationships/tags" Target="../tags/tag200.xml"/><Relationship Id="rId7" Type="http://schemas.openxmlformats.org/officeDocument/2006/relationships/tags" Target="../tags/tag61.xml"/><Relationship Id="rId71" Type="http://schemas.openxmlformats.org/officeDocument/2006/relationships/tags" Target="../tags/tag125.xml"/><Relationship Id="rId92" Type="http://schemas.openxmlformats.org/officeDocument/2006/relationships/tags" Target="../tags/tag146.xml"/><Relationship Id="rId2" Type="http://schemas.openxmlformats.org/officeDocument/2006/relationships/tags" Target="../tags/tag56.xml"/><Relationship Id="rId29" Type="http://schemas.openxmlformats.org/officeDocument/2006/relationships/tags" Target="../tags/tag83.xml"/><Relationship Id="rId24" Type="http://schemas.openxmlformats.org/officeDocument/2006/relationships/tags" Target="../tags/tag78.xml"/><Relationship Id="rId40" Type="http://schemas.openxmlformats.org/officeDocument/2006/relationships/tags" Target="../tags/tag94.xml"/><Relationship Id="rId45" Type="http://schemas.openxmlformats.org/officeDocument/2006/relationships/tags" Target="../tags/tag99.xml"/><Relationship Id="rId66" Type="http://schemas.openxmlformats.org/officeDocument/2006/relationships/tags" Target="../tags/tag120.xml"/><Relationship Id="rId87" Type="http://schemas.openxmlformats.org/officeDocument/2006/relationships/tags" Target="../tags/tag141.xml"/><Relationship Id="rId110" Type="http://schemas.openxmlformats.org/officeDocument/2006/relationships/tags" Target="../tags/tag164.xml"/><Relationship Id="rId115" Type="http://schemas.openxmlformats.org/officeDocument/2006/relationships/tags" Target="../tags/tag169.xml"/><Relationship Id="rId131" Type="http://schemas.openxmlformats.org/officeDocument/2006/relationships/tags" Target="../tags/tag185.xml"/><Relationship Id="rId136" Type="http://schemas.openxmlformats.org/officeDocument/2006/relationships/tags" Target="../tags/tag190.xml"/><Relationship Id="rId61" Type="http://schemas.openxmlformats.org/officeDocument/2006/relationships/tags" Target="../tags/tag115.xml"/><Relationship Id="rId82" Type="http://schemas.openxmlformats.org/officeDocument/2006/relationships/tags" Target="../tags/tag136.xml"/><Relationship Id="rId152" Type="http://schemas.openxmlformats.org/officeDocument/2006/relationships/image" Target="../media/image1.emf"/><Relationship Id="rId19" Type="http://schemas.openxmlformats.org/officeDocument/2006/relationships/tags" Target="../tags/tag73.xml"/><Relationship Id="rId14" Type="http://schemas.openxmlformats.org/officeDocument/2006/relationships/tags" Target="../tags/tag68.xml"/><Relationship Id="rId30" Type="http://schemas.openxmlformats.org/officeDocument/2006/relationships/tags" Target="../tags/tag84.xml"/><Relationship Id="rId35" Type="http://schemas.openxmlformats.org/officeDocument/2006/relationships/tags" Target="../tags/tag89.xml"/><Relationship Id="rId56" Type="http://schemas.openxmlformats.org/officeDocument/2006/relationships/tags" Target="../tags/tag110.xml"/><Relationship Id="rId77" Type="http://schemas.openxmlformats.org/officeDocument/2006/relationships/tags" Target="../tags/tag131.xml"/><Relationship Id="rId100" Type="http://schemas.openxmlformats.org/officeDocument/2006/relationships/tags" Target="../tags/tag154.xml"/><Relationship Id="rId105" Type="http://schemas.openxmlformats.org/officeDocument/2006/relationships/tags" Target="../tags/tag159.xml"/><Relationship Id="rId126" Type="http://schemas.openxmlformats.org/officeDocument/2006/relationships/tags" Target="../tags/tag180.xml"/><Relationship Id="rId147" Type="http://schemas.openxmlformats.org/officeDocument/2006/relationships/tags" Target="../tags/tag201.xml"/><Relationship Id="rId8" Type="http://schemas.openxmlformats.org/officeDocument/2006/relationships/tags" Target="../tags/tag62.xml"/><Relationship Id="rId51" Type="http://schemas.openxmlformats.org/officeDocument/2006/relationships/tags" Target="../tags/tag105.xml"/><Relationship Id="rId72" Type="http://schemas.openxmlformats.org/officeDocument/2006/relationships/tags" Target="../tags/tag126.xml"/><Relationship Id="rId93" Type="http://schemas.openxmlformats.org/officeDocument/2006/relationships/tags" Target="../tags/tag147.xml"/><Relationship Id="rId98" Type="http://schemas.openxmlformats.org/officeDocument/2006/relationships/tags" Target="../tags/tag152.xml"/><Relationship Id="rId121" Type="http://schemas.openxmlformats.org/officeDocument/2006/relationships/tags" Target="../tags/tag175.xml"/><Relationship Id="rId142" Type="http://schemas.openxmlformats.org/officeDocument/2006/relationships/tags" Target="../tags/tag196.xml"/><Relationship Id="rId3" Type="http://schemas.openxmlformats.org/officeDocument/2006/relationships/tags" Target="../tags/tag57.xml"/><Relationship Id="rId25" Type="http://schemas.openxmlformats.org/officeDocument/2006/relationships/tags" Target="../tags/tag79.xml"/><Relationship Id="rId46" Type="http://schemas.openxmlformats.org/officeDocument/2006/relationships/tags" Target="../tags/tag100.xml"/><Relationship Id="rId67" Type="http://schemas.openxmlformats.org/officeDocument/2006/relationships/tags" Target="../tags/tag121.xml"/><Relationship Id="rId116" Type="http://schemas.openxmlformats.org/officeDocument/2006/relationships/tags" Target="../tags/tag170.xml"/><Relationship Id="rId137" Type="http://schemas.openxmlformats.org/officeDocument/2006/relationships/tags" Target="../tags/tag191.xml"/><Relationship Id="rId20" Type="http://schemas.openxmlformats.org/officeDocument/2006/relationships/tags" Target="../tags/tag74.xml"/><Relationship Id="rId41" Type="http://schemas.openxmlformats.org/officeDocument/2006/relationships/tags" Target="../tags/tag95.xml"/><Relationship Id="rId62" Type="http://schemas.openxmlformats.org/officeDocument/2006/relationships/tags" Target="../tags/tag116.xml"/><Relationship Id="rId83" Type="http://schemas.openxmlformats.org/officeDocument/2006/relationships/tags" Target="../tags/tag137.xml"/><Relationship Id="rId88" Type="http://schemas.openxmlformats.org/officeDocument/2006/relationships/tags" Target="../tags/tag142.xml"/><Relationship Id="rId111" Type="http://schemas.openxmlformats.org/officeDocument/2006/relationships/tags" Target="../tags/tag165.xml"/><Relationship Id="rId132" Type="http://schemas.openxmlformats.org/officeDocument/2006/relationships/tags" Target="../tags/tag186.xml"/><Relationship Id="rId15" Type="http://schemas.openxmlformats.org/officeDocument/2006/relationships/tags" Target="../tags/tag69.xml"/><Relationship Id="rId36" Type="http://schemas.openxmlformats.org/officeDocument/2006/relationships/tags" Target="../tags/tag90.xml"/><Relationship Id="rId57" Type="http://schemas.openxmlformats.org/officeDocument/2006/relationships/tags" Target="../tags/tag111.xml"/><Relationship Id="rId106" Type="http://schemas.openxmlformats.org/officeDocument/2006/relationships/tags" Target="../tags/tag160.xml"/><Relationship Id="rId127" Type="http://schemas.openxmlformats.org/officeDocument/2006/relationships/tags" Target="../tags/tag181.xml"/><Relationship Id="rId10" Type="http://schemas.openxmlformats.org/officeDocument/2006/relationships/tags" Target="../tags/tag64.xml"/><Relationship Id="rId31" Type="http://schemas.openxmlformats.org/officeDocument/2006/relationships/tags" Target="../tags/tag85.xml"/><Relationship Id="rId52" Type="http://schemas.openxmlformats.org/officeDocument/2006/relationships/tags" Target="../tags/tag106.xml"/><Relationship Id="rId73" Type="http://schemas.openxmlformats.org/officeDocument/2006/relationships/tags" Target="../tags/tag127.xml"/><Relationship Id="rId78" Type="http://schemas.openxmlformats.org/officeDocument/2006/relationships/tags" Target="../tags/tag132.xml"/><Relationship Id="rId94" Type="http://schemas.openxmlformats.org/officeDocument/2006/relationships/tags" Target="../tags/tag148.xml"/><Relationship Id="rId99" Type="http://schemas.openxmlformats.org/officeDocument/2006/relationships/tags" Target="../tags/tag153.xml"/><Relationship Id="rId101" Type="http://schemas.openxmlformats.org/officeDocument/2006/relationships/tags" Target="../tags/tag155.xml"/><Relationship Id="rId122" Type="http://schemas.openxmlformats.org/officeDocument/2006/relationships/tags" Target="../tags/tag176.xml"/><Relationship Id="rId143" Type="http://schemas.openxmlformats.org/officeDocument/2006/relationships/tags" Target="../tags/tag197.xml"/><Relationship Id="rId148" Type="http://schemas.openxmlformats.org/officeDocument/2006/relationships/tags" Target="../tags/tag202.xml"/><Relationship Id="rId4" Type="http://schemas.openxmlformats.org/officeDocument/2006/relationships/tags" Target="../tags/tag58.xml"/><Relationship Id="rId9" Type="http://schemas.openxmlformats.org/officeDocument/2006/relationships/tags" Target="../tags/tag63.xml"/><Relationship Id="rId26" Type="http://schemas.openxmlformats.org/officeDocument/2006/relationships/tags" Target="../tags/tag80.xml"/><Relationship Id="rId47" Type="http://schemas.openxmlformats.org/officeDocument/2006/relationships/tags" Target="../tags/tag101.xml"/><Relationship Id="rId68" Type="http://schemas.openxmlformats.org/officeDocument/2006/relationships/tags" Target="../tags/tag122.xml"/><Relationship Id="rId89" Type="http://schemas.openxmlformats.org/officeDocument/2006/relationships/tags" Target="../tags/tag143.xml"/><Relationship Id="rId112" Type="http://schemas.openxmlformats.org/officeDocument/2006/relationships/tags" Target="../tags/tag166.xml"/><Relationship Id="rId133" Type="http://schemas.openxmlformats.org/officeDocument/2006/relationships/tags" Target="../tags/tag187.xml"/><Relationship Id="rId16" Type="http://schemas.openxmlformats.org/officeDocument/2006/relationships/tags" Target="../tags/tag70.xml"/><Relationship Id="rId37" Type="http://schemas.openxmlformats.org/officeDocument/2006/relationships/tags" Target="../tags/tag91.xml"/><Relationship Id="rId58" Type="http://schemas.openxmlformats.org/officeDocument/2006/relationships/tags" Target="../tags/tag112.xml"/><Relationship Id="rId79" Type="http://schemas.openxmlformats.org/officeDocument/2006/relationships/tags" Target="../tags/tag133.xml"/><Relationship Id="rId102" Type="http://schemas.openxmlformats.org/officeDocument/2006/relationships/tags" Target="../tags/tag156.xml"/><Relationship Id="rId123" Type="http://schemas.openxmlformats.org/officeDocument/2006/relationships/tags" Target="../tags/tag177.xml"/><Relationship Id="rId144" Type="http://schemas.openxmlformats.org/officeDocument/2006/relationships/tags" Target="../tags/tag198.xml"/><Relationship Id="rId90" Type="http://schemas.openxmlformats.org/officeDocument/2006/relationships/tags" Target="../tags/tag14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210.xml"/><Relationship Id="rId13" Type="http://schemas.openxmlformats.org/officeDocument/2006/relationships/tags" Target="../tags/tag215.xml"/><Relationship Id="rId18" Type="http://schemas.openxmlformats.org/officeDocument/2006/relationships/slide" Target="slide2.xml"/><Relationship Id="rId3" Type="http://schemas.openxmlformats.org/officeDocument/2006/relationships/tags" Target="../tags/tag205.xml"/><Relationship Id="rId21" Type="http://schemas.openxmlformats.org/officeDocument/2006/relationships/slide" Target="slide9.xml"/><Relationship Id="rId7" Type="http://schemas.openxmlformats.org/officeDocument/2006/relationships/tags" Target="../tags/tag209.xml"/><Relationship Id="rId12" Type="http://schemas.openxmlformats.org/officeDocument/2006/relationships/tags" Target="../tags/tag214.xml"/><Relationship Id="rId17" Type="http://schemas.openxmlformats.org/officeDocument/2006/relationships/notesSlide" Target="../notesSlides/notesSlide9.xml"/><Relationship Id="rId2" Type="http://schemas.openxmlformats.org/officeDocument/2006/relationships/tags" Target="../tags/tag204.xml"/><Relationship Id="rId16" Type="http://schemas.openxmlformats.org/officeDocument/2006/relationships/slideLayout" Target="../slideLayouts/slideLayout32.xml"/><Relationship Id="rId20" Type="http://schemas.openxmlformats.org/officeDocument/2006/relationships/slide" Target="slide6.xml"/><Relationship Id="rId1" Type="http://schemas.openxmlformats.org/officeDocument/2006/relationships/tags" Target="../tags/tag203.xml"/><Relationship Id="rId6" Type="http://schemas.openxmlformats.org/officeDocument/2006/relationships/tags" Target="../tags/tag208.xml"/><Relationship Id="rId11" Type="http://schemas.openxmlformats.org/officeDocument/2006/relationships/tags" Target="../tags/tag213.xml"/><Relationship Id="rId5" Type="http://schemas.openxmlformats.org/officeDocument/2006/relationships/tags" Target="../tags/tag207.xml"/><Relationship Id="rId15" Type="http://schemas.openxmlformats.org/officeDocument/2006/relationships/tags" Target="../tags/tag217.xml"/><Relationship Id="rId23" Type="http://schemas.openxmlformats.org/officeDocument/2006/relationships/slide" Target="slide20.xml"/><Relationship Id="rId10" Type="http://schemas.openxmlformats.org/officeDocument/2006/relationships/tags" Target="../tags/tag212.xml"/><Relationship Id="rId19" Type="http://schemas.openxmlformats.org/officeDocument/2006/relationships/slide" Target="slide4.xml"/><Relationship Id="rId4" Type="http://schemas.openxmlformats.org/officeDocument/2006/relationships/tags" Target="../tags/tag206.xml"/><Relationship Id="rId9" Type="http://schemas.openxmlformats.org/officeDocument/2006/relationships/tags" Target="../tags/tag211.xml"/><Relationship Id="rId14" Type="http://schemas.openxmlformats.org/officeDocument/2006/relationships/tags" Target="../tags/tag216.xml"/><Relationship Id="rId22" Type="http://schemas.openxmlformats.org/officeDocument/2006/relationships/slide" Target="slide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3F6DADF-3800-3389-CE0D-FB969F8A7F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7105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F6DADF-3800-3389-CE0D-FB969F8A7F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4D98F17-FC67-498A-0EA4-49EC4197514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sz="7200" dirty="0"/>
              <a:t>SIS100 Workshop </a:t>
            </a:r>
            <a:endParaRPr lang="de-DE" sz="720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35663399-8BB3-8A29-EFB2-2967658A446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sz="2000" dirty="0"/>
              <a:t>Installation Plan Dipole and </a:t>
            </a:r>
            <a:r>
              <a:rPr lang="de-DE" sz="2000" dirty="0" err="1"/>
              <a:t>quadrupole</a:t>
            </a:r>
            <a:endParaRPr lang="de-DE" sz="2000" dirty="0"/>
          </a:p>
          <a:p>
            <a:r>
              <a:rPr lang="de-DE" sz="2000" dirty="0"/>
              <a:t>22.09.2025 – Hans Jürgen Löcker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9086696-06AB-01A4-A44F-D6383B37BF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31E44FF-3F66-9FBB-B6BB-B1BA147CC5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9449A-3FF3-45CE-9F4F-09BADC0910C6}" type="slidenum">
              <a:rPr lang="de-DE" noProof="0"/>
              <a:t>1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26708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D47980-06A7-C40C-A1CB-5A8FE73A80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0BC570C-A46D-5251-34CF-0C350B3CD7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4084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BC570C-A46D-5251-34CF-0C350B3CD7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5DAB749-5F11-33E6-0FF2-266EFBBCA5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IS100 Workshop – Installation Plan Dipole and quadrupole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3647D8D-09DA-B6C1-F2FB-E09CA257588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/>
              <a:t>Installation Plan </a:t>
            </a:r>
            <a:r>
              <a:rPr lang="fr-FR" dirty="0" err="1"/>
              <a:t>Quadru-Poles</a:t>
            </a:r>
            <a:r>
              <a:rPr lang="fr-FR" dirty="0"/>
              <a:t> (</a:t>
            </a:r>
            <a:r>
              <a:rPr lang="fr-FR" dirty="0" err="1"/>
              <a:t>Status</a:t>
            </a:r>
            <a:r>
              <a:rPr lang="fr-FR" dirty="0"/>
              <a:t> 09.2025)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8383A0E-355D-5048-AF49-91F4D07E0E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5600" y="1602000"/>
            <a:ext cx="7352587" cy="44964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tart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Quadru</a:t>
            </a:r>
            <a:r>
              <a:rPr lang="de-DE" dirty="0"/>
              <a:t>-Pole </a:t>
            </a:r>
            <a:r>
              <a:rPr lang="de-DE" dirty="0" err="1"/>
              <a:t>installation</a:t>
            </a:r>
            <a:endParaRPr lang="de-DE" dirty="0"/>
          </a:p>
          <a:p>
            <a:pPr marL="501750" lvl="1" indent="-285750">
              <a:buFont typeface="Arial" panose="020B0604020202020204" pitchFamily="34" charset="0"/>
              <a:buChar char="•"/>
            </a:pPr>
            <a:r>
              <a:rPr lang="de-DE" dirty="0"/>
              <a:t>02.2026 Start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installation</a:t>
            </a:r>
            <a:r>
              <a:rPr lang="de-DE" dirty="0"/>
              <a:t> </a:t>
            </a:r>
            <a:r>
              <a:rPr lang="de-DE" dirty="0" err="1"/>
              <a:t>Quadru</a:t>
            </a:r>
            <a:r>
              <a:rPr lang="de-DE" dirty="0"/>
              <a:t>-Poles</a:t>
            </a:r>
          </a:p>
          <a:p>
            <a:pPr marL="501750" lvl="1" indent="-285750">
              <a:buFont typeface="Arial" panose="020B0604020202020204" pitchFamily="34" charset="0"/>
              <a:buChar char="•"/>
            </a:pPr>
            <a:r>
              <a:rPr lang="de-DE" dirty="0" err="1"/>
              <a:t>according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tallation</a:t>
            </a:r>
            <a:r>
              <a:rPr lang="de-DE" dirty="0"/>
              <a:t> plan Status 202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asics / Boundary Conditions</a:t>
            </a:r>
          </a:p>
          <a:p>
            <a:pPr marL="501750" lvl="1" indent="-285750">
              <a:buFont typeface="Arial" panose="020B0604020202020204" pitchFamily="34" charset="0"/>
              <a:buChar char="•"/>
            </a:pPr>
            <a:r>
              <a:rPr lang="en-US" dirty="0"/>
              <a:t>3 weeks of non-working time at the turn of the year is included in the installation plan (manually due to missing </a:t>
            </a:r>
            <a:r>
              <a:rPr lang="en-US" dirty="0" err="1"/>
              <a:t>calender</a:t>
            </a:r>
            <a:r>
              <a:rPr lang="en-US" dirty="0"/>
              <a:t> with 3 weeks off)</a:t>
            </a:r>
          </a:p>
          <a:p>
            <a:pPr marL="501750" lvl="1" indent="-285750">
              <a:buFont typeface="Arial" panose="020B0604020202020204" pitchFamily="34" charset="0"/>
              <a:buChar char="•"/>
            </a:pPr>
            <a:r>
              <a:rPr lang="en-US" dirty="0" err="1"/>
              <a:t>Technische</a:t>
            </a:r>
            <a:r>
              <a:rPr lang="en-US" dirty="0"/>
              <a:t> </a:t>
            </a:r>
            <a:r>
              <a:rPr lang="en-US" dirty="0" err="1"/>
              <a:t>Plätze</a:t>
            </a:r>
            <a:r>
              <a:rPr lang="en-US" dirty="0"/>
              <a:t> (technical places) - information is assigned to each module in the installation pla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New </a:t>
            </a:r>
            <a:r>
              <a:rPr lang="de-DE" dirty="0" err="1"/>
              <a:t>Apporach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installation</a:t>
            </a:r>
            <a:r>
              <a:rPr lang="de-DE" dirty="0"/>
              <a:t>:</a:t>
            </a:r>
          </a:p>
          <a:p>
            <a:pPr marL="501750" lvl="1" indent="-285750">
              <a:buFont typeface="Arial" panose="020B0604020202020204" pitchFamily="34" charset="0"/>
              <a:buChar char="•"/>
            </a:pPr>
            <a:r>
              <a:rPr lang="en-US" dirty="0"/>
              <a:t>Order of delivery (M10-P) defines order of installation (Status 09.2025)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4ACE224-4A16-85F9-F24F-05266666F5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D60C650-43A5-D1CA-FFE7-B5AC3FBE82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9449A-3FF3-45CE-9F4F-09BADC0910C6}" type="slidenum">
              <a:rPr lang="de-DE" noProof="0"/>
              <a:t>10</a:t>
            </a:fld>
            <a:endParaRPr lang="de-DE" noProof="0" dirty="0"/>
          </a:p>
        </p:txBody>
      </p:sp>
      <p:pic>
        <p:nvPicPr>
          <p:cNvPr id="6" name="Inhaltsplatzhalter 18" descr="Ein Bild, das Text, Screenshot, Software, parallel enthält.&#10;&#10;KI-generierte Inhalte können fehlerhaft sein.">
            <a:extLst>
              <a:ext uri="{FF2B5EF4-FFF2-40B4-BE49-F238E27FC236}">
                <a16:creationId xmlns:a16="http://schemas.microsoft.com/office/drawing/2014/main" id="{046B7197-6DE2-0B8F-5C5C-4FCC10CFAEDD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5861"/>
          <a:stretch>
            <a:fillRect/>
          </a:stretch>
        </p:blipFill>
        <p:spPr bwMode="gray">
          <a:xfrm>
            <a:off x="7878189" y="1601788"/>
            <a:ext cx="3785811" cy="1736050"/>
          </a:xfrm>
          <a:prstGeom prst="rect">
            <a:avLst/>
          </a:prstGeom>
        </p:spPr>
      </p:pic>
      <p:pic>
        <p:nvPicPr>
          <p:cNvPr id="8" name="Grafik 7" descr="Ein Bild, das Text, Screenshot, parallel, Diagramm enthält.&#10;&#10;KI-generierte Inhalte können fehlerhaft sein.">
            <a:extLst>
              <a:ext uri="{FF2B5EF4-FFF2-40B4-BE49-F238E27FC236}">
                <a16:creationId xmlns:a16="http://schemas.microsoft.com/office/drawing/2014/main" id="{FE048E2C-024C-D957-D869-03C4A09C58CE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4183" b="12512"/>
          <a:stretch>
            <a:fillRect/>
          </a:stretch>
        </p:blipFill>
        <p:spPr>
          <a:xfrm>
            <a:off x="7878188" y="3337838"/>
            <a:ext cx="3785811" cy="1536257"/>
          </a:xfrm>
          <a:prstGeom prst="rect">
            <a:avLst/>
          </a:prstGeom>
        </p:spPr>
      </p:pic>
      <p:pic>
        <p:nvPicPr>
          <p:cNvPr id="10" name="Grafik 9" descr="Ein Bild, das Text, Screenshot enthält.&#10;&#10;KI-generierte Inhalte können fehlerhaft sein.">
            <a:extLst>
              <a:ext uri="{FF2B5EF4-FFF2-40B4-BE49-F238E27FC236}">
                <a16:creationId xmlns:a16="http://schemas.microsoft.com/office/drawing/2014/main" id="{93E2AA33-7EFE-2F8B-A104-3D742E4FC402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t="25087" b="3115"/>
          <a:stretch>
            <a:fillRect/>
          </a:stretch>
        </p:blipFill>
        <p:spPr>
          <a:xfrm>
            <a:off x="7878188" y="4874095"/>
            <a:ext cx="3785811" cy="1324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759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060B53-D63C-7527-AD71-603710ECED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" name="think-cell data - do not delete" hidden="1">
            <a:extLst>
              <a:ext uri="{FF2B5EF4-FFF2-40B4-BE49-F238E27FC236}">
                <a16:creationId xmlns:a16="http://schemas.microsoft.com/office/drawing/2014/main" id="{D6DA18AA-4126-3F4C-AA70-EEF50CEFDF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2" imgW="473" imgH="473" progId="TCLayout.ActiveDocument.1">
                  <p:embed/>
                </p:oleObj>
              </mc:Choice>
              <mc:Fallback>
                <p:oleObj name="think-cell Folie" r:id="rId172" imgW="473" imgH="473" progId="TCLayout.ActiveDocument.1">
                  <p:embed/>
                  <p:pic>
                    <p:nvPicPr>
                      <p:cNvPr id="6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DA18AA-4126-3F4C-AA70-EEF50CEFDF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E4CB983-311E-BBF3-6578-0ABDEB8D9D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IS100 Workshop – Installation Plan Dipole and quadrupole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14ECD1D-6BC5-A65D-527D-EF86761D7DB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/>
              <a:t>Installation Plan </a:t>
            </a:r>
            <a:r>
              <a:rPr lang="fr-FR" dirty="0" err="1"/>
              <a:t>Quadru-Poles</a:t>
            </a:r>
            <a:r>
              <a:rPr lang="fr-FR" dirty="0"/>
              <a:t> </a:t>
            </a:r>
            <a:r>
              <a:rPr lang="pt-BR" dirty="0"/>
              <a:t>(</a:t>
            </a:r>
            <a:r>
              <a:rPr lang="en-US" dirty="0"/>
              <a:t>installation of </a:t>
            </a:r>
            <a:r>
              <a:rPr lang="en-US" dirty="0" err="1"/>
              <a:t>quadru</a:t>
            </a:r>
            <a:r>
              <a:rPr lang="en-US" dirty="0"/>
              <a:t>-pole modules</a:t>
            </a:r>
            <a:r>
              <a:rPr lang="pt-BR" dirty="0"/>
              <a:t>)</a:t>
            </a:r>
          </a:p>
          <a:p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BECA960-7596-5EB0-6969-645E79C22B4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5991451-28FB-E13C-DD67-01A9CBEB4D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D585787-707B-AAD5-D1E1-654AB473AB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9449A-3FF3-45CE-9F4F-09BADC0910C6}" type="slidenum">
              <a:rPr lang="de-DE" noProof="0"/>
              <a:t>11</a:t>
            </a:fld>
            <a:endParaRPr lang="de-DE" noProof="0" dirty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249529A1-7470-600B-1934-941F4E00EB07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0298113" y="2309812"/>
            <a:ext cx="85725" cy="3333750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6D52F2A1-DC98-F9DD-D2AF-E2A0E489576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7935913" y="2309812"/>
            <a:ext cx="136525" cy="3333750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A48D2117-3C9E-D9B8-3D66-4DEF5431A825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3211513" y="2309812"/>
            <a:ext cx="136525" cy="3333750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3C58BA35-379B-E11C-2C8E-FE1F5EA30888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5573713" y="2309812"/>
            <a:ext cx="136525" cy="3333750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19" name="text">
            <a:extLst>
              <a:ext uri="{FF2B5EF4-FFF2-40B4-BE49-F238E27FC236}">
                <a16:creationId xmlns:a16="http://schemas.microsoft.com/office/drawing/2014/main" id="{836EF96C-D7C6-D36B-91C6-661FFA8BFEC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082799" y="1601788"/>
            <a:ext cx="1193800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02F4FE3-1A2A-4D1E-B90B-6D4D4AE5980A}" type="datetime'''''''2''''025'''''''''''''''''''''''''''''">
              <a:rPr lang="en-US" altLang="en-US" b="1" smtClean="0"/>
              <a:pPr/>
              <a:t>2025</a:t>
            </a:fld>
            <a:endParaRPr lang="en-US" b="1" dirty="0"/>
          </a:p>
        </p:txBody>
      </p:sp>
      <p:sp>
        <p:nvSpPr>
          <p:cNvPr id="505" name="text">
            <a:extLst>
              <a:ext uri="{FF2B5EF4-FFF2-40B4-BE49-F238E27FC236}">
                <a16:creationId xmlns:a16="http://schemas.microsoft.com/office/drawing/2014/main" id="{675B4646-D73E-24FE-8E87-5FFA3BB6E09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276599" y="1601788"/>
            <a:ext cx="2368550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14216BF-C595-40C5-BE77-C33A25291AE9}" type="datetime'''20''''''''''2''''''''''''''''''''''6'">
              <a:rPr lang="en-US" altLang="en-US" b="1" smtClean="0"/>
              <a:pPr/>
              <a:t>2026</a:t>
            </a:fld>
            <a:endParaRPr lang="en-US" b="1" dirty="0"/>
          </a:p>
        </p:txBody>
      </p:sp>
      <p:sp>
        <p:nvSpPr>
          <p:cNvPr id="544" name="text">
            <a:extLst>
              <a:ext uri="{FF2B5EF4-FFF2-40B4-BE49-F238E27FC236}">
                <a16:creationId xmlns:a16="http://schemas.microsoft.com/office/drawing/2014/main" id="{3839164E-6CBC-9A02-3BDF-CEC635570AB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645149" y="1601788"/>
            <a:ext cx="2368550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F38DC23-C9E9-43FB-A5D4-8322146BEBBB}" type="datetime'''20''''''2''''''''''''''''''''''''''''''''7'''''''''''">
              <a:rPr lang="en-US" altLang="en-US" b="1" smtClean="0"/>
              <a:pPr/>
              <a:t>2027</a:t>
            </a:fld>
            <a:endParaRPr lang="en-US" b="1" dirty="0"/>
          </a:p>
        </p:txBody>
      </p:sp>
      <p:sp>
        <p:nvSpPr>
          <p:cNvPr id="593" name="text">
            <a:extLst>
              <a:ext uri="{FF2B5EF4-FFF2-40B4-BE49-F238E27FC236}">
                <a16:creationId xmlns:a16="http://schemas.microsoft.com/office/drawing/2014/main" id="{20C28D21-B66E-9233-BBD5-139D5D372F9F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013699" y="1601788"/>
            <a:ext cx="2374900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209150C-C0DE-4561-B062-B29A358BD156}" type="datetime'''''''2''''''0''''''''''2''''''''''''''''''8'''''''''''">
              <a:rPr lang="en-US" altLang="en-US" b="1" smtClean="0"/>
              <a:pPr/>
              <a:t>2028</a:t>
            </a:fld>
            <a:endParaRPr lang="en-US" b="1" dirty="0"/>
          </a:p>
        </p:txBody>
      </p:sp>
      <p:sp>
        <p:nvSpPr>
          <p:cNvPr id="406" name="text">
            <a:extLst>
              <a:ext uri="{FF2B5EF4-FFF2-40B4-BE49-F238E27FC236}">
                <a16:creationId xmlns:a16="http://schemas.microsoft.com/office/drawing/2014/main" id="{90948934-80AA-64DD-35DF-F976ED6A737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082799" y="1862138"/>
            <a:ext cx="596900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AD80CA9-3A45-47D4-A0F6-4F9DF0A26299}" type="datetime'''Q3'''''''''''''">
              <a:rPr lang="en-US" altLang="en-US" b="1" smtClean="0"/>
              <a:pPr/>
              <a:t>Q3</a:t>
            </a:fld>
            <a:endParaRPr lang="en-US" b="1" dirty="0"/>
          </a:p>
        </p:txBody>
      </p:sp>
      <p:sp>
        <p:nvSpPr>
          <p:cNvPr id="407" name="text">
            <a:extLst>
              <a:ext uri="{FF2B5EF4-FFF2-40B4-BE49-F238E27FC236}">
                <a16:creationId xmlns:a16="http://schemas.microsoft.com/office/drawing/2014/main" id="{7DFA314C-1385-D7CD-C26E-416068F22BA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679699" y="1862138"/>
            <a:ext cx="596900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D73C281-6788-4916-9632-5A2D9D5F72A2}" type="datetime'Q4'''''''''''">
              <a:rPr lang="en-US" altLang="en-US" b="1" smtClean="0"/>
              <a:pPr/>
              <a:t>Q4</a:t>
            </a:fld>
            <a:endParaRPr lang="en-US" b="1" dirty="0"/>
          </a:p>
        </p:txBody>
      </p:sp>
      <p:sp>
        <p:nvSpPr>
          <p:cNvPr id="497" name="text">
            <a:extLst>
              <a:ext uri="{FF2B5EF4-FFF2-40B4-BE49-F238E27FC236}">
                <a16:creationId xmlns:a16="http://schemas.microsoft.com/office/drawing/2014/main" id="{12DA865D-A843-0217-C6DD-DCFF5FC48E4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276599" y="1862138"/>
            <a:ext cx="584200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75BFCDF-E2A1-431E-8EE0-5000BA81F963}" type="datetime'''''''''''''''''''''''''Q1'''''">
              <a:rPr lang="en-US" altLang="en-US" b="1" smtClean="0"/>
              <a:pPr/>
              <a:t>Q1</a:t>
            </a:fld>
            <a:endParaRPr lang="en-US" b="1" dirty="0"/>
          </a:p>
        </p:txBody>
      </p:sp>
      <p:sp>
        <p:nvSpPr>
          <p:cNvPr id="498" name="text">
            <a:extLst>
              <a:ext uri="{FF2B5EF4-FFF2-40B4-BE49-F238E27FC236}">
                <a16:creationId xmlns:a16="http://schemas.microsoft.com/office/drawing/2014/main" id="{334256F9-15E3-E1F7-8914-0CEAC007FE23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860799" y="1862138"/>
            <a:ext cx="590550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0ADFC55-3886-4F74-8205-E6781F7E51EF}" type="datetime'''''''''''''''''''''''''''''''''''Q''''''''''''''2'''''''">
              <a:rPr lang="en-US" altLang="en-US" b="1" smtClean="0"/>
              <a:pPr/>
              <a:t>Q2</a:t>
            </a:fld>
            <a:endParaRPr lang="en-US" b="1" dirty="0"/>
          </a:p>
        </p:txBody>
      </p:sp>
      <p:sp>
        <p:nvSpPr>
          <p:cNvPr id="499" name="text">
            <a:extLst>
              <a:ext uri="{FF2B5EF4-FFF2-40B4-BE49-F238E27FC236}">
                <a16:creationId xmlns:a16="http://schemas.microsoft.com/office/drawing/2014/main" id="{D92E936D-851F-D72D-CF06-BD698095F11D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451349" y="1862138"/>
            <a:ext cx="596900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A9D8F26-01FA-43D4-BB68-A2C11942FD84}" type="datetime'''Q''''''''''''''''''''''''''''''''''''''''''''''''''''3'''''">
              <a:rPr lang="en-US" altLang="en-US" b="1" smtClean="0"/>
              <a:pPr/>
              <a:t>Q3</a:t>
            </a:fld>
            <a:endParaRPr lang="en-US" b="1" dirty="0"/>
          </a:p>
        </p:txBody>
      </p:sp>
      <p:sp>
        <p:nvSpPr>
          <p:cNvPr id="500" name="text">
            <a:extLst>
              <a:ext uri="{FF2B5EF4-FFF2-40B4-BE49-F238E27FC236}">
                <a16:creationId xmlns:a16="http://schemas.microsoft.com/office/drawing/2014/main" id="{09DBF6AE-25FC-C051-6807-CA7BC002D124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048249" y="1862138"/>
            <a:ext cx="596900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1FC14B9-B0F7-49A3-B82F-6545FBC37EDC}" type="datetime'''''''''''Q''''''''''''''''''''''4'''''''">
              <a:rPr lang="en-US" altLang="en-US" b="1" smtClean="0"/>
              <a:pPr/>
              <a:t>Q4</a:t>
            </a:fld>
            <a:endParaRPr lang="en-US" b="1" dirty="0"/>
          </a:p>
        </p:txBody>
      </p:sp>
      <p:sp>
        <p:nvSpPr>
          <p:cNvPr id="540" name="text">
            <a:extLst>
              <a:ext uri="{FF2B5EF4-FFF2-40B4-BE49-F238E27FC236}">
                <a16:creationId xmlns:a16="http://schemas.microsoft.com/office/drawing/2014/main" id="{D6E4EEB5-E913-3F9D-AF24-2E54E8A683B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645149" y="1862138"/>
            <a:ext cx="584200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F913DF8-AF63-4911-9044-347BED8B935B}" type="datetime'''Q''''''''''''''''''''''''''''1'''''''''''">
              <a:rPr lang="en-US" altLang="en-US" b="1" smtClean="0"/>
              <a:pPr/>
              <a:t>Q1</a:t>
            </a:fld>
            <a:endParaRPr lang="en-US" b="1" dirty="0"/>
          </a:p>
        </p:txBody>
      </p:sp>
      <p:sp>
        <p:nvSpPr>
          <p:cNvPr id="541" name="text">
            <a:extLst>
              <a:ext uri="{FF2B5EF4-FFF2-40B4-BE49-F238E27FC236}">
                <a16:creationId xmlns:a16="http://schemas.microsoft.com/office/drawing/2014/main" id="{DE7F7BC1-C23D-7249-59A6-4008EC3F86BE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229349" y="1862138"/>
            <a:ext cx="590550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23BB49B-F987-4D5E-B1FB-A45DC4DC2BAE}" type="datetime'''''''''''''''Q''''''''''''''''''''''2'''''''''''''''''''''">
              <a:rPr lang="en-US" altLang="en-US" b="1" smtClean="0"/>
              <a:pPr/>
              <a:t>Q2</a:t>
            </a:fld>
            <a:endParaRPr lang="en-US" b="1" dirty="0"/>
          </a:p>
        </p:txBody>
      </p:sp>
      <p:sp>
        <p:nvSpPr>
          <p:cNvPr id="542" name="text">
            <a:extLst>
              <a:ext uri="{FF2B5EF4-FFF2-40B4-BE49-F238E27FC236}">
                <a16:creationId xmlns:a16="http://schemas.microsoft.com/office/drawing/2014/main" id="{95D72457-0AE9-2AB8-D6E6-FDC9B5FE0D24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819899" y="1862138"/>
            <a:ext cx="596900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4AF189E-61C0-4071-BABB-68D2781C0521}" type="datetime'''''''''''''Q3'">
              <a:rPr lang="en-US" altLang="en-US" b="1" smtClean="0"/>
              <a:pPr/>
              <a:t>Q3</a:t>
            </a:fld>
            <a:endParaRPr lang="en-US" b="1" dirty="0"/>
          </a:p>
        </p:txBody>
      </p:sp>
      <p:sp>
        <p:nvSpPr>
          <p:cNvPr id="543" name="text">
            <a:extLst>
              <a:ext uri="{FF2B5EF4-FFF2-40B4-BE49-F238E27FC236}">
                <a16:creationId xmlns:a16="http://schemas.microsoft.com/office/drawing/2014/main" id="{D801F267-1549-FED3-6CC8-0F487BC8FD71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416799" y="1862138"/>
            <a:ext cx="596900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C44E379-C25F-4312-88C0-9E59046226C3}" type="datetime'''Q''''''''''''''''''''''4'''''''''''''''''''''">
              <a:rPr lang="en-US" altLang="en-US" b="1" smtClean="0"/>
              <a:pPr/>
              <a:t>Q4</a:t>
            </a:fld>
            <a:endParaRPr lang="en-US" b="1" dirty="0"/>
          </a:p>
        </p:txBody>
      </p:sp>
      <p:sp>
        <p:nvSpPr>
          <p:cNvPr id="589" name="text">
            <a:extLst>
              <a:ext uri="{FF2B5EF4-FFF2-40B4-BE49-F238E27FC236}">
                <a16:creationId xmlns:a16="http://schemas.microsoft.com/office/drawing/2014/main" id="{EDD310C3-A361-2E3F-00E0-D10A64B56B12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8013699" y="1862138"/>
            <a:ext cx="590550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EA13AA6-F14D-4345-812D-CE7997E98106}" type="datetime'''''''''''''''''''''''''''Q''''''''''''''''1'''''">
              <a:rPr lang="en-US" altLang="en-US" b="1" smtClean="0"/>
              <a:pPr/>
              <a:t>Q1</a:t>
            </a:fld>
            <a:endParaRPr lang="en-US" b="1" dirty="0"/>
          </a:p>
        </p:txBody>
      </p:sp>
      <p:sp>
        <p:nvSpPr>
          <p:cNvPr id="590" name="text">
            <a:extLst>
              <a:ext uri="{FF2B5EF4-FFF2-40B4-BE49-F238E27FC236}">
                <a16:creationId xmlns:a16="http://schemas.microsoft.com/office/drawing/2014/main" id="{1B56C22C-11F0-1726-8FC5-DD4CED6620E8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8604249" y="1862138"/>
            <a:ext cx="590550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C34017C-3044-42FD-BBEF-73F3DB32D6E7}" type="datetime'''''''''''Q''''''''''''''''''''''''''''''2'''">
              <a:rPr lang="en-US" altLang="en-US" b="1" smtClean="0"/>
              <a:pPr/>
              <a:t>Q2</a:t>
            </a:fld>
            <a:endParaRPr lang="en-US" b="1" dirty="0"/>
          </a:p>
        </p:txBody>
      </p:sp>
      <p:sp>
        <p:nvSpPr>
          <p:cNvPr id="591" name="text">
            <a:extLst>
              <a:ext uri="{FF2B5EF4-FFF2-40B4-BE49-F238E27FC236}">
                <a16:creationId xmlns:a16="http://schemas.microsoft.com/office/drawing/2014/main" id="{19BE32DD-6107-D01D-3746-489BB354CED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9194799" y="1862138"/>
            <a:ext cx="596900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426FF7B-0F60-4923-8BFC-AEE974644245}" type="datetime'''''''''''''''''''''''''''''''''''''''''''Q''''''3'''">
              <a:rPr lang="en-US" altLang="en-US" b="1" smtClean="0"/>
              <a:pPr/>
              <a:t>Q3</a:t>
            </a:fld>
            <a:endParaRPr lang="en-US" b="1" dirty="0"/>
          </a:p>
        </p:txBody>
      </p:sp>
      <p:sp>
        <p:nvSpPr>
          <p:cNvPr id="592" name="text">
            <a:extLst>
              <a:ext uri="{FF2B5EF4-FFF2-40B4-BE49-F238E27FC236}">
                <a16:creationId xmlns:a16="http://schemas.microsoft.com/office/drawing/2014/main" id="{F0EA2191-4D7C-4375-DE05-C56BB4590600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9791699" y="1862138"/>
            <a:ext cx="596900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FAB18D2-2786-4855-A580-645F2425FCE6}" type="datetime'''''''Q''''''''''''''''''''''''4'''''''''''''''''">
              <a:rPr lang="en-US" altLang="en-US" b="1" smtClean="0"/>
              <a:pPr/>
              <a:t>Q4</a:t>
            </a:fld>
            <a:endParaRPr lang="en-US" b="1" dirty="0"/>
          </a:p>
        </p:txBody>
      </p:sp>
      <p:sp>
        <p:nvSpPr>
          <p:cNvPr id="52" name="text">
            <a:extLst>
              <a:ext uri="{FF2B5EF4-FFF2-40B4-BE49-F238E27FC236}">
                <a16:creationId xmlns:a16="http://schemas.microsoft.com/office/drawing/2014/main" id="{073C44D5-53EB-521A-A82B-606AE4F3006B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2082800" y="2122488"/>
            <a:ext cx="2016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6227835-67C0-4A02-912A-6D08E049CB27}" type="datetime'''''''''''''''''''''''''''''''''''''''''''''''''7'''''''''''''">
              <a:rPr lang="en-US" altLang="en-US" sz="1000" smtClean="0"/>
              <a:pPr/>
              <a:t>7</a:t>
            </a:fld>
            <a:endParaRPr lang="en-US" sz="1000" dirty="0"/>
          </a:p>
        </p:txBody>
      </p:sp>
      <p:sp>
        <p:nvSpPr>
          <p:cNvPr id="54" name="text">
            <a:extLst>
              <a:ext uri="{FF2B5EF4-FFF2-40B4-BE49-F238E27FC236}">
                <a16:creationId xmlns:a16="http://schemas.microsoft.com/office/drawing/2014/main" id="{C81D150F-0C39-48EE-371F-E3E0FC2159DE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284413" y="2122488"/>
            <a:ext cx="200025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1088191-E52A-442D-B344-7DF4E5447A3F}" type="datetime'''''''''''8'">
              <a:rPr lang="en-US" altLang="en-US" sz="1000" smtClean="0"/>
              <a:pPr/>
              <a:t>8</a:t>
            </a:fld>
            <a:endParaRPr lang="en-US" sz="1000" dirty="0"/>
          </a:p>
        </p:txBody>
      </p:sp>
      <p:sp>
        <p:nvSpPr>
          <p:cNvPr id="38" name="text">
            <a:extLst>
              <a:ext uri="{FF2B5EF4-FFF2-40B4-BE49-F238E27FC236}">
                <a16:creationId xmlns:a16="http://schemas.microsoft.com/office/drawing/2014/main" id="{A20F0204-890A-39BA-5317-E5D8A7AE8F67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484438" y="2122489"/>
            <a:ext cx="19526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941CB51-7924-4FED-B609-7CAA243ED190}" type="datetime'''''''''''''''''''''''''''''''''''''''''''''''''9'''''">
              <a:rPr lang="en-US" altLang="en-US" sz="1000" smtClean="0"/>
              <a:pPr/>
              <a:t>9</a:t>
            </a:fld>
            <a:endParaRPr lang="en-US" sz="1000" dirty="0"/>
          </a:p>
        </p:txBody>
      </p:sp>
      <p:sp>
        <p:nvSpPr>
          <p:cNvPr id="39" name="text">
            <a:extLst>
              <a:ext uri="{FF2B5EF4-FFF2-40B4-BE49-F238E27FC236}">
                <a16:creationId xmlns:a16="http://schemas.microsoft.com/office/drawing/2014/main" id="{86EB25E0-05F8-121C-C3E3-3334755BF4E3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679700" y="2122489"/>
            <a:ext cx="2016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80038D6-A1D4-4852-A2D8-3C728E888BA2}" type="datetime'''''''''''''''''''''''''''''''''''''''''''''''''10'''''">
              <a:rPr lang="en-US" altLang="en-US" sz="1000" smtClean="0"/>
              <a:pPr/>
              <a:t>10</a:t>
            </a:fld>
            <a:endParaRPr lang="en-US" sz="1000" dirty="0"/>
          </a:p>
        </p:txBody>
      </p:sp>
      <p:sp>
        <p:nvSpPr>
          <p:cNvPr id="40" name="text">
            <a:extLst>
              <a:ext uri="{FF2B5EF4-FFF2-40B4-BE49-F238E27FC236}">
                <a16:creationId xmlns:a16="http://schemas.microsoft.com/office/drawing/2014/main" id="{36B2D3C6-93BC-D4DF-2001-58238D5897F4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2881313" y="2122489"/>
            <a:ext cx="193675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45B2CB4-4108-4D87-AF1D-C80954AAC9D4}" type="datetime'''''''''''''''''''1''''''''''''''''''1'''''''''''''''''''">
              <a:rPr lang="en-US" altLang="en-US" sz="1000" smtClean="0"/>
              <a:pPr/>
              <a:t>11</a:t>
            </a:fld>
            <a:endParaRPr lang="en-US" sz="1000" dirty="0"/>
          </a:p>
        </p:txBody>
      </p:sp>
      <p:sp>
        <p:nvSpPr>
          <p:cNvPr id="469" name="text">
            <a:extLst>
              <a:ext uri="{FF2B5EF4-FFF2-40B4-BE49-F238E27FC236}">
                <a16:creationId xmlns:a16="http://schemas.microsoft.com/office/drawing/2014/main" id="{E7D42E59-6610-1AA4-AF52-328D2313F0C3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3074988" y="2122488"/>
            <a:ext cx="2016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261B0F0-1350-45E5-817C-E87B899581AF}" type="datetime'''''''''''''''''''''1''''''''''2'''''''''''''">
              <a:rPr lang="en-US" altLang="en-US" sz="1000" smtClean="0"/>
              <a:pPr/>
              <a:t>12</a:t>
            </a:fld>
            <a:endParaRPr lang="en-US" sz="1000" dirty="0"/>
          </a:p>
        </p:txBody>
      </p:sp>
      <p:sp>
        <p:nvSpPr>
          <p:cNvPr id="472" name="text">
            <a:extLst>
              <a:ext uri="{FF2B5EF4-FFF2-40B4-BE49-F238E27FC236}">
                <a16:creationId xmlns:a16="http://schemas.microsoft.com/office/drawing/2014/main" id="{C72D6ED0-7DBC-43E3-D985-72DD3F717624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3276600" y="2122488"/>
            <a:ext cx="2016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F702AA0-B630-49E4-A60E-31CA08924D99}" type="datetime'''''''''''''1'''''''''''''''''''''''''''''''''''''''''''''''">
              <a:rPr lang="en-US" altLang="en-US" sz="1000" smtClean="0"/>
              <a:pPr/>
              <a:t>1</a:t>
            </a:fld>
            <a:endParaRPr lang="en-US" sz="1000" dirty="0"/>
          </a:p>
        </p:txBody>
      </p:sp>
      <p:sp>
        <p:nvSpPr>
          <p:cNvPr id="474" name="text">
            <a:extLst>
              <a:ext uri="{FF2B5EF4-FFF2-40B4-BE49-F238E27FC236}">
                <a16:creationId xmlns:a16="http://schemas.microsoft.com/office/drawing/2014/main" id="{5992CCEB-D02B-515B-DE61-68A76C0CC898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3478213" y="2122488"/>
            <a:ext cx="180975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F63A27C-B2B0-4E3B-9F57-04710E53A2D8}" type="datetime'2'''''''''''''''''''''''''''''''''''''''''''''''''''''''">
              <a:rPr lang="en-US" altLang="en-US" sz="1000" smtClean="0"/>
              <a:pPr/>
              <a:t>2</a:t>
            </a:fld>
            <a:endParaRPr lang="en-US" sz="1000" dirty="0"/>
          </a:p>
        </p:txBody>
      </p:sp>
      <p:sp>
        <p:nvSpPr>
          <p:cNvPr id="475" name="text">
            <a:extLst>
              <a:ext uri="{FF2B5EF4-FFF2-40B4-BE49-F238E27FC236}">
                <a16:creationId xmlns:a16="http://schemas.microsoft.com/office/drawing/2014/main" id="{FB143942-2F5E-1DF0-8069-975446B2D423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3659188" y="2122488"/>
            <a:ext cx="2016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16E0D43-444E-4C37-8D9E-A6EA60A4AA86}" type="datetime'''''''''''''''''''''3'''''''''''''''''''''''''''''''">
              <a:rPr lang="en-US" altLang="en-US" sz="1000" smtClean="0"/>
              <a:pPr/>
              <a:t>3</a:t>
            </a:fld>
            <a:endParaRPr lang="en-US" sz="1000" dirty="0"/>
          </a:p>
        </p:txBody>
      </p:sp>
      <p:sp>
        <p:nvSpPr>
          <p:cNvPr id="476" name="text">
            <a:extLst>
              <a:ext uri="{FF2B5EF4-FFF2-40B4-BE49-F238E27FC236}">
                <a16:creationId xmlns:a16="http://schemas.microsoft.com/office/drawing/2014/main" id="{D9CC4918-657D-E589-A7C4-551C262BCB91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3860800" y="2122488"/>
            <a:ext cx="19526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51CC9CE-6B89-4724-8F7E-B907E19ADF70}" type="datetime'''''''''''''4'''''''''''''''''''''''''''''''''''''''''''''''''">
              <a:rPr lang="en-US" altLang="en-US" sz="1000" smtClean="0"/>
              <a:pPr/>
              <a:t>4</a:t>
            </a:fld>
            <a:endParaRPr lang="en-US" sz="1000" dirty="0"/>
          </a:p>
        </p:txBody>
      </p:sp>
      <p:sp>
        <p:nvSpPr>
          <p:cNvPr id="477" name="text">
            <a:extLst>
              <a:ext uri="{FF2B5EF4-FFF2-40B4-BE49-F238E27FC236}">
                <a16:creationId xmlns:a16="http://schemas.microsoft.com/office/drawing/2014/main" id="{292BB4A1-A447-2A72-572E-5A89B269FFED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4056063" y="2122488"/>
            <a:ext cx="200025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3A3575F-0B79-4925-9241-6E52B7C864C1}" type="datetime'''''''5'''''''''''''''''''''''">
              <a:rPr lang="en-US" altLang="en-US" sz="1000" smtClean="0"/>
              <a:pPr/>
              <a:t>5</a:t>
            </a:fld>
            <a:endParaRPr lang="en-US" sz="1000" dirty="0"/>
          </a:p>
        </p:txBody>
      </p:sp>
      <p:sp>
        <p:nvSpPr>
          <p:cNvPr id="478" name="text">
            <a:extLst>
              <a:ext uri="{FF2B5EF4-FFF2-40B4-BE49-F238E27FC236}">
                <a16:creationId xmlns:a16="http://schemas.microsoft.com/office/drawing/2014/main" id="{EA8E5F89-2B19-0BFF-53A7-F1C01BFB0368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4256088" y="2122488"/>
            <a:ext cx="19526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72E5D5F-6973-402A-B6BD-D0EC83125BBF}" type="datetime'''''''''''''6'''''''">
              <a:rPr lang="en-US" altLang="en-US" sz="1000" smtClean="0"/>
              <a:pPr/>
              <a:t>6</a:t>
            </a:fld>
            <a:endParaRPr lang="en-US" sz="1000" dirty="0"/>
          </a:p>
        </p:txBody>
      </p:sp>
      <p:sp>
        <p:nvSpPr>
          <p:cNvPr id="479" name="text">
            <a:extLst>
              <a:ext uri="{FF2B5EF4-FFF2-40B4-BE49-F238E27FC236}">
                <a16:creationId xmlns:a16="http://schemas.microsoft.com/office/drawing/2014/main" id="{64F0A2F3-55BD-BD16-AF72-A9DBDC27AD0E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4451350" y="2122488"/>
            <a:ext cx="2016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2609581-7493-4850-869F-2CA03D157510}" type="datetime'''''''''''''''''''''7'''''''''''''''''''''''''''''''''''''''">
              <a:rPr lang="en-US" altLang="en-US" sz="1000" smtClean="0"/>
              <a:pPr/>
              <a:t>7</a:t>
            </a:fld>
            <a:endParaRPr lang="en-US" sz="1000" dirty="0"/>
          </a:p>
        </p:txBody>
      </p:sp>
      <p:sp>
        <p:nvSpPr>
          <p:cNvPr id="480" name="text">
            <a:extLst>
              <a:ext uri="{FF2B5EF4-FFF2-40B4-BE49-F238E27FC236}">
                <a16:creationId xmlns:a16="http://schemas.microsoft.com/office/drawing/2014/main" id="{1E4322D5-8BED-0585-3F92-6E8D9A500DC7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4652963" y="2122488"/>
            <a:ext cx="200025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FA5D2F6-FB9F-4E2A-BBA8-3BA824B05D62}" type="datetime'''''''''''''''8'''''''''''''''">
              <a:rPr lang="en-US" altLang="en-US" sz="1000" smtClean="0"/>
              <a:pPr/>
              <a:t>8</a:t>
            </a:fld>
            <a:endParaRPr lang="en-US" sz="1000" dirty="0"/>
          </a:p>
        </p:txBody>
      </p:sp>
      <p:sp>
        <p:nvSpPr>
          <p:cNvPr id="481" name="text">
            <a:extLst>
              <a:ext uri="{FF2B5EF4-FFF2-40B4-BE49-F238E27FC236}">
                <a16:creationId xmlns:a16="http://schemas.microsoft.com/office/drawing/2014/main" id="{D2A6A2D1-047D-2EDE-15EE-465B1E6A5454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4852988" y="2122488"/>
            <a:ext cx="19526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1435BFF-DFC9-4147-88F1-BCCACEB53CEE}" type="datetime'''''''''''''''''''''''''''''''''''''''''''''9'''''''''">
              <a:rPr lang="en-US" altLang="en-US" sz="1000" smtClean="0"/>
              <a:pPr/>
              <a:t>9</a:t>
            </a:fld>
            <a:endParaRPr lang="en-US" sz="1000" dirty="0"/>
          </a:p>
        </p:txBody>
      </p:sp>
      <p:sp>
        <p:nvSpPr>
          <p:cNvPr id="482" name="text">
            <a:extLst>
              <a:ext uri="{FF2B5EF4-FFF2-40B4-BE49-F238E27FC236}">
                <a16:creationId xmlns:a16="http://schemas.microsoft.com/office/drawing/2014/main" id="{04D815C6-119B-0CCD-AE4D-ADC8B2865F49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5048250" y="2122488"/>
            <a:ext cx="2016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BEBA082-6A9D-4C56-B801-2ECB9299D062}" type="datetime'''''''''''''''1''''''''''''''''''''''''0'''''''">
              <a:rPr lang="en-US" altLang="en-US" sz="1000" smtClean="0"/>
              <a:pPr/>
              <a:t>10</a:t>
            </a:fld>
            <a:endParaRPr lang="en-US" sz="1000" dirty="0"/>
          </a:p>
        </p:txBody>
      </p:sp>
      <p:sp>
        <p:nvSpPr>
          <p:cNvPr id="483" name="text">
            <a:extLst>
              <a:ext uri="{FF2B5EF4-FFF2-40B4-BE49-F238E27FC236}">
                <a16:creationId xmlns:a16="http://schemas.microsoft.com/office/drawing/2014/main" id="{0CA64C0B-D444-1DE9-79F0-6E3D4F050918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5249863" y="2122488"/>
            <a:ext cx="193675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40A09C1-742D-41F2-9AF0-588921E37397}" type="datetime'''''''''''''1''''''''''''''''''''1'''''''''''">
              <a:rPr lang="en-US" altLang="en-US" sz="1000" smtClean="0"/>
              <a:pPr/>
              <a:t>11</a:t>
            </a:fld>
            <a:endParaRPr lang="en-US" sz="1000" dirty="0"/>
          </a:p>
        </p:txBody>
      </p:sp>
      <p:sp>
        <p:nvSpPr>
          <p:cNvPr id="484" name="text">
            <a:extLst>
              <a:ext uri="{FF2B5EF4-FFF2-40B4-BE49-F238E27FC236}">
                <a16:creationId xmlns:a16="http://schemas.microsoft.com/office/drawing/2014/main" id="{C93B3BB6-B57B-399D-A2A2-BA43E07C7DF4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5443538" y="2122488"/>
            <a:ext cx="2016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2F33090-FCF2-430E-B3CE-E17F5CE43FD3}" type="datetime'''''''''''''''''''''''''''''1''2'''''''''''''''''''''''">
              <a:rPr lang="en-US" altLang="en-US" sz="1000" smtClean="0"/>
              <a:pPr/>
              <a:t>12</a:t>
            </a:fld>
            <a:endParaRPr lang="en-US" sz="1000" dirty="0"/>
          </a:p>
        </p:txBody>
      </p:sp>
      <p:sp>
        <p:nvSpPr>
          <p:cNvPr id="527" name="text">
            <a:extLst>
              <a:ext uri="{FF2B5EF4-FFF2-40B4-BE49-F238E27FC236}">
                <a16:creationId xmlns:a16="http://schemas.microsoft.com/office/drawing/2014/main" id="{A2912962-7FCF-72BD-2192-381463A28A89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5645150" y="2122488"/>
            <a:ext cx="2016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39243F7-6AE0-4F61-8CA2-4AAB42070832}" type="datetime'''''''''''''''''''''''''''''''''''''''''''''''1'">
              <a:rPr lang="en-US" altLang="en-US" sz="1000" smtClean="0"/>
              <a:pPr/>
              <a:t>1</a:t>
            </a:fld>
            <a:endParaRPr lang="en-US" sz="1000" dirty="0"/>
          </a:p>
        </p:txBody>
      </p:sp>
      <p:sp>
        <p:nvSpPr>
          <p:cNvPr id="529" name="text">
            <a:extLst>
              <a:ext uri="{FF2B5EF4-FFF2-40B4-BE49-F238E27FC236}">
                <a16:creationId xmlns:a16="http://schemas.microsoft.com/office/drawing/2014/main" id="{DA78766D-37FB-9E5D-4394-6DD7040C9AB7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5846763" y="2122488"/>
            <a:ext cx="180975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3028098-8853-47CC-800B-442C74DAD03A}" type="datetime'''''''''''''''2'''''''''''''''''''''''''''''''''''''''">
              <a:rPr lang="en-US" altLang="en-US" sz="1000" smtClean="0"/>
              <a:pPr/>
              <a:t>2</a:t>
            </a:fld>
            <a:endParaRPr lang="en-US" sz="1000" dirty="0"/>
          </a:p>
        </p:txBody>
      </p:sp>
      <p:sp>
        <p:nvSpPr>
          <p:cNvPr id="530" name="text">
            <a:extLst>
              <a:ext uri="{FF2B5EF4-FFF2-40B4-BE49-F238E27FC236}">
                <a16:creationId xmlns:a16="http://schemas.microsoft.com/office/drawing/2014/main" id="{3281B78B-7D6B-218E-C48B-0F2FC2A4EDFB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6027738" y="2122488"/>
            <a:ext cx="2016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6A288ED-8393-48D5-8225-CDE47C6C2733}" type="datetime'''''''''''''''''''''''''''''''''''''''''''''''3'">
              <a:rPr lang="en-US" altLang="en-US" sz="1000" smtClean="0"/>
              <a:pPr/>
              <a:t>3</a:t>
            </a:fld>
            <a:endParaRPr lang="en-US" sz="1000" dirty="0"/>
          </a:p>
        </p:txBody>
      </p:sp>
      <p:sp>
        <p:nvSpPr>
          <p:cNvPr id="531" name="text">
            <a:extLst>
              <a:ext uri="{FF2B5EF4-FFF2-40B4-BE49-F238E27FC236}">
                <a16:creationId xmlns:a16="http://schemas.microsoft.com/office/drawing/2014/main" id="{B66AD0D4-CF47-D9D3-D76C-92016AFEF9BF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6229350" y="2122488"/>
            <a:ext cx="19526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81B3CCC-6197-4464-B812-1A074C1A2F89}" type="datetime'''''''''''''''''''''''''''''4'''''''''''''''''''''''''''">
              <a:rPr lang="en-US" altLang="en-US" sz="1000" smtClean="0"/>
              <a:pPr/>
              <a:t>4</a:t>
            </a:fld>
            <a:endParaRPr lang="en-US" sz="1000" dirty="0"/>
          </a:p>
        </p:txBody>
      </p:sp>
      <p:sp>
        <p:nvSpPr>
          <p:cNvPr id="532" name="text">
            <a:extLst>
              <a:ext uri="{FF2B5EF4-FFF2-40B4-BE49-F238E27FC236}">
                <a16:creationId xmlns:a16="http://schemas.microsoft.com/office/drawing/2014/main" id="{C84C69E3-DDCF-FA88-DF26-0F4B1AF837B5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6424613" y="2122488"/>
            <a:ext cx="200025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CDDE179-E239-4421-B10F-CF3454AD001A}" type="datetime'''''''''''''''''''''''''''''5'''''''''''''''''''''">
              <a:rPr lang="en-US" altLang="en-US" sz="1000" smtClean="0"/>
              <a:pPr/>
              <a:t>5</a:t>
            </a:fld>
            <a:endParaRPr lang="en-US" sz="1000" dirty="0"/>
          </a:p>
        </p:txBody>
      </p:sp>
      <p:sp>
        <p:nvSpPr>
          <p:cNvPr id="533" name="text">
            <a:extLst>
              <a:ext uri="{FF2B5EF4-FFF2-40B4-BE49-F238E27FC236}">
                <a16:creationId xmlns:a16="http://schemas.microsoft.com/office/drawing/2014/main" id="{306665C9-A53F-71EA-904F-989380DF30C1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6624638" y="2122488"/>
            <a:ext cx="19526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50F0809-1C95-430B-A9B0-C252C67EBF19}" type="datetime'''6'''">
              <a:rPr lang="en-US" altLang="en-US" sz="1000" smtClean="0"/>
              <a:pPr/>
              <a:t>6</a:t>
            </a:fld>
            <a:endParaRPr lang="en-US" sz="1000" dirty="0"/>
          </a:p>
        </p:txBody>
      </p:sp>
      <p:sp>
        <p:nvSpPr>
          <p:cNvPr id="534" name="text">
            <a:extLst>
              <a:ext uri="{FF2B5EF4-FFF2-40B4-BE49-F238E27FC236}">
                <a16:creationId xmlns:a16="http://schemas.microsoft.com/office/drawing/2014/main" id="{F64DC7BF-A7C2-411E-2846-782A2673FD09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6819900" y="2122488"/>
            <a:ext cx="2016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2F3E5B2-CB35-4F03-86FC-208107C55968}" type="datetime'''''''''''7'''''''''''''''''''''''''''''">
              <a:rPr lang="en-US" altLang="en-US" sz="1000" smtClean="0"/>
              <a:pPr/>
              <a:t>7</a:t>
            </a:fld>
            <a:endParaRPr lang="en-US" sz="1000" dirty="0"/>
          </a:p>
        </p:txBody>
      </p:sp>
      <p:sp>
        <p:nvSpPr>
          <p:cNvPr id="535" name="text">
            <a:extLst>
              <a:ext uri="{FF2B5EF4-FFF2-40B4-BE49-F238E27FC236}">
                <a16:creationId xmlns:a16="http://schemas.microsoft.com/office/drawing/2014/main" id="{FE77CFCD-4D0D-A2CF-7B45-0959A27AEA52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7021513" y="2122488"/>
            <a:ext cx="200025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6C1089A-5839-49A3-ABDF-C285907458E4}" type="datetime'''8'''''''''''''''''''">
              <a:rPr lang="en-US" altLang="en-US" sz="1000" smtClean="0"/>
              <a:pPr/>
              <a:t>8</a:t>
            </a:fld>
            <a:endParaRPr lang="en-US" sz="1000" dirty="0"/>
          </a:p>
        </p:txBody>
      </p:sp>
      <p:sp>
        <p:nvSpPr>
          <p:cNvPr id="536" name="text">
            <a:extLst>
              <a:ext uri="{FF2B5EF4-FFF2-40B4-BE49-F238E27FC236}">
                <a16:creationId xmlns:a16="http://schemas.microsoft.com/office/drawing/2014/main" id="{13BA08DC-BBEC-CDD8-CE38-EE2E11A18C25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7221538" y="2122488"/>
            <a:ext cx="19526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3B7BF63-A0CC-4B9C-B226-DA542AA6FE5B}" type="datetime'''''''''''''''''''9'''''''''''''''">
              <a:rPr lang="en-US" altLang="en-US" sz="1000" smtClean="0"/>
              <a:pPr/>
              <a:t>9</a:t>
            </a:fld>
            <a:endParaRPr lang="en-US" sz="1000" dirty="0"/>
          </a:p>
        </p:txBody>
      </p:sp>
      <p:sp>
        <p:nvSpPr>
          <p:cNvPr id="537" name="text">
            <a:extLst>
              <a:ext uri="{FF2B5EF4-FFF2-40B4-BE49-F238E27FC236}">
                <a16:creationId xmlns:a16="http://schemas.microsoft.com/office/drawing/2014/main" id="{A310E1F0-BCDF-9115-278E-7EF7CFD7B16E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7416800" y="2122488"/>
            <a:ext cx="2016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3EB577F-F016-46FF-848C-1D318DB8518A}" type="datetime'''''''''10'''''''''''''''">
              <a:rPr lang="en-US" altLang="en-US" sz="1000" smtClean="0"/>
              <a:pPr/>
              <a:t>10</a:t>
            </a:fld>
            <a:endParaRPr lang="en-US" sz="1000" dirty="0"/>
          </a:p>
        </p:txBody>
      </p:sp>
      <p:sp>
        <p:nvSpPr>
          <p:cNvPr id="538" name="text">
            <a:extLst>
              <a:ext uri="{FF2B5EF4-FFF2-40B4-BE49-F238E27FC236}">
                <a16:creationId xmlns:a16="http://schemas.microsoft.com/office/drawing/2014/main" id="{DF6012D3-BE28-88B9-5217-300A11E7B84B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7618413" y="2122488"/>
            <a:ext cx="193675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D01DA93-0D56-41BF-A4ED-7AE7FB7DCC73}" type="datetime'''''''''''''''''''''''''''''11'''''''''''''">
              <a:rPr lang="en-US" altLang="en-US" sz="1000" smtClean="0"/>
              <a:pPr/>
              <a:t>11</a:t>
            </a:fld>
            <a:endParaRPr lang="en-US" sz="1000" dirty="0"/>
          </a:p>
        </p:txBody>
      </p:sp>
      <p:sp>
        <p:nvSpPr>
          <p:cNvPr id="539" name="text">
            <a:extLst>
              <a:ext uri="{FF2B5EF4-FFF2-40B4-BE49-F238E27FC236}">
                <a16:creationId xmlns:a16="http://schemas.microsoft.com/office/drawing/2014/main" id="{B1A0DECF-A395-671A-5E51-E37C81FC7508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7812088" y="2122488"/>
            <a:ext cx="2016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AE0D544-F536-4FE0-86BE-460E4CDED38D}" type="datetime'''''''''''''''1''''''''''2'''''''''''''''''''''''''''''''''''">
              <a:rPr lang="en-US" altLang="en-US" sz="1000" smtClean="0"/>
              <a:pPr/>
              <a:t>12</a:t>
            </a:fld>
            <a:endParaRPr lang="en-US" sz="1000" dirty="0"/>
          </a:p>
        </p:txBody>
      </p:sp>
      <p:sp>
        <p:nvSpPr>
          <p:cNvPr id="576" name="text">
            <a:extLst>
              <a:ext uri="{FF2B5EF4-FFF2-40B4-BE49-F238E27FC236}">
                <a16:creationId xmlns:a16="http://schemas.microsoft.com/office/drawing/2014/main" id="{18FDD234-3DCC-1CC4-6381-D92ECA450FEE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8013700" y="2122488"/>
            <a:ext cx="2016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5313415-F498-4A71-ADED-65660F1F50A3}" type="datetime'''''''1'''''''''''''''''''''''''''''''''''''''''''''''''''">
              <a:rPr lang="en-US" altLang="en-US" sz="1000" smtClean="0"/>
              <a:pPr/>
              <a:t>1</a:t>
            </a:fld>
            <a:endParaRPr lang="en-US" sz="1000" dirty="0"/>
          </a:p>
        </p:txBody>
      </p:sp>
      <p:sp>
        <p:nvSpPr>
          <p:cNvPr id="578" name="text">
            <a:extLst>
              <a:ext uri="{FF2B5EF4-FFF2-40B4-BE49-F238E27FC236}">
                <a16:creationId xmlns:a16="http://schemas.microsoft.com/office/drawing/2014/main" id="{E7996D49-E1E4-EEB6-921D-1936F8397526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8215313" y="2122488"/>
            <a:ext cx="187325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CD8674E-1ED6-4FB9-A882-BAC4751428CB}" type="datetime'''''''''''''''''''''''''''''''''''2'''''">
              <a:rPr lang="en-US" altLang="en-US" sz="1000" smtClean="0"/>
              <a:pPr/>
              <a:t>2</a:t>
            </a:fld>
            <a:endParaRPr lang="en-US" sz="1000" dirty="0"/>
          </a:p>
        </p:txBody>
      </p:sp>
      <p:sp>
        <p:nvSpPr>
          <p:cNvPr id="579" name="text">
            <a:extLst>
              <a:ext uri="{FF2B5EF4-FFF2-40B4-BE49-F238E27FC236}">
                <a16:creationId xmlns:a16="http://schemas.microsoft.com/office/drawing/2014/main" id="{5048DA2C-3F9E-91B8-90B7-FA0DD1378E48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8402638" y="2122488"/>
            <a:ext cx="2016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5200B7D-1976-45B8-8AC3-D675B0BAFF93}" type="datetime'3'''''''''''''">
              <a:rPr lang="en-US" altLang="en-US" sz="1000" smtClean="0"/>
              <a:pPr/>
              <a:t>3</a:t>
            </a:fld>
            <a:endParaRPr lang="en-US" sz="1000" dirty="0"/>
          </a:p>
        </p:txBody>
      </p:sp>
      <p:sp>
        <p:nvSpPr>
          <p:cNvPr id="580" name="text">
            <a:extLst>
              <a:ext uri="{FF2B5EF4-FFF2-40B4-BE49-F238E27FC236}">
                <a16:creationId xmlns:a16="http://schemas.microsoft.com/office/drawing/2014/main" id="{A81E9D03-2184-64DD-4678-2CFCC3C0507C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8604250" y="2122488"/>
            <a:ext cx="19526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49AB53F-F3C8-4BF8-9492-BF2230157088}" type="datetime'''4'''''''''">
              <a:rPr lang="en-US" altLang="en-US" sz="1000" smtClean="0"/>
              <a:pPr/>
              <a:t>4</a:t>
            </a:fld>
            <a:endParaRPr lang="en-US" sz="1000" dirty="0"/>
          </a:p>
        </p:txBody>
      </p:sp>
      <p:sp>
        <p:nvSpPr>
          <p:cNvPr id="581" name="text">
            <a:extLst>
              <a:ext uri="{FF2B5EF4-FFF2-40B4-BE49-F238E27FC236}">
                <a16:creationId xmlns:a16="http://schemas.microsoft.com/office/drawing/2014/main" id="{D1E9409D-4461-A468-724A-BE7F6B987EB5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8799513" y="2122488"/>
            <a:ext cx="200025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F1DF38D-D7DC-45C4-8790-B128A68ADD48}" type="datetime'''''''''''''''''5'''''''''''''''''''''''''''''''''''''''''''''">
              <a:rPr lang="en-US" altLang="en-US" sz="1000" smtClean="0"/>
              <a:pPr/>
              <a:t>5</a:t>
            </a:fld>
            <a:endParaRPr lang="en-US" sz="1000" dirty="0"/>
          </a:p>
        </p:txBody>
      </p:sp>
      <p:sp>
        <p:nvSpPr>
          <p:cNvPr id="582" name="text">
            <a:extLst>
              <a:ext uri="{FF2B5EF4-FFF2-40B4-BE49-F238E27FC236}">
                <a16:creationId xmlns:a16="http://schemas.microsoft.com/office/drawing/2014/main" id="{C4EB62B6-AE1E-B654-24FA-7A8F458C8893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8999538" y="2122488"/>
            <a:ext cx="19526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4653903-5964-4CA5-B88A-F736D0970A98}" type="datetime'''6'''''''''''''''''''''''''">
              <a:rPr lang="en-US" altLang="en-US" sz="1000" smtClean="0"/>
              <a:pPr/>
              <a:t>6</a:t>
            </a:fld>
            <a:endParaRPr lang="en-US" sz="1000" dirty="0"/>
          </a:p>
        </p:txBody>
      </p:sp>
      <p:sp>
        <p:nvSpPr>
          <p:cNvPr id="583" name="text">
            <a:extLst>
              <a:ext uri="{FF2B5EF4-FFF2-40B4-BE49-F238E27FC236}">
                <a16:creationId xmlns:a16="http://schemas.microsoft.com/office/drawing/2014/main" id="{2D8A07B1-3956-677C-32D0-E37193E63642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9194800" y="2122488"/>
            <a:ext cx="2016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D208629-1994-415C-A962-3973D4DF1CB5}" type="datetime'7'''''''''''''">
              <a:rPr lang="en-US" altLang="en-US" sz="1000" smtClean="0"/>
              <a:pPr/>
              <a:t>7</a:t>
            </a:fld>
            <a:endParaRPr lang="en-US" sz="1000" dirty="0"/>
          </a:p>
        </p:txBody>
      </p:sp>
      <p:sp>
        <p:nvSpPr>
          <p:cNvPr id="584" name="text">
            <a:extLst>
              <a:ext uri="{FF2B5EF4-FFF2-40B4-BE49-F238E27FC236}">
                <a16:creationId xmlns:a16="http://schemas.microsoft.com/office/drawing/2014/main" id="{FDC2C608-AD01-0978-5D44-ABAEBF97E599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9396413" y="2122488"/>
            <a:ext cx="200025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18CC8A2-C79B-41B3-8425-8457BED6E4AC}" type="datetime'''''''''''''''''''''8'''''''''''''''''''''''''''''''''''''''''">
              <a:rPr lang="en-US" altLang="en-US" sz="1000" smtClean="0"/>
              <a:pPr/>
              <a:t>8</a:t>
            </a:fld>
            <a:endParaRPr lang="en-US" sz="1000" dirty="0"/>
          </a:p>
        </p:txBody>
      </p:sp>
      <p:sp>
        <p:nvSpPr>
          <p:cNvPr id="585" name="text">
            <a:extLst>
              <a:ext uri="{FF2B5EF4-FFF2-40B4-BE49-F238E27FC236}">
                <a16:creationId xmlns:a16="http://schemas.microsoft.com/office/drawing/2014/main" id="{15ED3696-58A7-66C2-9B0B-335766605DD7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9596438" y="2122488"/>
            <a:ext cx="19526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A9959FA-E362-46B8-89DD-389AFEC0B216}" type="datetime'''9'''''''''''''''''''''''''''''''''''''''''''''''''''''''''''">
              <a:rPr lang="en-US" altLang="en-US" sz="1000" smtClean="0"/>
              <a:pPr/>
              <a:t>9</a:t>
            </a:fld>
            <a:endParaRPr lang="en-US" sz="1000" dirty="0"/>
          </a:p>
        </p:txBody>
      </p:sp>
      <p:sp>
        <p:nvSpPr>
          <p:cNvPr id="586" name="text">
            <a:extLst>
              <a:ext uri="{FF2B5EF4-FFF2-40B4-BE49-F238E27FC236}">
                <a16:creationId xmlns:a16="http://schemas.microsoft.com/office/drawing/2014/main" id="{AB9DED42-6B09-B72E-A953-20F70A1B8CEE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9791700" y="2122488"/>
            <a:ext cx="2016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BDBEAC4-880F-4D2E-AB72-CE436A02E152}" type="datetime'1''''''''''''''''''''''''''''''0'">
              <a:rPr lang="en-US" altLang="en-US" sz="1000" smtClean="0"/>
              <a:pPr/>
              <a:t>10</a:t>
            </a:fld>
            <a:endParaRPr lang="en-US" sz="1000" dirty="0"/>
          </a:p>
        </p:txBody>
      </p:sp>
      <p:sp>
        <p:nvSpPr>
          <p:cNvPr id="587" name="text">
            <a:extLst>
              <a:ext uri="{FF2B5EF4-FFF2-40B4-BE49-F238E27FC236}">
                <a16:creationId xmlns:a16="http://schemas.microsoft.com/office/drawing/2014/main" id="{C630AA9D-5476-48CC-059E-2ADC8494CA7C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9993313" y="2122488"/>
            <a:ext cx="193675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2EBA5AF-28B9-4446-8439-B9A7440702A9}" type="datetime'''''''''''''''''''''''''''''''''''''''''''11'''''''''''''''''">
              <a:rPr lang="en-US" altLang="en-US" sz="1000" smtClean="0"/>
              <a:pPr/>
              <a:t>11</a:t>
            </a:fld>
            <a:endParaRPr lang="en-US" sz="1000" dirty="0"/>
          </a:p>
        </p:txBody>
      </p:sp>
      <p:sp>
        <p:nvSpPr>
          <p:cNvPr id="588" name="text">
            <a:extLst>
              <a:ext uri="{FF2B5EF4-FFF2-40B4-BE49-F238E27FC236}">
                <a16:creationId xmlns:a16="http://schemas.microsoft.com/office/drawing/2014/main" id="{ABBE725E-6842-F1B9-5976-5A989BC01CAA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10186988" y="2122488"/>
            <a:ext cx="2016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1EECCD8-AE7E-4553-9A4B-DDAC62665DE4}" type="datetime'''1''''''''''''''''''2'">
              <a:rPr lang="en-US" altLang="en-US" sz="1000" smtClean="0"/>
              <a:pPr/>
              <a:t>12</a:t>
            </a:fld>
            <a:endParaRPr lang="en-US" sz="1000" dirty="0"/>
          </a:p>
        </p:txBody>
      </p:sp>
      <p:cxnSp>
        <p:nvCxnSpPr>
          <p:cNvPr id="507" name="Gerader Verbinder 506">
            <a:extLst>
              <a:ext uri="{FF2B5EF4-FFF2-40B4-BE49-F238E27FC236}">
                <a16:creationId xmlns:a16="http://schemas.microsoft.com/office/drawing/2014/main" id="{A34F6838-DF22-F808-3048-9BD68FA02CE5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>
            <a:off x="8013700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1" name="Gerader Verbinder 420">
            <a:extLst>
              <a:ext uri="{FF2B5EF4-FFF2-40B4-BE49-F238E27FC236}">
                <a16:creationId xmlns:a16="http://schemas.microsoft.com/office/drawing/2014/main" id="{C737CD02-7E07-1552-BF23-5A001F561336}"/>
              </a:ext>
            </a:extLst>
          </p:cNvPr>
          <p:cNvCxnSpPr/>
          <p:nvPr>
            <p:custDataLst>
              <p:tags r:id="rId67"/>
            </p:custDataLst>
          </p:nvPr>
        </p:nvCxnSpPr>
        <p:spPr bwMode="auto">
          <a:xfrm>
            <a:off x="5645150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0" name="Gerader Verbinder 419">
            <a:extLst>
              <a:ext uri="{FF2B5EF4-FFF2-40B4-BE49-F238E27FC236}">
                <a16:creationId xmlns:a16="http://schemas.microsoft.com/office/drawing/2014/main" id="{E04D622D-476C-8CFA-9050-7FD2C1F48023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>
            <a:off x="3276600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D51012F7-3690-4CE6-F396-E5145384744E}"/>
              </a:ext>
            </a:extLst>
          </p:cNvPr>
          <p:cNvCxnSpPr/>
          <p:nvPr>
            <p:custDataLst>
              <p:tags r:id="rId69"/>
            </p:custDataLst>
          </p:nvPr>
        </p:nvCxnSpPr>
        <p:spPr bwMode="auto">
          <a:xfrm>
            <a:off x="10388600" y="2309812"/>
            <a:ext cx="0" cy="33337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8B73A94B-FDDA-89A7-CD3A-403625E1793E}"/>
              </a:ext>
            </a:extLst>
          </p:cNvPr>
          <p:cNvCxnSpPr/>
          <p:nvPr>
            <p:custDataLst>
              <p:tags r:id="rId70"/>
            </p:custDataLst>
          </p:nvPr>
        </p:nvCxnSpPr>
        <p:spPr bwMode="auto">
          <a:xfrm>
            <a:off x="2082800" y="2309812"/>
            <a:ext cx="0" cy="33337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Gerader Verbinder 62">
            <a:extLst>
              <a:ext uri="{FF2B5EF4-FFF2-40B4-BE49-F238E27FC236}">
                <a16:creationId xmlns:a16="http://schemas.microsoft.com/office/drawing/2014/main" id="{5F1030B8-2B86-CD6F-ADBF-5C91E7C8A84F}"/>
              </a:ext>
            </a:extLst>
          </p:cNvPr>
          <p:cNvCxnSpPr/>
          <p:nvPr>
            <p:custDataLst>
              <p:tags r:id="rId71"/>
            </p:custDataLst>
          </p:nvPr>
        </p:nvCxnSpPr>
        <p:spPr bwMode="auto">
          <a:xfrm>
            <a:off x="525463" y="2309812"/>
            <a:ext cx="0" cy="33337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Gerader Verbinder 72">
            <a:extLst>
              <a:ext uri="{FF2B5EF4-FFF2-40B4-BE49-F238E27FC236}">
                <a16:creationId xmlns:a16="http://schemas.microsoft.com/office/drawing/2014/main" id="{2671803F-3783-26EF-CFA8-C80B43BC4F6D}"/>
              </a:ext>
            </a:extLst>
          </p:cNvPr>
          <p:cNvCxnSpPr/>
          <p:nvPr>
            <p:custDataLst>
              <p:tags r:id="rId72"/>
            </p:custDataLst>
          </p:nvPr>
        </p:nvCxnSpPr>
        <p:spPr bwMode="auto">
          <a:xfrm>
            <a:off x="11663363" y="2309812"/>
            <a:ext cx="0" cy="33337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9" name="Gerader Verbinder 438">
            <a:extLst>
              <a:ext uri="{FF2B5EF4-FFF2-40B4-BE49-F238E27FC236}">
                <a16:creationId xmlns:a16="http://schemas.microsoft.com/office/drawing/2014/main" id="{4589425E-A59E-6086-F952-1304D5A1FB8F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>
            <a:off x="8604250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8" name="Gerader Verbinder 407">
            <a:extLst>
              <a:ext uri="{FF2B5EF4-FFF2-40B4-BE49-F238E27FC236}">
                <a16:creationId xmlns:a16="http://schemas.microsoft.com/office/drawing/2014/main" id="{D9B0D8AF-1C3D-5387-EF84-9DB9E257BF23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>
            <a:off x="2679700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9" name="Gerader Verbinder 408">
            <a:extLst>
              <a:ext uri="{FF2B5EF4-FFF2-40B4-BE49-F238E27FC236}">
                <a16:creationId xmlns:a16="http://schemas.microsoft.com/office/drawing/2014/main" id="{3C67DB7C-F08F-0B5B-A8A1-B1FEAF08788C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>
            <a:off x="3860800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0" name="Gerader Verbinder 409">
            <a:extLst>
              <a:ext uri="{FF2B5EF4-FFF2-40B4-BE49-F238E27FC236}">
                <a16:creationId xmlns:a16="http://schemas.microsoft.com/office/drawing/2014/main" id="{85C56A69-7053-A1F2-6120-75515B912DA1}"/>
              </a:ext>
            </a:extLst>
          </p:cNvPr>
          <p:cNvCxnSpPr/>
          <p:nvPr>
            <p:custDataLst>
              <p:tags r:id="rId76"/>
            </p:custDataLst>
          </p:nvPr>
        </p:nvCxnSpPr>
        <p:spPr bwMode="auto">
          <a:xfrm>
            <a:off x="4451350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1" name="Gerader Verbinder 410">
            <a:extLst>
              <a:ext uri="{FF2B5EF4-FFF2-40B4-BE49-F238E27FC236}">
                <a16:creationId xmlns:a16="http://schemas.microsoft.com/office/drawing/2014/main" id="{272FA538-3B81-3CDA-AE8C-4C37D5F9547A}"/>
              </a:ext>
            </a:extLst>
          </p:cNvPr>
          <p:cNvCxnSpPr/>
          <p:nvPr>
            <p:custDataLst>
              <p:tags r:id="rId77"/>
            </p:custDataLst>
          </p:nvPr>
        </p:nvCxnSpPr>
        <p:spPr bwMode="auto">
          <a:xfrm>
            <a:off x="5048250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2" name="Gerader Verbinder 411">
            <a:extLst>
              <a:ext uri="{FF2B5EF4-FFF2-40B4-BE49-F238E27FC236}">
                <a16:creationId xmlns:a16="http://schemas.microsoft.com/office/drawing/2014/main" id="{354C3125-55B8-A96F-7422-D3AC33AC928D}"/>
              </a:ext>
            </a:extLst>
          </p:cNvPr>
          <p:cNvCxnSpPr/>
          <p:nvPr>
            <p:custDataLst>
              <p:tags r:id="rId78"/>
            </p:custDataLst>
          </p:nvPr>
        </p:nvCxnSpPr>
        <p:spPr bwMode="auto">
          <a:xfrm>
            <a:off x="6229350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3" name="Gerader Verbinder 412">
            <a:extLst>
              <a:ext uri="{FF2B5EF4-FFF2-40B4-BE49-F238E27FC236}">
                <a16:creationId xmlns:a16="http://schemas.microsoft.com/office/drawing/2014/main" id="{719E2758-0AFF-8345-0587-E5544C7588C6}"/>
              </a:ext>
            </a:extLst>
          </p:cNvPr>
          <p:cNvCxnSpPr/>
          <p:nvPr>
            <p:custDataLst>
              <p:tags r:id="rId79"/>
            </p:custDataLst>
          </p:nvPr>
        </p:nvCxnSpPr>
        <p:spPr bwMode="auto">
          <a:xfrm>
            <a:off x="6819900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8" name="Gerader Verbinder 437">
            <a:extLst>
              <a:ext uri="{FF2B5EF4-FFF2-40B4-BE49-F238E27FC236}">
                <a16:creationId xmlns:a16="http://schemas.microsoft.com/office/drawing/2014/main" id="{C60F8CF5-AB7F-B1F6-2BF3-AB612FE86EB3}"/>
              </a:ext>
            </a:extLst>
          </p:cNvPr>
          <p:cNvCxnSpPr/>
          <p:nvPr>
            <p:custDataLst>
              <p:tags r:id="rId80"/>
            </p:custDataLst>
          </p:nvPr>
        </p:nvCxnSpPr>
        <p:spPr bwMode="auto">
          <a:xfrm>
            <a:off x="7416800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0" name="Gerader Verbinder 439">
            <a:extLst>
              <a:ext uri="{FF2B5EF4-FFF2-40B4-BE49-F238E27FC236}">
                <a16:creationId xmlns:a16="http://schemas.microsoft.com/office/drawing/2014/main" id="{15F1EBEA-80AC-2A57-6432-DD29C10702AE}"/>
              </a:ext>
            </a:extLst>
          </p:cNvPr>
          <p:cNvCxnSpPr/>
          <p:nvPr>
            <p:custDataLst>
              <p:tags r:id="rId81"/>
            </p:custDataLst>
          </p:nvPr>
        </p:nvCxnSpPr>
        <p:spPr bwMode="auto">
          <a:xfrm>
            <a:off x="9194800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9" name="Gerader Verbinder 508">
            <a:extLst>
              <a:ext uri="{FF2B5EF4-FFF2-40B4-BE49-F238E27FC236}">
                <a16:creationId xmlns:a16="http://schemas.microsoft.com/office/drawing/2014/main" id="{FAFDF182-774E-7B37-9E80-A15A2E34F491}"/>
              </a:ext>
            </a:extLst>
          </p:cNvPr>
          <p:cNvCxnSpPr/>
          <p:nvPr>
            <p:custDataLst>
              <p:tags r:id="rId82"/>
            </p:custDataLst>
          </p:nvPr>
        </p:nvCxnSpPr>
        <p:spPr bwMode="auto">
          <a:xfrm>
            <a:off x="9791700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3" name="Gerader Verbinder 462">
            <a:extLst>
              <a:ext uri="{FF2B5EF4-FFF2-40B4-BE49-F238E27FC236}">
                <a16:creationId xmlns:a16="http://schemas.microsoft.com/office/drawing/2014/main" id="{5A603F4C-DD7C-7A0E-C0F6-C6BCA65944D7}"/>
              </a:ext>
            </a:extLst>
          </p:cNvPr>
          <p:cNvCxnSpPr/>
          <p:nvPr>
            <p:custDataLst>
              <p:tags r:id="rId83"/>
            </p:custDataLst>
          </p:nvPr>
        </p:nvCxnSpPr>
        <p:spPr bwMode="auto">
          <a:xfrm>
            <a:off x="525463" y="3421063"/>
            <a:ext cx="111379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4" name="Gerader Verbinder 463">
            <a:extLst>
              <a:ext uri="{FF2B5EF4-FFF2-40B4-BE49-F238E27FC236}">
                <a16:creationId xmlns:a16="http://schemas.microsoft.com/office/drawing/2014/main" id="{CE77A33A-419E-D615-5B27-D73D97E01116}"/>
              </a:ext>
            </a:extLst>
          </p:cNvPr>
          <p:cNvCxnSpPr/>
          <p:nvPr>
            <p:custDataLst>
              <p:tags r:id="rId84"/>
            </p:custDataLst>
          </p:nvPr>
        </p:nvCxnSpPr>
        <p:spPr bwMode="auto">
          <a:xfrm>
            <a:off x="525463" y="5073650"/>
            <a:ext cx="111379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CF57AF63-CDCD-985D-36FA-A8DEEA5B6923}"/>
              </a:ext>
            </a:extLst>
          </p:cNvPr>
          <p:cNvCxnSpPr/>
          <p:nvPr>
            <p:custDataLst>
              <p:tags r:id="rId85"/>
            </p:custDataLst>
          </p:nvPr>
        </p:nvCxnSpPr>
        <p:spPr bwMode="auto">
          <a:xfrm>
            <a:off x="525463" y="5643563"/>
            <a:ext cx="111379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2BF1E41E-C721-04BE-05BB-37E6CAE4259E}"/>
              </a:ext>
            </a:extLst>
          </p:cNvPr>
          <p:cNvCxnSpPr/>
          <p:nvPr>
            <p:custDataLst>
              <p:tags r:id="rId86"/>
            </p:custDataLst>
          </p:nvPr>
        </p:nvCxnSpPr>
        <p:spPr bwMode="auto">
          <a:xfrm>
            <a:off x="2620963" y="2309813"/>
            <a:ext cx="0" cy="34972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A486652D-49E8-2FD4-031B-9B2A107D0ED0}"/>
              </a:ext>
            </a:extLst>
          </p:cNvPr>
          <p:cNvCxnSpPr/>
          <p:nvPr>
            <p:custDataLst>
              <p:tags r:id="rId87"/>
            </p:custDataLst>
          </p:nvPr>
        </p:nvCxnSpPr>
        <p:spPr bwMode="auto">
          <a:xfrm>
            <a:off x="525463" y="2309813"/>
            <a:ext cx="111379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8" name="Rechteck 447">
            <a:extLst>
              <a:ext uri="{FF2B5EF4-FFF2-40B4-BE49-F238E27FC236}">
                <a16:creationId xmlns:a16="http://schemas.microsoft.com/office/drawing/2014/main" id="{0D55ADBE-3AF6-9E3D-4E52-EEDB1EB04760}"/>
              </a:ext>
            </a:extLst>
          </p:cNvPr>
          <p:cNvSpPr/>
          <p:nvPr>
            <p:custDataLst>
              <p:tags r:id="rId88"/>
            </p:custDataLst>
          </p:nvPr>
        </p:nvSpPr>
        <p:spPr bwMode="auto">
          <a:xfrm>
            <a:off x="6450013" y="5165725"/>
            <a:ext cx="1368425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70" name="Rechteck 469">
            <a:extLst>
              <a:ext uri="{FF2B5EF4-FFF2-40B4-BE49-F238E27FC236}">
                <a16:creationId xmlns:a16="http://schemas.microsoft.com/office/drawing/2014/main" id="{D35258A1-FAC4-E87A-35C8-69D93CDAA996}"/>
              </a:ext>
            </a:extLst>
          </p:cNvPr>
          <p:cNvSpPr/>
          <p:nvPr>
            <p:custDataLst>
              <p:tags r:id="rId89"/>
            </p:custDataLst>
          </p:nvPr>
        </p:nvSpPr>
        <p:spPr bwMode="auto">
          <a:xfrm>
            <a:off x="6345238" y="4867275"/>
            <a:ext cx="123825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68" name="Rechteck 467">
            <a:extLst>
              <a:ext uri="{FF2B5EF4-FFF2-40B4-BE49-F238E27FC236}">
                <a16:creationId xmlns:a16="http://schemas.microsoft.com/office/drawing/2014/main" id="{1CEA8884-EF88-EDF8-754F-1B7C04B2FC4E}"/>
              </a:ext>
            </a:extLst>
          </p:cNvPr>
          <p:cNvSpPr/>
          <p:nvPr>
            <p:custDataLst>
              <p:tags r:id="rId90"/>
            </p:custDataLst>
          </p:nvPr>
        </p:nvSpPr>
        <p:spPr bwMode="auto">
          <a:xfrm>
            <a:off x="6210300" y="4595813"/>
            <a:ext cx="168275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73" name="Rechteck 472">
            <a:extLst>
              <a:ext uri="{FF2B5EF4-FFF2-40B4-BE49-F238E27FC236}">
                <a16:creationId xmlns:a16="http://schemas.microsoft.com/office/drawing/2014/main" id="{74EC5F40-C6F3-A46A-595E-E79A9419FC1F}"/>
              </a:ext>
            </a:extLst>
          </p:cNvPr>
          <p:cNvSpPr/>
          <p:nvPr>
            <p:custDataLst>
              <p:tags r:id="rId91"/>
            </p:custDataLst>
          </p:nvPr>
        </p:nvSpPr>
        <p:spPr bwMode="auto">
          <a:xfrm>
            <a:off x="6073775" y="4325938"/>
            <a:ext cx="168275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62" name="Rechteck 461">
            <a:extLst>
              <a:ext uri="{FF2B5EF4-FFF2-40B4-BE49-F238E27FC236}">
                <a16:creationId xmlns:a16="http://schemas.microsoft.com/office/drawing/2014/main" id="{68086CB3-E654-8289-0DCA-CB608C1753B4}"/>
              </a:ext>
            </a:extLst>
          </p:cNvPr>
          <p:cNvSpPr/>
          <p:nvPr>
            <p:custDataLst>
              <p:tags r:id="rId92"/>
            </p:custDataLst>
          </p:nvPr>
        </p:nvSpPr>
        <p:spPr bwMode="auto">
          <a:xfrm>
            <a:off x="5800725" y="3784600"/>
            <a:ext cx="168275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85" name="Rechteck 484">
            <a:extLst>
              <a:ext uri="{FF2B5EF4-FFF2-40B4-BE49-F238E27FC236}">
                <a16:creationId xmlns:a16="http://schemas.microsoft.com/office/drawing/2014/main" id="{86732013-9C70-81D3-F913-744ACFF2A83A}"/>
              </a:ext>
            </a:extLst>
          </p:cNvPr>
          <p:cNvSpPr/>
          <p:nvPr>
            <p:custDataLst>
              <p:tags r:id="rId93"/>
            </p:custDataLst>
          </p:nvPr>
        </p:nvSpPr>
        <p:spPr bwMode="auto">
          <a:xfrm>
            <a:off x="5527674" y="3513138"/>
            <a:ext cx="306388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65A29362-2746-303E-C891-A7E1C8385972}"/>
              </a:ext>
            </a:extLst>
          </p:cNvPr>
          <p:cNvSpPr/>
          <p:nvPr>
            <p:custDataLst>
              <p:tags r:id="rId94"/>
            </p:custDataLst>
          </p:nvPr>
        </p:nvSpPr>
        <p:spPr bwMode="auto">
          <a:xfrm>
            <a:off x="4983162" y="3214688"/>
            <a:ext cx="577850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A3F5852-24D9-82CD-29CA-1B126AE6F01B}"/>
              </a:ext>
            </a:extLst>
          </p:cNvPr>
          <p:cNvSpPr/>
          <p:nvPr>
            <p:custDataLst>
              <p:tags r:id="rId95"/>
            </p:custDataLst>
          </p:nvPr>
        </p:nvSpPr>
        <p:spPr bwMode="auto">
          <a:xfrm>
            <a:off x="3621087" y="2401888"/>
            <a:ext cx="304800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49" name="Rechteck 448">
            <a:extLst>
              <a:ext uri="{FF2B5EF4-FFF2-40B4-BE49-F238E27FC236}">
                <a16:creationId xmlns:a16="http://schemas.microsoft.com/office/drawing/2014/main" id="{8A502A8D-0926-6A9E-85FE-D52D7D431B1D}"/>
              </a:ext>
            </a:extLst>
          </p:cNvPr>
          <p:cNvSpPr/>
          <p:nvPr>
            <p:custDataLst>
              <p:tags r:id="rId96"/>
            </p:custDataLst>
          </p:nvPr>
        </p:nvSpPr>
        <p:spPr bwMode="auto">
          <a:xfrm>
            <a:off x="7864475" y="5437188"/>
            <a:ext cx="1147763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23738454-5485-48B6-0408-3D69CF35F18E}"/>
              </a:ext>
            </a:extLst>
          </p:cNvPr>
          <p:cNvSpPr/>
          <p:nvPr>
            <p:custDataLst>
              <p:tags r:id="rId97"/>
            </p:custDataLst>
          </p:nvPr>
        </p:nvSpPr>
        <p:spPr bwMode="auto">
          <a:xfrm>
            <a:off x="3892549" y="2673350"/>
            <a:ext cx="577850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64585337-CFD6-5556-FB17-9A9FFD067F37}"/>
              </a:ext>
            </a:extLst>
          </p:cNvPr>
          <p:cNvSpPr/>
          <p:nvPr>
            <p:custDataLst>
              <p:tags r:id="rId98"/>
            </p:custDataLst>
          </p:nvPr>
        </p:nvSpPr>
        <p:spPr bwMode="auto">
          <a:xfrm>
            <a:off x="4438649" y="2943225"/>
            <a:ext cx="577850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51" name="Rechteck 450">
            <a:extLst>
              <a:ext uri="{FF2B5EF4-FFF2-40B4-BE49-F238E27FC236}">
                <a16:creationId xmlns:a16="http://schemas.microsoft.com/office/drawing/2014/main" id="{757E298E-AF2A-0521-F557-7DF3D2383B11}"/>
              </a:ext>
            </a:extLst>
          </p:cNvPr>
          <p:cNvSpPr/>
          <p:nvPr>
            <p:custDataLst>
              <p:tags r:id="rId99"/>
            </p:custDataLst>
          </p:nvPr>
        </p:nvSpPr>
        <p:spPr bwMode="auto">
          <a:xfrm>
            <a:off x="5969000" y="4054475"/>
            <a:ext cx="136525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5" name="Raute 574">
            <a:extLst>
              <a:ext uri="{FF2B5EF4-FFF2-40B4-BE49-F238E27FC236}">
                <a16:creationId xmlns:a16="http://schemas.microsoft.com/office/drawing/2014/main" id="{32393F55-EE2A-C937-51D1-8122D4BF01A4}"/>
              </a:ext>
            </a:extLst>
          </p:cNvPr>
          <p:cNvSpPr/>
          <p:nvPr>
            <p:custDataLst>
              <p:tags r:id="rId100"/>
            </p:custDataLst>
          </p:nvPr>
        </p:nvSpPr>
        <p:spPr bwMode="gray">
          <a:xfrm>
            <a:off x="8813800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3" name="Raute 522">
            <a:extLst>
              <a:ext uri="{FF2B5EF4-FFF2-40B4-BE49-F238E27FC236}">
                <a16:creationId xmlns:a16="http://schemas.microsoft.com/office/drawing/2014/main" id="{C3D16DEF-2A50-64E8-B99A-0977CE4102B9}"/>
              </a:ext>
            </a:extLst>
          </p:cNvPr>
          <p:cNvSpPr/>
          <p:nvPr>
            <p:custDataLst>
              <p:tags r:id="rId101"/>
            </p:custDataLst>
          </p:nvPr>
        </p:nvSpPr>
        <p:spPr bwMode="gray">
          <a:xfrm>
            <a:off x="4387850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47" name="Raute 446">
            <a:extLst>
              <a:ext uri="{FF2B5EF4-FFF2-40B4-BE49-F238E27FC236}">
                <a16:creationId xmlns:a16="http://schemas.microsoft.com/office/drawing/2014/main" id="{9AED4282-54AB-8FE7-3393-C29B731A7C87}"/>
              </a:ext>
            </a:extLst>
          </p:cNvPr>
          <p:cNvSpPr/>
          <p:nvPr>
            <p:custDataLst>
              <p:tags r:id="rId102"/>
            </p:custDataLst>
          </p:nvPr>
        </p:nvSpPr>
        <p:spPr bwMode="gray">
          <a:xfrm>
            <a:off x="2811463" y="23939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7" name="Raute 566">
            <a:extLst>
              <a:ext uri="{FF2B5EF4-FFF2-40B4-BE49-F238E27FC236}">
                <a16:creationId xmlns:a16="http://schemas.microsoft.com/office/drawing/2014/main" id="{CAE8BFE7-EBD8-9D13-23D7-6D311F6388C4}"/>
              </a:ext>
            </a:extLst>
          </p:cNvPr>
          <p:cNvSpPr/>
          <p:nvPr>
            <p:custDataLst>
              <p:tags r:id="rId103"/>
            </p:custDataLst>
          </p:nvPr>
        </p:nvSpPr>
        <p:spPr bwMode="gray">
          <a:xfrm>
            <a:off x="7618413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4" name="Raute 573">
            <a:extLst>
              <a:ext uri="{FF2B5EF4-FFF2-40B4-BE49-F238E27FC236}">
                <a16:creationId xmlns:a16="http://schemas.microsoft.com/office/drawing/2014/main" id="{A4C2495A-114F-D124-92CD-DC217679B8F5}"/>
              </a:ext>
            </a:extLst>
          </p:cNvPr>
          <p:cNvSpPr/>
          <p:nvPr>
            <p:custDataLst>
              <p:tags r:id="rId104"/>
            </p:custDataLst>
          </p:nvPr>
        </p:nvSpPr>
        <p:spPr bwMode="gray">
          <a:xfrm>
            <a:off x="8435975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2" name="Raute 521">
            <a:extLst>
              <a:ext uri="{FF2B5EF4-FFF2-40B4-BE49-F238E27FC236}">
                <a16:creationId xmlns:a16="http://schemas.microsoft.com/office/drawing/2014/main" id="{7D68B430-D54F-CB6A-DE80-A071063631AC}"/>
              </a:ext>
            </a:extLst>
          </p:cNvPr>
          <p:cNvSpPr/>
          <p:nvPr>
            <p:custDataLst>
              <p:tags r:id="rId105"/>
            </p:custDataLst>
          </p:nvPr>
        </p:nvSpPr>
        <p:spPr bwMode="gray">
          <a:xfrm>
            <a:off x="4205288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4" name="Raute 563">
            <a:extLst>
              <a:ext uri="{FF2B5EF4-FFF2-40B4-BE49-F238E27FC236}">
                <a16:creationId xmlns:a16="http://schemas.microsoft.com/office/drawing/2014/main" id="{E2FC676E-4544-F8C1-547A-589952CA29D4}"/>
              </a:ext>
            </a:extLst>
          </p:cNvPr>
          <p:cNvSpPr/>
          <p:nvPr>
            <p:custDataLst>
              <p:tags r:id="rId106"/>
            </p:custDataLst>
          </p:nvPr>
        </p:nvSpPr>
        <p:spPr bwMode="gray">
          <a:xfrm>
            <a:off x="7424738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3" name="Raute 572">
            <a:extLst>
              <a:ext uri="{FF2B5EF4-FFF2-40B4-BE49-F238E27FC236}">
                <a16:creationId xmlns:a16="http://schemas.microsoft.com/office/drawing/2014/main" id="{D1C1ABC9-D45B-C177-0CB1-BD9460C744AC}"/>
              </a:ext>
            </a:extLst>
          </p:cNvPr>
          <p:cNvSpPr/>
          <p:nvPr>
            <p:custDataLst>
              <p:tags r:id="rId107"/>
            </p:custDataLst>
          </p:nvPr>
        </p:nvSpPr>
        <p:spPr bwMode="gray">
          <a:xfrm>
            <a:off x="8255000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16" name="Raute 515">
            <a:extLst>
              <a:ext uri="{FF2B5EF4-FFF2-40B4-BE49-F238E27FC236}">
                <a16:creationId xmlns:a16="http://schemas.microsoft.com/office/drawing/2014/main" id="{B349AD52-8D2B-750E-1AC1-07342052DFFC}"/>
              </a:ext>
            </a:extLst>
          </p:cNvPr>
          <p:cNvSpPr/>
          <p:nvPr>
            <p:custDataLst>
              <p:tags r:id="rId108"/>
            </p:custDataLst>
          </p:nvPr>
        </p:nvSpPr>
        <p:spPr bwMode="gray">
          <a:xfrm>
            <a:off x="3309938" y="29352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1" name="Raute 520">
            <a:extLst>
              <a:ext uri="{FF2B5EF4-FFF2-40B4-BE49-F238E27FC236}">
                <a16:creationId xmlns:a16="http://schemas.microsoft.com/office/drawing/2014/main" id="{4A96A1CF-3C1C-FB8D-1422-9D0164BEF860}"/>
              </a:ext>
            </a:extLst>
          </p:cNvPr>
          <p:cNvSpPr/>
          <p:nvPr>
            <p:custDataLst>
              <p:tags r:id="rId109"/>
            </p:custDataLst>
          </p:nvPr>
        </p:nvSpPr>
        <p:spPr bwMode="gray">
          <a:xfrm>
            <a:off x="4024313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71" name="Raute 470">
            <a:extLst>
              <a:ext uri="{FF2B5EF4-FFF2-40B4-BE49-F238E27FC236}">
                <a16:creationId xmlns:a16="http://schemas.microsoft.com/office/drawing/2014/main" id="{A3E09846-AFAC-4370-0030-1E590FE12947}"/>
              </a:ext>
            </a:extLst>
          </p:cNvPr>
          <p:cNvSpPr/>
          <p:nvPr>
            <p:custDataLst>
              <p:tags r:id="rId110"/>
            </p:custDataLst>
          </p:nvPr>
        </p:nvSpPr>
        <p:spPr bwMode="gray">
          <a:xfrm>
            <a:off x="3154363" y="29352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19" name="Raute 518">
            <a:extLst>
              <a:ext uri="{FF2B5EF4-FFF2-40B4-BE49-F238E27FC236}">
                <a16:creationId xmlns:a16="http://schemas.microsoft.com/office/drawing/2014/main" id="{EE51F5B7-9590-76E7-4929-70BA6D6F0811}"/>
              </a:ext>
            </a:extLst>
          </p:cNvPr>
          <p:cNvSpPr/>
          <p:nvPr>
            <p:custDataLst>
              <p:tags r:id="rId111"/>
            </p:custDataLst>
          </p:nvPr>
        </p:nvSpPr>
        <p:spPr bwMode="gray">
          <a:xfrm>
            <a:off x="3856038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2" name="Raute 571">
            <a:extLst>
              <a:ext uri="{FF2B5EF4-FFF2-40B4-BE49-F238E27FC236}">
                <a16:creationId xmlns:a16="http://schemas.microsoft.com/office/drawing/2014/main" id="{CD52034C-746E-C2B1-4838-EBF23E34C040}"/>
              </a:ext>
            </a:extLst>
          </p:cNvPr>
          <p:cNvSpPr/>
          <p:nvPr>
            <p:custDataLst>
              <p:tags r:id="rId112"/>
            </p:custDataLst>
          </p:nvPr>
        </p:nvSpPr>
        <p:spPr bwMode="gray">
          <a:xfrm>
            <a:off x="8164513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3" name="Raute 562">
            <a:extLst>
              <a:ext uri="{FF2B5EF4-FFF2-40B4-BE49-F238E27FC236}">
                <a16:creationId xmlns:a16="http://schemas.microsoft.com/office/drawing/2014/main" id="{F106883A-52B4-140F-7B16-4A68C4815B80}"/>
              </a:ext>
            </a:extLst>
          </p:cNvPr>
          <p:cNvSpPr/>
          <p:nvPr>
            <p:custDataLst>
              <p:tags r:id="rId113"/>
            </p:custDataLst>
          </p:nvPr>
        </p:nvSpPr>
        <p:spPr bwMode="gray">
          <a:xfrm>
            <a:off x="7256463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0" name="Raute 519">
            <a:extLst>
              <a:ext uri="{FF2B5EF4-FFF2-40B4-BE49-F238E27FC236}">
                <a16:creationId xmlns:a16="http://schemas.microsoft.com/office/drawing/2014/main" id="{B7326F1C-B33C-DAEA-287A-A159B5ABA0FB}"/>
              </a:ext>
            </a:extLst>
          </p:cNvPr>
          <p:cNvSpPr/>
          <p:nvPr>
            <p:custDataLst>
              <p:tags r:id="rId114"/>
            </p:custDataLst>
          </p:nvPr>
        </p:nvSpPr>
        <p:spPr bwMode="gray">
          <a:xfrm>
            <a:off x="3673475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3" name="Raute 552">
            <a:extLst>
              <a:ext uri="{FF2B5EF4-FFF2-40B4-BE49-F238E27FC236}">
                <a16:creationId xmlns:a16="http://schemas.microsoft.com/office/drawing/2014/main" id="{2C4E5D5B-A95D-FD89-AC9B-876C97BA9D03}"/>
              </a:ext>
            </a:extLst>
          </p:cNvPr>
          <p:cNvSpPr/>
          <p:nvPr>
            <p:custDataLst>
              <p:tags r:id="rId115"/>
            </p:custDataLst>
          </p:nvPr>
        </p:nvSpPr>
        <p:spPr bwMode="gray">
          <a:xfrm>
            <a:off x="4751388" y="350520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45" name="Raute 544">
            <a:extLst>
              <a:ext uri="{FF2B5EF4-FFF2-40B4-BE49-F238E27FC236}">
                <a16:creationId xmlns:a16="http://schemas.microsoft.com/office/drawing/2014/main" id="{35F13429-4C15-F104-D1C1-C668B560454C}"/>
              </a:ext>
            </a:extLst>
          </p:cNvPr>
          <p:cNvSpPr/>
          <p:nvPr>
            <p:custDataLst>
              <p:tags r:id="rId116"/>
            </p:custDataLst>
          </p:nvPr>
        </p:nvSpPr>
        <p:spPr bwMode="gray">
          <a:xfrm>
            <a:off x="5659438" y="4587875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1" name="Raute 570">
            <a:extLst>
              <a:ext uri="{FF2B5EF4-FFF2-40B4-BE49-F238E27FC236}">
                <a16:creationId xmlns:a16="http://schemas.microsoft.com/office/drawing/2014/main" id="{9EF90038-E573-DD91-E2E6-348C745E78E4}"/>
              </a:ext>
            </a:extLst>
          </p:cNvPr>
          <p:cNvSpPr/>
          <p:nvPr>
            <p:custDataLst>
              <p:tags r:id="rId117"/>
            </p:custDataLst>
          </p:nvPr>
        </p:nvSpPr>
        <p:spPr bwMode="gray">
          <a:xfrm>
            <a:off x="7981950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67" name="Raute 466">
            <a:extLst>
              <a:ext uri="{FF2B5EF4-FFF2-40B4-BE49-F238E27FC236}">
                <a16:creationId xmlns:a16="http://schemas.microsoft.com/office/drawing/2014/main" id="{E0676C87-3E02-A210-659A-C20FA648EBAF}"/>
              </a:ext>
            </a:extLst>
          </p:cNvPr>
          <p:cNvSpPr/>
          <p:nvPr>
            <p:custDataLst>
              <p:tags r:id="rId118"/>
            </p:custDataLst>
          </p:nvPr>
        </p:nvSpPr>
        <p:spPr bwMode="gray">
          <a:xfrm>
            <a:off x="2973388" y="29352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99" name="Raute 598">
            <a:extLst>
              <a:ext uri="{FF2B5EF4-FFF2-40B4-BE49-F238E27FC236}">
                <a16:creationId xmlns:a16="http://schemas.microsoft.com/office/drawing/2014/main" id="{DA66EA48-55A2-4203-3BAC-C334253B3778}"/>
              </a:ext>
            </a:extLst>
          </p:cNvPr>
          <p:cNvSpPr/>
          <p:nvPr>
            <p:custDataLst>
              <p:tags r:id="rId119"/>
            </p:custDataLst>
          </p:nvPr>
        </p:nvSpPr>
        <p:spPr bwMode="gray">
          <a:xfrm>
            <a:off x="5114925" y="3776663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5" name="Raute 564">
            <a:extLst>
              <a:ext uri="{FF2B5EF4-FFF2-40B4-BE49-F238E27FC236}">
                <a16:creationId xmlns:a16="http://schemas.microsoft.com/office/drawing/2014/main" id="{43D0E139-6EBD-D65F-340B-FA6BF638FC39}"/>
              </a:ext>
            </a:extLst>
          </p:cNvPr>
          <p:cNvSpPr/>
          <p:nvPr>
            <p:custDataLst>
              <p:tags r:id="rId120"/>
            </p:custDataLst>
          </p:nvPr>
        </p:nvSpPr>
        <p:spPr bwMode="gray">
          <a:xfrm>
            <a:off x="6386513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5" name="Raute 524">
            <a:extLst>
              <a:ext uri="{FF2B5EF4-FFF2-40B4-BE49-F238E27FC236}">
                <a16:creationId xmlns:a16="http://schemas.microsoft.com/office/drawing/2014/main" id="{9BC090B9-1B2B-2648-4A0F-52338454324F}"/>
              </a:ext>
            </a:extLst>
          </p:cNvPr>
          <p:cNvSpPr/>
          <p:nvPr>
            <p:custDataLst>
              <p:tags r:id="rId121"/>
            </p:custDataLst>
          </p:nvPr>
        </p:nvSpPr>
        <p:spPr bwMode="gray">
          <a:xfrm>
            <a:off x="4568825" y="4587875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0" name="Raute 569">
            <a:extLst>
              <a:ext uri="{FF2B5EF4-FFF2-40B4-BE49-F238E27FC236}">
                <a16:creationId xmlns:a16="http://schemas.microsoft.com/office/drawing/2014/main" id="{410FCFA8-6205-EB8D-782A-2C2407F2A63A}"/>
              </a:ext>
            </a:extLst>
          </p:cNvPr>
          <p:cNvSpPr/>
          <p:nvPr>
            <p:custDataLst>
              <p:tags r:id="rId122"/>
            </p:custDataLst>
          </p:nvPr>
        </p:nvSpPr>
        <p:spPr bwMode="gray">
          <a:xfrm>
            <a:off x="7891463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6" name="Raute 565">
            <a:extLst>
              <a:ext uri="{FF2B5EF4-FFF2-40B4-BE49-F238E27FC236}">
                <a16:creationId xmlns:a16="http://schemas.microsoft.com/office/drawing/2014/main" id="{CEF8F828-BFA4-50D0-6F5B-DB6019361C69}"/>
              </a:ext>
            </a:extLst>
          </p:cNvPr>
          <p:cNvSpPr/>
          <p:nvPr>
            <p:custDataLst>
              <p:tags r:id="rId123"/>
            </p:custDataLst>
          </p:nvPr>
        </p:nvSpPr>
        <p:spPr bwMode="gray">
          <a:xfrm>
            <a:off x="6203950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1" name="Raute 560">
            <a:extLst>
              <a:ext uri="{FF2B5EF4-FFF2-40B4-BE49-F238E27FC236}">
                <a16:creationId xmlns:a16="http://schemas.microsoft.com/office/drawing/2014/main" id="{1E1ACDFF-09D1-169C-68A1-D05D6D6402F5}"/>
              </a:ext>
            </a:extLst>
          </p:cNvPr>
          <p:cNvSpPr/>
          <p:nvPr>
            <p:custDataLst>
              <p:tags r:id="rId124"/>
            </p:custDataLst>
          </p:nvPr>
        </p:nvSpPr>
        <p:spPr bwMode="gray">
          <a:xfrm>
            <a:off x="5840413" y="485933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0" name="Raute 559">
            <a:extLst>
              <a:ext uri="{FF2B5EF4-FFF2-40B4-BE49-F238E27FC236}">
                <a16:creationId xmlns:a16="http://schemas.microsoft.com/office/drawing/2014/main" id="{B496CEC1-20B0-524B-CA47-3B93C1B6397D}"/>
              </a:ext>
            </a:extLst>
          </p:cNvPr>
          <p:cNvSpPr/>
          <p:nvPr>
            <p:custDataLst>
              <p:tags r:id="rId125"/>
            </p:custDataLst>
          </p:nvPr>
        </p:nvSpPr>
        <p:spPr bwMode="gray">
          <a:xfrm>
            <a:off x="5659438" y="431800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2" name="Raute 551">
            <a:extLst>
              <a:ext uri="{FF2B5EF4-FFF2-40B4-BE49-F238E27FC236}">
                <a16:creationId xmlns:a16="http://schemas.microsoft.com/office/drawing/2014/main" id="{73B1A487-2E0C-A7AD-65EE-5A50996F446E}"/>
              </a:ext>
            </a:extLst>
          </p:cNvPr>
          <p:cNvSpPr/>
          <p:nvPr>
            <p:custDataLst>
              <p:tags r:id="rId126"/>
            </p:custDataLst>
          </p:nvPr>
        </p:nvSpPr>
        <p:spPr bwMode="gray">
          <a:xfrm>
            <a:off x="4751388" y="350520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66" name="Raute 465">
            <a:extLst>
              <a:ext uri="{FF2B5EF4-FFF2-40B4-BE49-F238E27FC236}">
                <a16:creationId xmlns:a16="http://schemas.microsoft.com/office/drawing/2014/main" id="{2F609CBA-D462-14FB-F027-3EFB8C560F02}"/>
              </a:ext>
            </a:extLst>
          </p:cNvPr>
          <p:cNvSpPr/>
          <p:nvPr>
            <p:custDataLst>
              <p:tags r:id="rId127"/>
            </p:custDataLst>
          </p:nvPr>
        </p:nvSpPr>
        <p:spPr bwMode="gray">
          <a:xfrm>
            <a:off x="2817813" y="29352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6" name="Raute 555">
            <a:extLst>
              <a:ext uri="{FF2B5EF4-FFF2-40B4-BE49-F238E27FC236}">
                <a16:creationId xmlns:a16="http://schemas.microsoft.com/office/drawing/2014/main" id="{7728AEF8-14B5-B112-A6F0-41AC111DF2C9}"/>
              </a:ext>
            </a:extLst>
          </p:cNvPr>
          <p:cNvSpPr/>
          <p:nvPr>
            <p:custDataLst>
              <p:tags r:id="rId128"/>
            </p:custDataLst>
          </p:nvPr>
        </p:nvSpPr>
        <p:spPr bwMode="gray">
          <a:xfrm>
            <a:off x="4932363" y="3776663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8" name="Raute 557">
            <a:extLst>
              <a:ext uri="{FF2B5EF4-FFF2-40B4-BE49-F238E27FC236}">
                <a16:creationId xmlns:a16="http://schemas.microsoft.com/office/drawing/2014/main" id="{8E026071-29BE-07A8-0E21-C99FD88638B4}"/>
              </a:ext>
            </a:extLst>
          </p:cNvPr>
          <p:cNvSpPr/>
          <p:nvPr>
            <p:custDataLst>
              <p:tags r:id="rId129"/>
            </p:custDataLst>
          </p:nvPr>
        </p:nvSpPr>
        <p:spPr bwMode="gray">
          <a:xfrm>
            <a:off x="5295900" y="404653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18" name="Raute 517">
            <a:extLst>
              <a:ext uri="{FF2B5EF4-FFF2-40B4-BE49-F238E27FC236}">
                <a16:creationId xmlns:a16="http://schemas.microsoft.com/office/drawing/2014/main" id="{2999BF66-EDFB-298D-B555-4242FB328073}"/>
              </a:ext>
            </a:extLst>
          </p:cNvPr>
          <p:cNvSpPr/>
          <p:nvPr>
            <p:custDataLst>
              <p:tags r:id="rId130"/>
            </p:custDataLst>
          </p:nvPr>
        </p:nvSpPr>
        <p:spPr bwMode="gray">
          <a:xfrm>
            <a:off x="3492500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17" name="Raute 516">
            <a:extLst>
              <a:ext uri="{FF2B5EF4-FFF2-40B4-BE49-F238E27FC236}">
                <a16:creationId xmlns:a16="http://schemas.microsoft.com/office/drawing/2014/main" id="{2FAC9BAB-3885-45F9-4625-66F6A5EEF644}"/>
              </a:ext>
            </a:extLst>
          </p:cNvPr>
          <p:cNvSpPr/>
          <p:nvPr>
            <p:custDataLst>
              <p:tags r:id="rId131"/>
            </p:custDataLst>
          </p:nvPr>
        </p:nvSpPr>
        <p:spPr bwMode="gray">
          <a:xfrm>
            <a:off x="3309938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4" name="Raute 523">
            <a:extLst>
              <a:ext uri="{FF2B5EF4-FFF2-40B4-BE49-F238E27FC236}">
                <a16:creationId xmlns:a16="http://schemas.microsoft.com/office/drawing/2014/main" id="{97207B43-0FE2-5850-780E-142E43C27266}"/>
              </a:ext>
            </a:extLst>
          </p:cNvPr>
          <p:cNvSpPr/>
          <p:nvPr>
            <p:custDataLst>
              <p:tags r:id="rId132"/>
            </p:custDataLst>
          </p:nvPr>
        </p:nvSpPr>
        <p:spPr bwMode="gray">
          <a:xfrm>
            <a:off x="4387850" y="4587875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7" name="Raute 556">
            <a:extLst>
              <a:ext uri="{FF2B5EF4-FFF2-40B4-BE49-F238E27FC236}">
                <a16:creationId xmlns:a16="http://schemas.microsoft.com/office/drawing/2014/main" id="{2D00D983-8A63-D7FE-D91F-60109BCF432D}"/>
              </a:ext>
            </a:extLst>
          </p:cNvPr>
          <p:cNvSpPr/>
          <p:nvPr>
            <p:custDataLst>
              <p:tags r:id="rId133"/>
            </p:custDataLst>
          </p:nvPr>
        </p:nvSpPr>
        <p:spPr bwMode="gray">
          <a:xfrm>
            <a:off x="5114925" y="404653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5" name="Raute 554">
            <a:extLst>
              <a:ext uri="{FF2B5EF4-FFF2-40B4-BE49-F238E27FC236}">
                <a16:creationId xmlns:a16="http://schemas.microsoft.com/office/drawing/2014/main" id="{9FA4215F-6D72-D1A3-1644-74387CB0C219}"/>
              </a:ext>
            </a:extLst>
          </p:cNvPr>
          <p:cNvSpPr/>
          <p:nvPr>
            <p:custDataLst>
              <p:tags r:id="rId134"/>
            </p:custDataLst>
          </p:nvPr>
        </p:nvSpPr>
        <p:spPr bwMode="gray">
          <a:xfrm>
            <a:off x="4919663" y="3776663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2" name="Raute 561">
            <a:extLst>
              <a:ext uri="{FF2B5EF4-FFF2-40B4-BE49-F238E27FC236}">
                <a16:creationId xmlns:a16="http://schemas.microsoft.com/office/drawing/2014/main" id="{8D32AC41-AFE9-A49D-70C1-3D2575360022}"/>
              </a:ext>
            </a:extLst>
          </p:cNvPr>
          <p:cNvSpPr/>
          <p:nvPr>
            <p:custDataLst>
              <p:tags r:id="rId135"/>
            </p:custDataLst>
          </p:nvPr>
        </p:nvSpPr>
        <p:spPr bwMode="gray">
          <a:xfrm>
            <a:off x="5795963" y="485933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" name="Raute 54">
            <a:extLst>
              <a:ext uri="{FF2B5EF4-FFF2-40B4-BE49-F238E27FC236}">
                <a16:creationId xmlns:a16="http://schemas.microsoft.com/office/drawing/2014/main" id="{0D57CC83-E37E-D82E-C3CE-88CECA1A4019}"/>
              </a:ext>
            </a:extLst>
          </p:cNvPr>
          <p:cNvSpPr/>
          <p:nvPr>
            <p:custDataLst>
              <p:tags r:id="rId136"/>
            </p:custDataLst>
          </p:nvPr>
        </p:nvSpPr>
        <p:spPr bwMode="gray">
          <a:xfrm>
            <a:off x="2408238" y="29352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8" name="Raute 567">
            <a:extLst>
              <a:ext uri="{FF2B5EF4-FFF2-40B4-BE49-F238E27FC236}">
                <a16:creationId xmlns:a16="http://schemas.microsoft.com/office/drawing/2014/main" id="{51F99D7E-9C59-7287-33B5-0611F8214C7B}"/>
              </a:ext>
            </a:extLst>
          </p:cNvPr>
          <p:cNvSpPr/>
          <p:nvPr>
            <p:custDataLst>
              <p:tags r:id="rId137"/>
            </p:custDataLst>
          </p:nvPr>
        </p:nvSpPr>
        <p:spPr bwMode="gray">
          <a:xfrm>
            <a:off x="6022975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9" name="Raute 568">
            <a:extLst>
              <a:ext uri="{FF2B5EF4-FFF2-40B4-BE49-F238E27FC236}">
                <a16:creationId xmlns:a16="http://schemas.microsoft.com/office/drawing/2014/main" id="{3E5C725A-50F1-B9BB-4A87-B14658263CEC}"/>
              </a:ext>
            </a:extLst>
          </p:cNvPr>
          <p:cNvSpPr/>
          <p:nvPr>
            <p:custDataLst>
              <p:tags r:id="rId138"/>
            </p:custDataLst>
          </p:nvPr>
        </p:nvSpPr>
        <p:spPr bwMode="gray">
          <a:xfrm>
            <a:off x="7800975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2" name="Gleichschenkliges Dreieck 41">
            <a:extLst>
              <a:ext uri="{FF2B5EF4-FFF2-40B4-BE49-F238E27FC236}">
                <a16:creationId xmlns:a16="http://schemas.microsoft.com/office/drawing/2014/main" id="{6387A424-5802-CD62-D82B-827CAC6DC21C}"/>
              </a:ext>
            </a:extLst>
          </p:cNvPr>
          <p:cNvSpPr/>
          <p:nvPr>
            <p:custDataLst>
              <p:tags r:id="rId139"/>
            </p:custDataLst>
          </p:nvPr>
        </p:nvSpPr>
        <p:spPr bwMode="gray">
          <a:xfrm>
            <a:off x="2563813" y="5749925"/>
            <a:ext cx="114300" cy="114300"/>
          </a:xfrm>
          <a:prstGeom prst="triangle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1" name="Raute 550">
            <a:extLst>
              <a:ext uri="{FF2B5EF4-FFF2-40B4-BE49-F238E27FC236}">
                <a16:creationId xmlns:a16="http://schemas.microsoft.com/office/drawing/2014/main" id="{9C1F348E-56B5-BAA9-6970-06672CDC7B64}"/>
              </a:ext>
            </a:extLst>
          </p:cNvPr>
          <p:cNvSpPr/>
          <p:nvPr>
            <p:custDataLst>
              <p:tags r:id="rId140"/>
            </p:custDataLst>
          </p:nvPr>
        </p:nvSpPr>
        <p:spPr bwMode="gray">
          <a:xfrm>
            <a:off x="4568825" y="350520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9" name="Raute 558">
            <a:extLst>
              <a:ext uri="{FF2B5EF4-FFF2-40B4-BE49-F238E27FC236}">
                <a16:creationId xmlns:a16="http://schemas.microsoft.com/office/drawing/2014/main" id="{3D89BBA2-254F-2F02-30A5-1D5AE581BD1C}"/>
              </a:ext>
            </a:extLst>
          </p:cNvPr>
          <p:cNvSpPr/>
          <p:nvPr>
            <p:custDataLst>
              <p:tags r:id="rId141"/>
            </p:custDataLst>
          </p:nvPr>
        </p:nvSpPr>
        <p:spPr bwMode="gray">
          <a:xfrm>
            <a:off x="5478463" y="431800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B32EAEFE-EB31-8165-FCDE-670019D7A0D8}"/>
              </a:ext>
            </a:extLst>
          </p:cNvPr>
          <p:cNvSpPr>
            <a:spLocks noGrp="1"/>
          </p:cNvSpPr>
          <p:nvPr>
            <p:custDataLst>
              <p:tags r:id="rId142"/>
            </p:custDataLst>
          </p:nvPr>
        </p:nvSpPr>
        <p:spPr bwMode="auto">
          <a:xfrm>
            <a:off x="596900" y="2894013"/>
            <a:ext cx="11795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effectLst/>
              </a:rPr>
              <a:t>Type 1.6A B1-B6</a:t>
            </a:r>
            <a:endParaRPr lang="en-US" dirty="0"/>
          </a:p>
        </p:txBody>
      </p:sp>
      <p:sp>
        <p:nvSpPr>
          <p:cNvPr id="67" name="text">
            <a:extLst>
              <a:ext uri="{FF2B5EF4-FFF2-40B4-BE49-F238E27FC236}">
                <a16:creationId xmlns:a16="http://schemas.microsoft.com/office/drawing/2014/main" id="{849DEFFE-32C4-6CEC-D235-187FD8400935}"/>
              </a:ext>
            </a:extLst>
          </p:cNvPr>
          <p:cNvSpPr>
            <a:spLocks noGrp="1"/>
          </p:cNvSpPr>
          <p:nvPr>
            <p:custDataLst>
              <p:tags r:id="rId143"/>
            </p:custDataLst>
          </p:nvPr>
        </p:nvSpPr>
        <p:spPr bwMode="auto">
          <a:xfrm>
            <a:off x="596900" y="4546600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Type 2.123 S1</a:t>
            </a:r>
            <a:endParaRPr lang="en-US" dirty="0"/>
          </a:p>
        </p:txBody>
      </p:sp>
      <p:sp>
        <p:nvSpPr>
          <p:cNvPr id="82" name="text">
            <a:extLst>
              <a:ext uri="{FF2B5EF4-FFF2-40B4-BE49-F238E27FC236}">
                <a16:creationId xmlns:a16="http://schemas.microsoft.com/office/drawing/2014/main" id="{769A6DA9-E80F-A0C1-C254-3749C6248AFD}"/>
              </a:ext>
            </a:extLst>
          </p:cNvPr>
          <p:cNvSpPr>
            <a:spLocks noGrp="1"/>
          </p:cNvSpPr>
          <p:nvPr>
            <p:custDataLst>
              <p:tags r:id="rId144"/>
            </p:custDataLst>
          </p:nvPr>
        </p:nvSpPr>
        <p:spPr bwMode="auto">
          <a:xfrm>
            <a:off x="10460038" y="4546600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Straight</a:t>
            </a:r>
          </a:p>
        </p:txBody>
      </p:sp>
      <p:sp>
        <p:nvSpPr>
          <p:cNvPr id="86" name="text">
            <a:extLst>
              <a:ext uri="{FF2B5EF4-FFF2-40B4-BE49-F238E27FC236}">
                <a16:creationId xmlns:a16="http://schemas.microsoft.com/office/drawing/2014/main" id="{9A9E778A-19ED-00D8-FC2E-E12EB7C234D3}"/>
              </a:ext>
            </a:extLst>
          </p:cNvPr>
          <p:cNvSpPr>
            <a:spLocks noGrp="1"/>
          </p:cNvSpPr>
          <p:nvPr>
            <p:custDataLst>
              <p:tags r:id="rId145"/>
            </p:custDataLst>
          </p:nvPr>
        </p:nvSpPr>
        <p:spPr bwMode="auto">
          <a:xfrm>
            <a:off x="596900" y="4818063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/>
              <a:t>Type </a:t>
            </a:r>
            <a:r>
              <a:rPr lang="en-US" altLang="en-US" dirty="0"/>
              <a:t>2.123 S5</a:t>
            </a:r>
            <a:endParaRPr lang="en-US" dirty="0"/>
          </a:p>
        </p:txBody>
      </p:sp>
      <p:sp>
        <p:nvSpPr>
          <p:cNvPr id="6" name="text">
            <a:extLst>
              <a:ext uri="{FF2B5EF4-FFF2-40B4-BE49-F238E27FC236}">
                <a16:creationId xmlns:a16="http://schemas.microsoft.com/office/drawing/2014/main" id="{C7364AB8-B6EC-E8EF-1992-3A74F6191348}"/>
              </a:ext>
            </a:extLst>
          </p:cNvPr>
          <p:cNvSpPr>
            <a:spLocks noGrp="1"/>
          </p:cNvSpPr>
          <p:nvPr>
            <p:custDataLst>
              <p:tags r:id="rId146"/>
            </p:custDataLst>
          </p:nvPr>
        </p:nvSpPr>
        <p:spPr bwMode="auto">
          <a:xfrm>
            <a:off x="596900" y="2352675"/>
            <a:ext cx="10763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>
                <a:effectLst/>
              </a:rPr>
              <a:t>Type </a:t>
            </a:r>
            <a:r>
              <a:rPr lang="en-US" altLang="en-US" dirty="0">
                <a:effectLst/>
              </a:rPr>
              <a:t>2.5 B1-B6</a:t>
            </a:r>
            <a:endParaRPr lang="en-US" dirty="0"/>
          </a:p>
        </p:txBody>
      </p:sp>
      <p:sp>
        <p:nvSpPr>
          <p:cNvPr id="90" name="text">
            <a:extLst>
              <a:ext uri="{FF2B5EF4-FFF2-40B4-BE49-F238E27FC236}">
                <a16:creationId xmlns:a16="http://schemas.microsoft.com/office/drawing/2014/main" id="{3E267E5F-A7F3-A1A1-325F-7AA0A6F6401C}"/>
              </a:ext>
            </a:extLst>
          </p:cNvPr>
          <p:cNvSpPr>
            <a:spLocks noGrp="1"/>
          </p:cNvSpPr>
          <p:nvPr>
            <p:custDataLst>
              <p:tags r:id="rId147"/>
            </p:custDataLst>
          </p:nvPr>
        </p:nvSpPr>
        <p:spPr bwMode="auto">
          <a:xfrm>
            <a:off x="596900" y="5387975"/>
            <a:ext cx="14144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/>
              <a:t>Type </a:t>
            </a:r>
            <a:r>
              <a:rPr lang="en-US" altLang="en-US" dirty="0"/>
              <a:t>1.E / 2.4 S1-S6</a:t>
            </a:r>
            <a:endParaRPr lang="en-US" dirty="0"/>
          </a:p>
        </p:txBody>
      </p:sp>
      <p:sp>
        <p:nvSpPr>
          <p:cNvPr id="104" name="text">
            <a:extLst>
              <a:ext uri="{FF2B5EF4-FFF2-40B4-BE49-F238E27FC236}">
                <a16:creationId xmlns:a16="http://schemas.microsoft.com/office/drawing/2014/main" id="{171876F3-FD9A-4520-EB89-59B474AAD104}"/>
              </a:ext>
            </a:extLst>
          </p:cNvPr>
          <p:cNvSpPr>
            <a:spLocks noGrp="1"/>
          </p:cNvSpPr>
          <p:nvPr>
            <p:custDataLst>
              <p:tags r:id="rId148"/>
            </p:custDataLst>
          </p:nvPr>
        </p:nvSpPr>
        <p:spPr bwMode="auto">
          <a:xfrm>
            <a:off x="10460038" y="5387975"/>
            <a:ext cx="11318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 / Curve</a:t>
            </a:r>
          </a:p>
        </p:txBody>
      </p:sp>
      <p:sp>
        <p:nvSpPr>
          <p:cNvPr id="80" name="text">
            <a:extLst>
              <a:ext uri="{FF2B5EF4-FFF2-40B4-BE49-F238E27FC236}">
                <a16:creationId xmlns:a16="http://schemas.microsoft.com/office/drawing/2014/main" id="{74EE6AB0-6023-DA90-4183-F442EF16EAE6}"/>
              </a:ext>
            </a:extLst>
          </p:cNvPr>
          <p:cNvSpPr>
            <a:spLocks noGrp="1"/>
          </p:cNvSpPr>
          <p:nvPr>
            <p:custDataLst>
              <p:tags r:id="rId149"/>
            </p:custDataLst>
          </p:nvPr>
        </p:nvSpPr>
        <p:spPr bwMode="auto">
          <a:xfrm>
            <a:off x="10460038" y="3165475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Curve</a:t>
            </a:r>
            <a:endParaRPr lang="en-US" dirty="0"/>
          </a:p>
        </p:txBody>
      </p:sp>
      <p:sp>
        <p:nvSpPr>
          <p:cNvPr id="74" name="text">
            <a:extLst>
              <a:ext uri="{FF2B5EF4-FFF2-40B4-BE49-F238E27FC236}">
                <a16:creationId xmlns:a16="http://schemas.microsoft.com/office/drawing/2014/main" id="{0BEDB43C-EFF5-6A5C-9F72-B0EDB8262729}"/>
              </a:ext>
            </a:extLst>
          </p:cNvPr>
          <p:cNvSpPr>
            <a:spLocks noGrp="1"/>
          </p:cNvSpPr>
          <p:nvPr>
            <p:custDataLst>
              <p:tags r:id="rId150"/>
            </p:custDataLst>
          </p:nvPr>
        </p:nvSpPr>
        <p:spPr bwMode="auto">
          <a:xfrm>
            <a:off x="10460038" y="2352675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effectLst/>
              </a:rPr>
              <a:t>Curve</a:t>
            </a:r>
            <a:endParaRPr lang="en-US" dirty="0"/>
          </a:p>
        </p:txBody>
      </p:sp>
      <p:sp>
        <p:nvSpPr>
          <p:cNvPr id="69" name="text">
            <a:extLst>
              <a:ext uri="{FF2B5EF4-FFF2-40B4-BE49-F238E27FC236}">
                <a16:creationId xmlns:a16="http://schemas.microsoft.com/office/drawing/2014/main" id="{1F5ABDDC-8379-CC24-27C4-A09827B38105}"/>
              </a:ext>
            </a:extLst>
          </p:cNvPr>
          <p:cNvSpPr>
            <a:spLocks noGrp="1"/>
          </p:cNvSpPr>
          <p:nvPr>
            <p:custDataLst>
              <p:tags r:id="rId151"/>
            </p:custDataLst>
          </p:nvPr>
        </p:nvSpPr>
        <p:spPr bwMode="auto">
          <a:xfrm>
            <a:off x="596900" y="3463925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Type 2.123 S2</a:t>
            </a:r>
            <a:endParaRPr lang="en-US" dirty="0"/>
          </a:p>
        </p:txBody>
      </p:sp>
      <p:sp>
        <p:nvSpPr>
          <p:cNvPr id="92" name="text">
            <a:extLst>
              <a:ext uri="{FF2B5EF4-FFF2-40B4-BE49-F238E27FC236}">
                <a16:creationId xmlns:a16="http://schemas.microsoft.com/office/drawing/2014/main" id="{0DDDCCC4-0991-89C6-F8C3-81111A7D85B6}"/>
              </a:ext>
            </a:extLst>
          </p:cNvPr>
          <p:cNvSpPr>
            <a:spLocks noGrp="1"/>
          </p:cNvSpPr>
          <p:nvPr>
            <p:custDataLst>
              <p:tags r:id="rId152"/>
            </p:custDataLst>
          </p:nvPr>
        </p:nvSpPr>
        <p:spPr bwMode="auto">
          <a:xfrm>
            <a:off x="10460038" y="3463925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  <a:endParaRPr lang="en-US" dirty="0"/>
          </a:p>
        </p:txBody>
      </p:sp>
      <p:sp>
        <p:nvSpPr>
          <p:cNvPr id="8" name="text">
            <a:extLst>
              <a:ext uri="{FF2B5EF4-FFF2-40B4-BE49-F238E27FC236}">
                <a16:creationId xmlns:a16="http://schemas.microsoft.com/office/drawing/2014/main" id="{BABF04C6-3599-A8DE-D7CC-407822613093}"/>
              </a:ext>
            </a:extLst>
          </p:cNvPr>
          <p:cNvSpPr>
            <a:spLocks noGrp="1"/>
          </p:cNvSpPr>
          <p:nvPr>
            <p:custDataLst>
              <p:tags r:id="rId153"/>
            </p:custDataLst>
          </p:nvPr>
        </p:nvSpPr>
        <p:spPr bwMode="auto">
          <a:xfrm>
            <a:off x="596900" y="2624138"/>
            <a:ext cx="11731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effectLst/>
              </a:rPr>
              <a:t>Type 1.7B B1-B6</a:t>
            </a:r>
            <a:endParaRPr lang="en-US" dirty="0"/>
          </a:p>
        </p:txBody>
      </p:sp>
      <p:sp>
        <p:nvSpPr>
          <p:cNvPr id="102" name="text">
            <a:extLst>
              <a:ext uri="{FF2B5EF4-FFF2-40B4-BE49-F238E27FC236}">
                <a16:creationId xmlns:a16="http://schemas.microsoft.com/office/drawing/2014/main" id="{2D48BD37-0BA9-213E-43B9-242FA2FF536D}"/>
              </a:ext>
            </a:extLst>
          </p:cNvPr>
          <p:cNvSpPr>
            <a:spLocks noGrp="1"/>
          </p:cNvSpPr>
          <p:nvPr>
            <p:custDataLst>
              <p:tags r:id="rId154"/>
            </p:custDataLst>
          </p:nvPr>
        </p:nvSpPr>
        <p:spPr bwMode="auto">
          <a:xfrm>
            <a:off x="10460038" y="5116513"/>
            <a:ext cx="11318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 / Curve</a:t>
            </a:r>
          </a:p>
        </p:txBody>
      </p:sp>
      <p:sp>
        <p:nvSpPr>
          <p:cNvPr id="88" name="text">
            <a:extLst>
              <a:ext uri="{FF2B5EF4-FFF2-40B4-BE49-F238E27FC236}">
                <a16:creationId xmlns:a16="http://schemas.microsoft.com/office/drawing/2014/main" id="{7CE76DA4-4587-223C-3A19-A003AB952638}"/>
              </a:ext>
            </a:extLst>
          </p:cNvPr>
          <p:cNvSpPr>
            <a:spLocks noGrp="1"/>
          </p:cNvSpPr>
          <p:nvPr>
            <p:custDataLst>
              <p:tags r:id="rId155"/>
            </p:custDataLst>
          </p:nvPr>
        </p:nvSpPr>
        <p:spPr bwMode="auto">
          <a:xfrm>
            <a:off x="596900" y="5116513"/>
            <a:ext cx="10763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/>
              <a:t>Type </a:t>
            </a:r>
            <a:r>
              <a:rPr lang="en-US" altLang="en-US" dirty="0"/>
              <a:t>2.9 B1-B6</a:t>
            </a:r>
            <a:endParaRPr lang="en-US" dirty="0"/>
          </a:p>
        </p:txBody>
      </p:sp>
      <p:sp>
        <p:nvSpPr>
          <p:cNvPr id="76" name="text">
            <a:extLst>
              <a:ext uri="{FF2B5EF4-FFF2-40B4-BE49-F238E27FC236}">
                <a16:creationId xmlns:a16="http://schemas.microsoft.com/office/drawing/2014/main" id="{74432159-C065-7D26-3A2D-202612211A2B}"/>
              </a:ext>
            </a:extLst>
          </p:cNvPr>
          <p:cNvSpPr>
            <a:spLocks noGrp="1"/>
          </p:cNvSpPr>
          <p:nvPr>
            <p:custDataLst>
              <p:tags r:id="rId156"/>
            </p:custDataLst>
          </p:nvPr>
        </p:nvSpPr>
        <p:spPr bwMode="auto">
          <a:xfrm>
            <a:off x="10460038" y="2624138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Curve</a:t>
            </a:r>
            <a:endParaRPr lang="en-US" dirty="0"/>
          </a:p>
        </p:txBody>
      </p:sp>
      <p:sp>
        <p:nvSpPr>
          <p:cNvPr id="96" name="text">
            <a:extLst>
              <a:ext uri="{FF2B5EF4-FFF2-40B4-BE49-F238E27FC236}">
                <a16:creationId xmlns:a16="http://schemas.microsoft.com/office/drawing/2014/main" id="{37D8FB37-74A2-6C73-4C29-6821955B4FA4}"/>
              </a:ext>
            </a:extLst>
          </p:cNvPr>
          <p:cNvSpPr>
            <a:spLocks noGrp="1"/>
          </p:cNvSpPr>
          <p:nvPr>
            <p:custDataLst>
              <p:tags r:id="rId157"/>
            </p:custDataLst>
          </p:nvPr>
        </p:nvSpPr>
        <p:spPr bwMode="auto">
          <a:xfrm>
            <a:off x="10460038" y="4276725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  <a:endParaRPr lang="en-US" dirty="0"/>
          </a:p>
        </p:txBody>
      </p:sp>
      <p:sp>
        <p:nvSpPr>
          <p:cNvPr id="84" name="text">
            <a:extLst>
              <a:ext uri="{FF2B5EF4-FFF2-40B4-BE49-F238E27FC236}">
                <a16:creationId xmlns:a16="http://schemas.microsoft.com/office/drawing/2014/main" id="{45BC3CC5-DEAB-7CB0-B788-F90A18BB563B}"/>
              </a:ext>
            </a:extLst>
          </p:cNvPr>
          <p:cNvSpPr>
            <a:spLocks noGrp="1"/>
          </p:cNvSpPr>
          <p:nvPr>
            <p:custDataLst>
              <p:tags r:id="rId158"/>
            </p:custDataLst>
          </p:nvPr>
        </p:nvSpPr>
        <p:spPr bwMode="auto">
          <a:xfrm>
            <a:off x="596900" y="3735388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Type 2.123 S3</a:t>
            </a:r>
            <a:endParaRPr lang="en-US" dirty="0"/>
          </a:p>
        </p:txBody>
      </p:sp>
      <p:sp>
        <p:nvSpPr>
          <p:cNvPr id="98" name="text">
            <a:extLst>
              <a:ext uri="{FF2B5EF4-FFF2-40B4-BE49-F238E27FC236}">
                <a16:creationId xmlns:a16="http://schemas.microsoft.com/office/drawing/2014/main" id="{157B4524-0EAA-CACC-43A4-D0255787EC75}"/>
              </a:ext>
            </a:extLst>
          </p:cNvPr>
          <p:cNvSpPr>
            <a:spLocks noGrp="1"/>
          </p:cNvSpPr>
          <p:nvPr>
            <p:custDataLst>
              <p:tags r:id="rId159"/>
            </p:custDataLst>
          </p:nvPr>
        </p:nvSpPr>
        <p:spPr bwMode="auto">
          <a:xfrm>
            <a:off x="10460038" y="3735388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</a:p>
        </p:txBody>
      </p:sp>
      <p:sp>
        <p:nvSpPr>
          <p:cNvPr id="14" name="text">
            <a:extLst>
              <a:ext uri="{FF2B5EF4-FFF2-40B4-BE49-F238E27FC236}">
                <a16:creationId xmlns:a16="http://schemas.microsoft.com/office/drawing/2014/main" id="{EF31583D-E979-EC3C-B51C-4C6165BDD20C}"/>
              </a:ext>
            </a:extLst>
          </p:cNvPr>
          <p:cNvSpPr>
            <a:spLocks noGrp="1"/>
          </p:cNvSpPr>
          <p:nvPr>
            <p:custDataLst>
              <p:tags r:id="rId160"/>
            </p:custDataLst>
          </p:nvPr>
        </p:nvSpPr>
        <p:spPr bwMode="auto">
          <a:xfrm>
            <a:off x="596900" y="2079625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DEC0F1C-E2C4-47F0-806C-88D7F6BAC7C9}" type="datetime'''''''A''''''''''c''t''i''''''''v''''ity'''''''''''''''''">
              <a:rPr lang="en-US" altLang="en-US" b="1" smtClean="0">
                <a:effectLst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lang="en-US" b="1" dirty="0"/>
          </a:p>
        </p:txBody>
      </p:sp>
      <p:sp>
        <p:nvSpPr>
          <p:cNvPr id="71" name="text">
            <a:extLst>
              <a:ext uri="{FF2B5EF4-FFF2-40B4-BE49-F238E27FC236}">
                <a16:creationId xmlns:a16="http://schemas.microsoft.com/office/drawing/2014/main" id="{F66CF395-6E6E-0B2C-BB37-A137CFB9CC2A}"/>
              </a:ext>
            </a:extLst>
          </p:cNvPr>
          <p:cNvSpPr>
            <a:spLocks noGrp="1"/>
          </p:cNvSpPr>
          <p:nvPr>
            <p:custDataLst>
              <p:tags r:id="rId161"/>
            </p:custDataLst>
          </p:nvPr>
        </p:nvSpPr>
        <p:spPr bwMode="auto">
          <a:xfrm>
            <a:off x="10460038" y="2079625"/>
            <a:ext cx="8874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BCA7072-2ED5-4C4C-B531-C859FFC5020F}" type="datetime'R''''''''esp''o''''n''s''i''''''b''''''''l''''''e'''''">
              <a:rPr lang="en-US" altLang="en-US" b="1" smtClean="0">
                <a:effectLst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Responsible</a:t>
            </a:fld>
            <a:endParaRPr lang="en-US" b="1" dirty="0"/>
          </a:p>
        </p:txBody>
      </p:sp>
      <p:sp>
        <p:nvSpPr>
          <p:cNvPr id="41" name="text">
            <a:extLst>
              <a:ext uri="{FF2B5EF4-FFF2-40B4-BE49-F238E27FC236}">
                <a16:creationId xmlns:a16="http://schemas.microsoft.com/office/drawing/2014/main" id="{5F8EE611-A3F5-B405-B705-876A9CE46161}"/>
              </a:ext>
            </a:extLst>
          </p:cNvPr>
          <p:cNvSpPr>
            <a:spLocks noGrp="1"/>
          </p:cNvSpPr>
          <p:nvPr>
            <p:custDataLst>
              <p:tags r:id="rId162"/>
            </p:custDataLst>
          </p:nvPr>
        </p:nvSpPr>
        <p:spPr bwMode="auto">
          <a:xfrm>
            <a:off x="2236788" y="5886450"/>
            <a:ext cx="7699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B5857AE-A69B-49E6-B0EF-C0E89D1D18B4}" type="datetime'''''''''9/2''''''''''''''''''''2/''''''20''''''''2''''''5'''">
              <a:rPr lang="en-US" altLang="en-US" smtClean="0"/>
              <a:pPr/>
              <a:t>9/22/2025</a:t>
            </a:fld>
            <a:endParaRPr lang="en-US" dirty="0"/>
          </a:p>
        </p:txBody>
      </p:sp>
      <p:sp>
        <p:nvSpPr>
          <p:cNvPr id="12" name="text">
            <a:extLst>
              <a:ext uri="{FF2B5EF4-FFF2-40B4-BE49-F238E27FC236}">
                <a16:creationId xmlns:a16="http://schemas.microsoft.com/office/drawing/2014/main" id="{E4BF18EE-B576-AE39-696A-C83B61FCF403}"/>
              </a:ext>
            </a:extLst>
          </p:cNvPr>
          <p:cNvSpPr>
            <a:spLocks noGrp="1"/>
          </p:cNvSpPr>
          <p:nvPr>
            <p:custDataLst>
              <p:tags r:id="rId163"/>
            </p:custDataLst>
          </p:nvPr>
        </p:nvSpPr>
        <p:spPr bwMode="auto">
          <a:xfrm>
            <a:off x="596900" y="4005263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/>
              <a:t>Type </a:t>
            </a:r>
            <a:r>
              <a:rPr lang="en-US" altLang="en-US" dirty="0"/>
              <a:t>2.123 S4</a:t>
            </a:r>
            <a:endParaRPr lang="en-US" dirty="0"/>
          </a:p>
        </p:txBody>
      </p:sp>
      <p:sp>
        <p:nvSpPr>
          <p:cNvPr id="94" name="text">
            <a:extLst>
              <a:ext uri="{FF2B5EF4-FFF2-40B4-BE49-F238E27FC236}">
                <a16:creationId xmlns:a16="http://schemas.microsoft.com/office/drawing/2014/main" id="{3D6830CD-9B21-33DE-BB71-3FE4507711DF}"/>
              </a:ext>
            </a:extLst>
          </p:cNvPr>
          <p:cNvSpPr>
            <a:spLocks noGrp="1"/>
          </p:cNvSpPr>
          <p:nvPr>
            <p:custDataLst>
              <p:tags r:id="rId164"/>
            </p:custDataLst>
          </p:nvPr>
        </p:nvSpPr>
        <p:spPr bwMode="auto">
          <a:xfrm>
            <a:off x="10460038" y="4005263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  <a:endParaRPr lang="en-US" dirty="0"/>
          </a:p>
        </p:txBody>
      </p:sp>
      <p:sp>
        <p:nvSpPr>
          <p:cNvPr id="78" name="text">
            <a:extLst>
              <a:ext uri="{FF2B5EF4-FFF2-40B4-BE49-F238E27FC236}">
                <a16:creationId xmlns:a16="http://schemas.microsoft.com/office/drawing/2014/main" id="{E9DFDC97-808C-A225-008D-785C9EDD3601}"/>
              </a:ext>
            </a:extLst>
          </p:cNvPr>
          <p:cNvSpPr>
            <a:spLocks noGrp="1"/>
          </p:cNvSpPr>
          <p:nvPr>
            <p:custDataLst>
              <p:tags r:id="rId165"/>
            </p:custDataLst>
          </p:nvPr>
        </p:nvSpPr>
        <p:spPr bwMode="auto">
          <a:xfrm>
            <a:off x="10460038" y="2894013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Curve</a:t>
            </a:r>
            <a:endParaRPr lang="en-US" dirty="0"/>
          </a:p>
        </p:txBody>
      </p:sp>
      <p:sp>
        <p:nvSpPr>
          <p:cNvPr id="11" name="text">
            <a:extLst>
              <a:ext uri="{FF2B5EF4-FFF2-40B4-BE49-F238E27FC236}">
                <a16:creationId xmlns:a16="http://schemas.microsoft.com/office/drawing/2014/main" id="{8871D75F-15E5-F498-C5BD-3A8751873F32}"/>
              </a:ext>
            </a:extLst>
          </p:cNvPr>
          <p:cNvSpPr>
            <a:spLocks noGrp="1"/>
          </p:cNvSpPr>
          <p:nvPr>
            <p:custDataLst>
              <p:tags r:id="rId166"/>
            </p:custDataLst>
          </p:nvPr>
        </p:nvSpPr>
        <p:spPr bwMode="auto">
          <a:xfrm>
            <a:off x="596900" y="3165475"/>
            <a:ext cx="1171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effectLst/>
              </a:rPr>
              <a:t>Type 2.8C B1-B6</a:t>
            </a:r>
            <a:endParaRPr lang="en-US" dirty="0"/>
          </a:p>
        </p:txBody>
      </p:sp>
      <p:sp>
        <p:nvSpPr>
          <p:cNvPr id="100" name="text">
            <a:extLst>
              <a:ext uri="{FF2B5EF4-FFF2-40B4-BE49-F238E27FC236}">
                <a16:creationId xmlns:a16="http://schemas.microsoft.com/office/drawing/2014/main" id="{DED3C6D3-59D8-4356-DC8C-95F417330667}"/>
              </a:ext>
            </a:extLst>
          </p:cNvPr>
          <p:cNvSpPr>
            <a:spLocks noGrp="1"/>
          </p:cNvSpPr>
          <p:nvPr>
            <p:custDataLst>
              <p:tags r:id="rId167"/>
            </p:custDataLst>
          </p:nvPr>
        </p:nvSpPr>
        <p:spPr bwMode="auto">
          <a:xfrm>
            <a:off x="10460038" y="4818063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</a:p>
        </p:txBody>
      </p:sp>
      <p:sp>
        <p:nvSpPr>
          <p:cNvPr id="13" name="text">
            <a:extLst>
              <a:ext uri="{FF2B5EF4-FFF2-40B4-BE49-F238E27FC236}">
                <a16:creationId xmlns:a16="http://schemas.microsoft.com/office/drawing/2014/main" id="{C60C5337-4DE9-3BD3-A738-B743EACBD1F8}"/>
              </a:ext>
            </a:extLst>
          </p:cNvPr>
          <p:cNvSpPr>
            <a:spLocks noGrp="1"/>
          </p:cNvSpPr>
          <p:nvPr>
            <p:custDataLst>
              <p:tags r:id="rId168"/>
            </p:custDataLst>
          </p:nvPr>
        </p:nvSpPr>
        <p:spPr bwMode="auto">
          <a:xfrm>
            <a:off x="596900" y="4276725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Type 2.123 S6</a:t>
            </a:r>
            <a:endParaRPr lang="en-US" dirty="0"/>
          </a:p>
        </p:txBody>
      </p:sp>
      <p:sp>
        <p:nvSpPr>
          <p:cNvPr id="450" name="text">
            <a:extLst>
              <a:ext uri="{FF2B5EF4-FFF2-40B4-BE49-F238E27FC236}">
                <a16:creationId xmlns:a16="http://schemas.microsoft.com/office/drawing/2014/main" id="{48D7455C-5B01-2498-3033-C0FFDFBB593D}"/>
              </a:ext>
            </a:extLst>
          </p:cNvPr>
          <p:cNvSpPr>
            <a:spLocks noGrp="1"/>
          </p:cNvSpPr>
          <p:nvPr>
            <p:custDataLst>
              <p:tags r:id="rId169"/>
            </p:custDataLst>
          </p:nvPr>
        </p:nvSpPr>
        <p:spPr bwMode="auto">
          <a:xfrm>
            <a:off x="1660525" y="2139950"/>
            <a:ext cx="350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EBF3DDBE-A98C-4EAD-9052-5493DB14FD65}" type="datetime'''''''''M''''''''''''''''''o''n''''t''''''''''''''''h'''''''''">
              <a:rPr lang="en-US" altLang="en-US" sz="1000" smtClean="0"/>
              <a:pPr/>
              <a:t>Month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346550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43B426-C8F3-69F4-99E9-E8568084D8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" name="think-cell data - do not delete" hidden="1">
            <a:extLst>
              <a:ext uri="{FF2B5EF4-FFF2-40B4-BE49-F238E27FC236}">
                <a16:creationId xmlns:a16="http://schemas.microsoft.com/office/drawing/2014/main" id="{4756923A-8D41-1531-86AA-9DAC27CE7A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2473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2" imgW="473" imgH="473" progId="TCLayout.ActiveDocument.1">
                  <p:embed/>
                </p:oleObj>
              </mc:Choice>
              <mc:Fallback>
                <p:oleObj name="think-cell Folie" r:id="rId182" imgW="473" imgH="473" progId="TCLayout.ActiveDocument.1">
                  <p:embed/>
                  <p:pic>
                    <p:nvPicPr>
                      <p:cNvPr id="6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56923A-8D41-1531-86AA-9DAC27CE7A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F1D756D-2518-8AD3-EC1A-1F7024511A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IS100 Workshop – Installation Plan Dipole and quadrupole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6B856D2-F572-C7E0-4DA7-23DD57FEC6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/>
              <a:t>Installation Plan </a:t>
            </a:r>
            <a:r>
              <a:rPr lang="fr-FR" dirty="0" err="1"/>
              <a:t>Quadru-Poles</a:t>
            </a:r>
            <a:r>
              <a:rPr lang="fr-FR" dirty="0"/>
              <a:t> </a:t>
            </a:r>
            <a:r>
              <a:rPr lang="pt-BR" dirty="0"/>
              <a:t>(</a:t>
            </a:r>
            <a:r>
              <a:rPr lang="en-US" dirty="0"/>
              <a:t>Free buffer time: delivery milestones and installation dates</a:t>
            </a:r>
            <a:r>
              <a:rPr lang="pt-BR" dirty="0"/>
              <a:t>)</a:t>
            </a:r>
          </a:p>
          <a:p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70DD5F-E586-F471-C5CC-C322816DDE6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11400B2-013F-3B49-A6D7-54C9D314A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D390C73-D0D2-4AE4-D784-C281864871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9449A-3FF3-45CE-9F4F-09BADC0910C6}" type="slidenum">
              <a:rPr lang="de-DE" noProof="0"/>
              <a:t>12</a:t>
            </a:fld>
            <a:endParaRPr lang="de-DE" noProof="0" dirty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1CC58568-3FBC-2704-BA29-0397109C5079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0299700" y="2309812"/>
            <a:ext cx="84138" cy="3333750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ADBE983A-3C4B-3DD3-E9D4-E297D5BA1A2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3311525" y="2309812"/>
            <a:ext cx="134938" cy="3333750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EBCF15C3-8908-3C2C-9C7A-6CBB5E80D423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5640388" y="2309812"/>
            <a:ext cx="134938" cy="3333750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9CECDDA3-39F0-D7F3-C4EB-40812F9818CD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969250" y="2309812"/>
            <a:ext cx="134938" cy="3333750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19" name="text">
            <a:extLst>
              <a:ext uri="{FF2B5EF4-FFF2-40B4-BE49-F238E27FC236}">
                <a16:creationId xmlns:a16="http://schemas.microsoft.com/office/drawing/2014/main" id="{05441D42-2D5D-B5B5-1788-F341D256039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198688" y="1601788"/>
            <a:ext cx="117792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02F4FE3-1A2A-4D1E-B90B-6D4D4AE5980A}" type="datetime'''''''2''''025'''''''''''''''''''''''''''''">
              <a:rPr lang="en-US" altLang="en-US" b="1" smtClean="0"/>
              <a:pPr/>
              <a:t>2025</a:t>
            </a:fld>
            <a:endParaRPr lang="en-US" b="1" dirty="0"/>
          </a:p>
        </p:txBody>
      </p:sp>
      <p:sp>
        <p:nvSpPr>
          <p:cNvPr id="505" name="text">
            <a:extLst>
              <a:ext uri="{FF2B5EF4-FFF2-40B4-BE49-F238E27FC236}">
                <a16:creationId xmlns:a16="http://schemas.microsoft.com/office/drawing/2014/main" id="{31A4ABD9-1C0C-3B04-315B-3BFCEDBE985E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376613" y="1601788"/>
            <a:ext cx="23352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14216BF-C595-40C5-BE77-C33A25291AE9}" type="datetime'''20''''''''''2''''''''''''''''''''''6'">
              <a:rPr lang="en-US" altLang="en-US" b="1" smtClean="0"/>
              <a:pPr/>
              <a:t>2026</a:t>
            </a:fld>
            <a:endParaRPr lang="en-US" b="1" dirty="0"/>
          </a:p>
        </p:txBody>
      </p:sp>
      <p:sp>
        <p:nvSpPr>
          <p:cNvPr id="544" name="text">
            <a:extLst>
              <a:ext uri="{FF2B5EF4-FFF2-40B4-BE49-F238E27FC236}">
                <a16:creationId xmlns:a16="http://schemas.microsoft.com/office/drawing/2014/main" id="{EC75615D-82D0-EF5E-DE52-FA29E74642D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711825" y="1601788"/>
            <a:ext cx="23352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F38DC23-C9E9-43FB-A5D4-8322146BEBBB}" type="datetime'''20''''''2''''''''''''''''''''''''''''''''7'''''''''''">
              <a:rPr lang="en-US" altLang="en-US" b="1" smtClean="0"/>
              <a:pPr/>
              <a:t>2027</a:t>
            </a:fld>
            <a:endParaRPr lang="en-US" b="1" dirty="0"/>
          </a:p>
        </p:txBody>
      </p:sp>
      <p:sp>
        <p:nvSpPr>
          <p:cNvPr id="593" name="text">
            <a:extLst>
              <a:ext uri="{FF2B5EF4-FFF2-40B4-BE49-F238E27FC236}">
                <a16:creationId xmlns:a16="http://schemas.microsoft.com/office/drawing/2014/main" id="{FE09101F-752B-16EE-4D58-427FB9065CD1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047038" y="1601788"/>
            <a:ext cx="23415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209150C-C0DE-4561-B062-B29A358BD156}" type="datetime'''''''2''''''0''''''''''2''''''''''''''''''8'''''''''''">
              <a:rPr lang="en-US" altLang="en-US" b="1" smtClean="0"/>
              <a:pPr/>
              <a:t>2028</a:t>
            </a:fld>
            <a:endParaRPr lang="en-US" b="1" dirty="0"/>
          </a:p>
        </p:txBody>
      </p:sp>
      <p:sp>
        <p:nvSpPr>
          <p:cNvPr id="406" name="text">
            <a:extLst>
              <a:ext uri="{FF2B5EF4-FFF2-40B4-BE49-F238E27FC236}">
                <a16:creationId xmlns:a16="http://schemas.microsoft.com/office/drawing/2014/main" id="{1E8A1D16-9186-2B0C-07DD-8947F66EECD6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198688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AD80CA9-3A45-47D4-A0F6-4F9DF0A26299}" type="datetime'''Q3'''''''''''''">
              <a:rPr lang="en-US" altLang="en-US" b="1" smtClean="0"/>
              <a:pPr/>
              <a:t>Q3</a:t>
            </a:fld>
            <a:endParaRPr lang="en-US" b="1" dirty="0"/>
          </a:p>
        </p:txBody>
      </p:sp>
      <p:sp>
        <p:nvSpPr>
          <p:cNvPr id="407" name="text">
            <a:extLst>
              <a:ext uri="{FF2B5EF4-FFF2-40B4-BE49-F238E27FC236}">
                <a16:creationId xmlns:a16="http://schemas.microsoft.com/office/drawing/2014/main" id="{B9172E65-80C6-8271-8A4D-946AAE1B346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787650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D73C281-6788-4916-9632-5A2D9D5F72A2}" type="datetime'Q4'''''''''''">
              <a:rPr lang="en-US" altLang="en-US" b="1" smtClean="0"/>
              <a:pPr/>
              <a:t>Q4</a:t>
            </a:fld>
            <a:endParaRPr lang="en-US" b="1" dirty="0"/>
          </a:p>
        </p:txBody>
      </p:sp>
      <p:sp>
        <p:nvSpPr>
          <p:cNvPr id="497" name="text">
            <a:extLst>
              <a:ext uri="{FF2B5EF4-FFF2-40B4-BE49-F238E27FC236}">
                <a16:creationId xmlns:a16="http://schemas.microsoft.com/office/drawing/2014/main" id="{F22F946C-93AA-607C-B36E-050647146F9D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376614" y="1862138"/>
            <a:ext cx="57467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75BFCDF-E2A1-431E-8EE0-5000BA81F963}" type="datetime'''''''''''''''''''''''''Q1'''''">
              <a:rPr lang="en-US" altLang="en-US" b="1" smtClean="0"/>
              <a:pPr/>
              <a:t>Q1</a:t>
            </a:fld>
            <a:endParaRPr lang="en-US" b="1" dirty="0"/>
          </a:p>
        </p:txBody>
      </p:sp>
      <p:sp>
        <p:nvSpPr>
          <p:cNvPr id="498" name="text">
            <a:extLst>
              <a:ext uri="{FF2B5EF4-FFF2-40B4-BE49-F238E27FC236}">
                <a16:creationId xmlns:a16="http://schemas.microsoft.com/office/drawing/2014/main" id="{67C1DF74-7D36-C096-B07C-E96C1939516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951289" y="1862138"/>
            <a:ext cx="5826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0ADFC55-3886-4F74-8205-E6781F7E51EF}" type="datetime'''''''''''''''''''''''''''''''''''Q''''''''''''''2'''''''">
              <a:rPr lang="en-US" altLang="en-US" b="1" smtClean="0"/>
              <a:pPr/>
              <a:t>Q2</a:t>
            </a:fld>
            <a:endParaRPr lang="en-US" b="1" dirty="0"/>
          </a:p>
        </p:txBody>
      </p:sp>
      <p:sp>
        <p:nvSpPr>
          <p:cNvPr id="499" name="text">
            <a:extLst>
              <a:ext uri="{FF2B5EF4-FFF2-40B4-BE49-F238E27FC236}">
                <a16:creationId xmlns:a16="http://schemas.microsoft.com/office/drawing/2014/main" id="{CC4BC6E0-E2F1-B8F6-84A5-576A3843CD6B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533900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A9D8F26-01FA-43D4-BB68-A2C11942FD84}" type="datetime'''Q''''''''''''''''''''''''''''''''''''''''''''''''''''3'''''">
              <a:rPr lang="en-US" altLang="en-US" b="1" smtClean="0"/>
              <a:pPr/>
              <a:t>Q3</a:t>
            </a:fld>
            <a:endParaRPr lang="en-US" b="1" dirty="0"/>
          </a:p>
        </p:txBody>
      </p:sp>
      <p:sp>
        <p:nvSpPr>
          <p:cNvPr id="500" name="text">
            <a:extLst>
              <a:ext uri="{FF2B5EF4-FFF2-40B4-BE49-F238E27FC236}">
                <a16:creationId xmlns:a16="http://schemas.microsoft.com/office/drawing/2014/main" id="{F5B019A7-6FF9-E6AA-97AB-0E771261A2A1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122863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1FC14B9-B0F7-49A3-B82F-6545FBC37EDC}" type="datetime'''''''''''Q''''''''''''''''''''''4'''''''">
              <a:rPr lang="en-US" altLang="en-US" b="1" smtClean="0"/>
              <a:pPr/>
              <a:t>Q4</a:t>
            </a:fld>
            <a:endParaRPr lang="en-US" b="1" dirty="0"/>
          </a:p>
        </p:txBody>
      </p:sp>
      <p:sp>
        <p:nvSpPr>
          <p:cNvPr id="540" name="text">
            <a:extLst>
              <a:ext uri="{FF2B5EF4-FFF2-40B4-BE49-F238E27FC236}">
                <a16:creationId xmlns:a16="http://schemas.microsoft.com/office/drawing/2014/main" id="{927BBA91-4669-91AB-0A71-DE48C8BDC25B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711826" y="1862138"/>
            <a:ext cx="57467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F913DF8-AF63-4911-9044-347BED8B935B}" type="datetime'''Q''''''''''''''''''''''''''''1'''''''''''">
              <a:rPr lang="en-US" altLang="en-US" b="1" smtClean="0"/>
              <a:pPr/>
              <a:t>Q1</a:t>
            </a:fld>
            <a:endParaRPr lang="en-US" b="1" dirty="0"/>
          </a:p>
        </p:txBody>
      </p:sp>
      <p:sp>
        <p:nvSpPr>
          <p:cNvPr id="541" name="text">
            <a:extLst>
              <a:ext uri="{FF2B5EF4-FFF2-40B4-BE49-F238E27FC236}">
                <a16:creationId xmlns:a16="http://schemas.microsoft.com/office/drawing/2014/main" id="{CA1BE6A4-2AC1-2A97-4EA2-B4BE9A2A6710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286501" y="1862138"/>
            <a:ext cx="5826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23BB49B-F987-4D5E-B1FB-A45DC4DC2BAE}" type="datetime'''''''''''''''Q''''''''''''''''''''''2'''''''''''''''''''''">
              <a:rPr lang="en-US" altLang="en-US" b="1" smtClean="0"/>
              <a:pPr/>
              <a:t>Q2</a:t>
            </a:fld>
            <a:endParaRPr lang="en-US" b="1" dirty="0"/>
          </a:p>
        </p:txBody>
      </p:sp>
      <p:sp>
        <p:nvSpPr>
          <p:cNvPr id="542" name="text">
            <a:extLst>
              <a:ext uri="{FF2B5EF4-FFF2-40B4-BE49-F238E27FC236}">
                <a16:creationId xmlns:a16="http://schemas.microsoft.com/office/drawing/2014/main" id="{548151B7-6D6D-4768-7C1D-ED560048B52B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869113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4AF189E-61C0-4071-BABB-68D2781C0521}" type="datetime'''''''''''''Q3'">
              <a:rPr lang="en-US" altLang="en-US" b="1" smtClean="0"/>
              <a:pPr/>
              <a:t>Q3</a:t>
            </a:fld>
            <a:endParaRPr lang="en-US" b="1" dirty="0"/>
          </a:p>
        </p:txBody>
      </p:sp>
      <p:sp>
        <p:nvSpPr>
          <p:cNvPr id="543" name="text">
            <a:extLst>
              <a:ext uri="{FF2B5EF4-FFF2-40B4-BE49-F238E27FC236}">
                <a16:creationId xmlns:a16="http://schemas.microsoft.com/office/drawing/2014/main" id="{2872530C-0B8F-A340-D4F1-CA25B813461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458075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C44E379-C25F-4312-88C0-9E59046226C3}" type="datetime'''Q''''''''''''''''''''''4'''''''''''''''''''''">
              <a:rPr lang="en-US" altLang="en-US" b="1" smtClean="0"/>
              <a:pPr/>
              <a:t>Q4</a:t>
            </a:fld>
            <a:endParaRPr lang="en-US" b="1" dirty="0"/>
          </a:p>
        </p:txBody>
      </p:sp>
      <p:sp>
        <p:nvSpPr>
          <p:cNvPr id="589" name="text">
            <a:extLst>
              <a:ext uri="{FF2B5EF4-FFF2-40B4-BE49-F238E27FC236}">
                <a16:creationId xmlns:a16="http://schemas.microsoft.com/office/drawing/2014/main" id="{783A0674-B433-5B1E-323E-44BD880068FF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8047039" y="1862138"/>
            <a:ext cx="5826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EA13AA6-F14D-4345-812D-CE7997E98106}" type="datetime'''''''''''''''''''''''''''Q''''''''''''''''1'''''">
              <a:rPr lang="en-US" altLang="en-US" b="1" smtClean="0"/>
              <a:pPr/>
              <a:t>Q1</a:t>
            </a:fld>
            <a:endParaRPr lang="en-US" b="1" dirty="0"/>
          </a:p>
        </p:txBody>
      </p:sp>
      <p:sp>
        <p:nvSpPr>
          <p:cNvPr id="590" name="text">
            <a:extLst>
              <a:ext uri="{FF2B5EF4-FFF2-40B4-BE49-F238E27FC236}">
                <a16:creationId xmlns:a16="http://schemas.microsoft.com/office/drawing/2014/main" id="{CDB09E32-A239-6356-6977-9BDB12587B97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8629650" y="1862138"/>
            <a:ext cx="58102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C34017C-3044-42FD-BBEF-73F3DB32D6E7}" type="datetime'''''''''''Q''''''''''''''''''''''''''''''2'''">
              <a:rPr lang="en-US" altLang="en-US" b="1" smtClean="0"/>
              <a:pPr/>
              <a:t>Q2</a:t>
            </a:fld>
            <a:endParaRPr lang="en-US" b="1" dirty="0"/>
          </a:p>
        </p:txBody>
      </p:sp>
      <p:sp>
        <p:nvSpPr>
          <p:cNvPr id="591" name="text">
            <a:extLst>
              <a:ext uri="{FF2B5EF4-FFF2-40B4-BE49-F238E27FC236}">
                <a16:creationId xmlns:a16="http://schemas.microsoft.com/office/drawing/2014/main" id="{2CB3D4C6-5625-762C-B99A-41A01339E7E2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9210676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426FF7B-0F60-4923-8BFC-AEE974644245}" type="datetime'''''''''''''''''''''''''''''''''''''''''''Q''''''3'''">
              <a:rPr lang="en-US" altLang="en-US" b="1" smtClean="0"/>
              <a:pPr/>
              <a:t>Q3</a:t>
            </a:fld>
            <a:endParaRPr lang="en-US" b="1" dirty="0"/>
          </a:p>
        </p:txBody>
      </p:sp>
      <p:sp>
        <p:nvSpPr>
          <p:cNvPr id="592" name="text">
            <a:extLst>
              <a:ext uri="{FF2B5EF4-FFF2-40B4-BE49-F238E27FC236}">
                <a16:creationId xmlns:a16="http://schemas.microsoft.com/office/drawing/2014/main" id="{760D094A-668D-12C5-F83B-55D05AA06DB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9799638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FAB18D2-2786-4855-A580-645F2425FCE6}" type="datetime'''''''Q''''''''''''''''''''''''4'''''''''''''''''">
              <a:rPr lang="en-US" altLang="en-US" b="1" smtClean="0"/>
              <a:pPr/>
              <a:t>Q4</a:t>
            </a:fld>
            <a:endParaRPr lang="en-US" b="1" dirty="0"/>
          </a:p>
        </p:txBody>
      </p:sp>
      <p:sp>
        <p:nvSpPr>
          <p:cNvPr id="52" name="text">
            <a:extLst>
              <a:ext uri="{FF2B5EF4-FFF2-40B4-BE49-F238E27FC236}">
                <a16:creationId xmlns:a16="http://schemas.microsoft.com/office/drawing/2014/main" id="{8AF715E1-7663-D108-23B6-0858D6BBD786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2198688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6227835-67C0-4A02-912A-6D08E049CB27}" type="datetime'''''''''''''''''''''''''''''''''''''''''''''''''7'''''''''''''">
              <a:rPr lang="en-US" altLang="en-US" sz="1000" smtClean="0"/>
              <a:pPr/>
              <a:t>7</a:t>
            </a:fld>
            <a:endParaRPr lang="en-US" sz="1000" dirty="0"/>
          </a:p>
        </p:txBody>
      </p:sp>
      <p:sp>
        <p:nvSpPr>
          <p:cNvPr id="54" name="text">
            <a:extLst>
              <a:ext uri="{FF2B5EF4-FFF2-40B4-BE49-F238E27FC236}">
                <a16:creationId xmlns:a16="http://schemas.microsoft.com/office/drawing/2014/main" id="{7E8B6983-8253-7DD5-D9CC-294D5AD7C809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397125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1088191-E52A-442D-B344-7DF4E5447A3F}" type="datetime'''''''''''8'">
              <a:rPr lang="en-US" altLang="en-US" sz="1000" smtClean="0"/>
              <a:pPr/>
              <a:t>8</a:t>
            </a:fld>
            <a:endParaRPr lang="en-US" sz="1000" dirty="0"/>
          </a:p>
        </p:txBody>
      </p:sp>
      <p:sp>
        <p:nvSpPr>
          <p:cNvPr id="38" name="text">
            <a:extLst>
              <a:ext uri="{FF2B5EF4-FFF2-40B4-BE49-F238E27FC236}">
                <a16:creationId xmlns:a16="http://schemas.microsoft.com/office/drawing/2014/main" id="{4E802E8C-93D2-88B1-377C-7407D07960F1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595563" y="2122489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941CB51-7924-4FED-B609-7CAA243ED190}" type="datetime'''''''''''''''''''''''''''''''''''''''''''''''''9'''''">
              <a:rPr lang="en-US" altLang="en-US" sz="1000" smtClean="0"/>
              <a:pPr/>
              <a:t>9</a:t>
            </a:fld>
            <a:endParaRPr lang="en-US" sz="1000" dirty="0"/>
          </a:p>
        </p:txBody>
      </p:sp>
      <p:sp>
        <p:nvSpPr>
          <p:cNvPr id="39" name="text">
            <a:extLst>
              <a:ext uri="{FF2B5EF4-FFF2-40B4-BE49-F238E27FC236}">
                <a16:creationId xmlns:a16="http://schemas.microsoft.com/office/drawing/2014/main" id="{59B2352C-E3BD-B40A-3DEE-38868E5AD90D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787650" y="2122489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80038D6-A1D4-4852-A2D8-3C728E888BA2}" type="datetime'''''''''''''''''''''''''''''''''''''''''''''''''10'''''">
              <a:rPr lang="en-US" altLang="en-US" sz="1000" smtClean="0"/>
              <a:pPr/>
              <a:t>10</a:t>
            </a:fld>
            <a:endParaRPr lang="en-US" sz="1000" dirty="0"/>
          </a:p>
        </p:txBody>
      </p:sp>
      <p:sp>
        <p:nvSpPr>
          <p:cNvPr id="40" name="text">
            <a:extLst>
              <a:ext uri="{FF2B5EF4-FFF2-40B4-BE49-F238E27FC236}">
                <a16:creationId xmlns:a16="http://schemas.microsoft.com/office/drawing/2014/main" id="{BD0CEAC6-E98C-FEBF-B890-179431AA18C6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2986088" y="2122489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45B2CB4-4108-4D87-AF1D-C80954AAC9D4}" type="datetime'''''''''''''''''''1''''''''''''''''''1'''''''''''''''''''">
              <a:rPr lang="en-US" altLang="en-US" sz="1000" smtClean="0"/>
              <a:pPr/>
              <a:t>11</a:t>
            </a:fld>
            <a:endParaRPr lang="en-US" sz="1000" dirty="0"/>
          </a:p>
        </p:txBody>
      </p:sp>
      <p:sp>
        <p:nvSpPr>
          <p:cNvPr id="469" name="text">
            <a:extLst>
              <a:ext uri="{FF2B5EF4-FFF2-40B4-BE49-F238E27FC236}">
                <a16:creationId xmlns:a16="http://schemas.microsoft.com/office/drawing/2014/main" id="{9BD0BBBB-51A4-623A-FCB2-A8AECC604B70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3178175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261B0F0-1350-45E5-817C-E87B899581AF}" type="datetime'''''''''''''''''''''1''''''''''2'''''''''''''">
              <a:rPr lang="en-US" altLang="en-US" sz="1000" smtClean="0"/>
              <a:pPr/>
              <a:t>12</a:t>
            </a:fld>
            <a:endParaRPr lang="en-US" sz="1000" dirty="0"/>
          </a:p>
        </p:txBody>
      </p:sp>
      <p:sp>
        <p:nvSpPr>
          <p:cNvPr id="472" name="text">
            <a:extLst>
              <a:ext uri="{FF2B5EF4-FFF2-40B4-BE49-F238E27FC236}">
                <a16:creationId xmlns:a16="http://schemas.microsoft.com/office/drawing/2014/main" id="{91550B28-B312-74B8-5D42-C434DDAA008C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3376613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F702AA0-B630-49E4-A60E-31CA08924D99}" type="datetime'''''''''''''1'''''''''''''''''''''''''''''''''''''''''''''''">
              <a:rPr lang="en-US" altLang="en-US" sz="1000" smtClean="0"/>
              <a:pPr/>
              <a:t>1</a:t>
            </a:fld>
            <a:endParaRPr lang="en-US" sz="1000" dirty="0"/>
          </a:p>
        </p:txBody>
      </p:sp>
      <p:sp>
        <p:nvSpPr>
          <p:cNvPr id="474" name="text">
            <a:extLst>
              <a:ext uri="{FF2B5EF4-FFF2-40B4-BE49-F238E27FC236}">
                <a16:creationId xmlns:a16="http://schemas.microsoft.com/office/drawing/2014/main" id="{1C12FCA3-877B-20E8-36A9-15B2776A856A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3575050" y="2122488"/>
            <a:ext cx="17780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F63A27C-B2B0-4E3B-9F57-04710E53A2D8}" type="datetime'2'''''''''''''''''''''''''''''''''''''''''''''''''''''''">
              <a:rPr lang="en-US" altLang="en-US" sz="1000" smtClean="0"/>
              <a:pPr/>
              <a:t>2</a:t>
            </a:fld>
            <a:endParaRPr lang="en-US" sz="1000" dirty="0"/>
          </a:p>
        </p:txBody>
      </p:sp>
      <p:sp>
        <p:nvSpPr>
          <p:cNvPr id="475" name="text">
            <a:extLst>
              <a:ext uri="{FF2B5EF4-FFF2-40B4-BE49-F238E27FC236}">
                <a16:creationId xmlns:a16="http://schemas.microsoft.com/office/drawing/2014/main" id="{C1098392-4C87-1F12-C746-E23772511D0A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3752850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16E0D43-444E-4C37-8D9E-A6EA60A4AA86}" type="datetime'''''''''''''''''''''3'''''''''''''''''''''''''''''''">
              <a:rPr lang="en-US" altLang="en-US" sz="1000" smtClean="0"/>
              <a:pPr/>
              <a:t>3</a:t>
            </a:fld>
            <a:endParaRPr lang="en-US" sz="1000" dirty="0"/>
          </a:p>
        </p:txBody>
      </p:sp>
      <p:sp>
        <p:nvSpPr>
          <p:cNvPr id="476" name="text">
            <a:extLst>
              <a:ext uri="{FF2B5EF4-FFF2-40B4-BE49-F238E27FC236}">
                <a16:creationId xmlns:a16="http://schemas.microsoft.com/office/drawing/2014/main" id="{D884B563-5DF0-1BEE-A3BD-A5703B41C49E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3951288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51CC9CE-6B89-4724-8F7E-B907E19ADF70}" type="datetime'''''''''''''4'''''''''''''''''''''''''''''''''''''''''''''''''">
              <a:rPr lang="en-US" altLang="en-US" sz="1000" smtClean="0"/>
              <a:pPr/>
              <a:t>4</a:t>
            </a:fld>
            <a:endParaRPr lang="en-US" sz="1000" dirty="0"/>
          </a:p>
        </p:txBody>
      </p:sp>
      <p:sp>
        <p:nvSpPr>
          <p:cNvPr id="477" name="text">
            <a:extLst>
              <a:ext uri="{FF2B5EF4-FFF2-40B4-BE49-F238E27FC236}">
                <a16:creationId xmlns:a16="http://schemas.microsoft.com/office/drawing/2014/main" id="{9B562327-36FE-B81F-F5F0-C25CDAFA5CE2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4143375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3A3575F-0B79-4925-9241-6E52B7C864C1}" type="datetime'''''''5'''''''''''''''''''''''">
              <a:rPr lang="en-US" altLang="en-US" sz="1000" smtClean="0"/>
              <a:pPr/>
              <a:t>5</a:t>
            </a:fld>
            <a:endParaRPr lang="en-US" sz="1000" dirty="0"/>
          </a:p>
        </p:txBody>
      </p:sp>
      <p:sp>
        <p:nvSpPr>
          <p:cNvPr id="478" name="text">
            <a:extLst>
              <a:ext uri="{FF2B5EF4-FFF2-40B4-BE49-F238E27FC236}">
                <a16:creationId xmlns:a16="http://schemas.microsoft.com/office/drawing/2014/main" id="{435921D8-9D41-BC5D-C367-ECAF9B6E50D5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4341813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72E5D5F-6973-402A-B6BD-D0EC83125BBF}" type="datetime'''''''''''''6'''''''">
              <a:rPr lang="en-US" altLang="en-US" sz="1000" smtClean="0"/>
              <a:pPr/>
              <a:t>6</a:t>
            </a:fld>
            <a:endParaRPr lang="en-US" sz="1000" dirty="0"/>
          </a:p>
        </p:txBody>
      </p:sp>
      <p:sp>
        <p:nvSpPr>
          <p:cNvPr id="479" name="text">
            <a:extLst>
              <a:ext uri="{FF2B5EF4-FFF2-40B4-BE49-F238E27FC236}">
                <a16:creationId xmlns:a16="http://schemas.microsoft.com/office/drawing/2014/main" id="{6BDE0D45-C1F4-29DB-FE5A-14AD0886ECFE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4533900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2609581-7493-4850-869F-2CA03D157510}" type="datetime'''''''''''''''''''''7'''''''''''''''''''''''''''''''''''''''">
              <a:rPr lang="en-US" altLang="en-US" sz="1000" smtClean="0"/>
              <a:pPr/>
              <a:t>7</a:t>
            </a:fld>
            <a:endParaRPr lang="en-US" sz="1000" dirty="0"/>
          </a:p>
        </p:txBody>
      </p:sp>
      <p:sp>
        <p:nvSpPr>
          <p:cNvPr id="480" name="text">
            <a:extLst>
              <a:ext uri="{FF2B5EF4-FFF2-40B4-BE49-F238E27FC236}">
                <a16:creationId xmlns:a16="http://schemas.microsoft.com/office/drawing/2014/main" id="{56F2E98B-32AC-8CD3-84A9-8C66103DC935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4732338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FA5D2F6-FB9F-4E2A-BBA8-3BA824B05D62}" type="datetime'''''''''''''''8'''''''''''''''">
              <a:rPr lang="en-US" altLang="en-US" sz="1000" smtClean="0"/>
              <a:pPr/>
              <a:t>8</a:t>
            </a:fld>
            <a:endParaRPr lang="en-US" sz="1000" dirty="0"/>
          </a:p>
        </p:txBody>
      </p:sp>
      <p:sp>
        <p:nvSpPr>
          <p:cNvPr id="481" name="text">
            <a:extLst>
              <a:ext uri="{FF2B5EF4-FFF2-40B4-BE49-F238E27FC236}">
                <a16:creationId xmlns:a16="http://schemas.microsoft.com/office/drawing/2014/main" id="{F0CE7A88-7D91-4126-A24A-43C185232CD7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4930775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1435BFF-DFC9-4147-88F1-BCCACEB53CEE}" type="datetime'''''''''''''''''''''''''''''''''''''''''''''9'''''''''">
              <a:rPr lang="en-US" altLang="en-US" sz="1000" smtClean="0"/>
              <a:pPr/>
              <a:t>9</a:t>
            </a:fld>
            <a:endParaRPr lang="en-US" sz="1000" dirty="0"/>
          </a:p>
        </p:txBody>
      </p:sp>
      <p:sp>
        <p:nvSpPr>
          <p:cNvPr id="482" name="text">
            <a:extLst>
              <a:ext uri="{FF2B5EF4-FFF2-40B4-BE49-F238E27FC236}">
                <a16:creationId xmlns:a16="http://schemas.microsoft.com/office/drawing/2014/main" id="{47B96F9F-55C0-6AC1-2B87-BB7E5BF0A543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5122863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BEBA082-6A9D-4C56-B801-2ECB9299D062}" type="datetime'''''''''''''''1''''''''''''''''''''''''0'''''''">
              <a:rPr lang="en-US" altLang="en-US" sz="1000" smtClean="0"/>
              <a:pPr/>
              <a:t>10</a:t>
            </a:fld>
            <a:endParaRPr lang="en-US" sz="1000" dirty="0"/>
          </a:p>
        </p:txBody>
      </p:sp>
      <p:sp>
        <p:nvSpPr>
          <p:cNvPr id="483" name="text">
            <a:extLst>
              <a:ext uri="{FF2B5EF4-FFF2-40B4-BE49-F238E27FC236}">
                <a16:creationId xmlns:a16="http://schemas.microsoft.com/office/drawing/2014/main" id="{A343D116-D464-9FEA-19C4-139FC1408BFF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5321300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40A09C1-742D-41F2-9AF0-588921E37397}" type="datetime'''''''''''''1''''''''''''''''''''1'''''''''''">
              <a:rPr lang="en-US" altLang="en-US" sz="1000" smtClean="0"/>
              <a:pPr/>
              <a:t>11</a:t>
            </a:fld>
            <a:endParaRPr lang="en-US" sz="1000" dirty="0"/>
          </a:p>
        </p:txBody>
      </p:sp>
      <p:sp>
        <p:nvSpPr>
          <p:cNvPr id="484" name="text">
            <a:extLst>
              <a:ext uri="{FF2B5EF4-FFF2-40B4-BE49-F238E27FC236}">
                <a16:creationId xmlns:a16="http://schemas.microsoft.com/office/drawing/2014/main" id="{3FD92B2A-495E-FF64-2C50-0675DDEBE03D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5513388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2F33090-FCF2-430E-B3CE-E17F5CE43FD3}" type="datetime'''''''''''''''''''''''''''''1''2'''''''''''''''''''''''">
              <a:rPr lang="en-US" altLang="en-US" sz="1000" smtClean="0"/>
              <a:pPr/>
              <a:t>12</a:t>
            </a:fld>
            <a:endParaRPr lang="en-US" sz="1000" dirty="0"/>
          </a:p>
        </p:txBody>
      </p:sp>
      <p:sp>
        <p:nvSpPr>
          <p:cNvPr id="527" name="text">
            <a:extLst>
              <a:ext uri="{FF2B5EF4-FFF2-40B4-BE49-F238E27FC236}">
                <a16:creationId xmlns:a16="http://schemas.microsoft.com/office/drawing/2014/main" id="{F22E49A6-101B-70B4-9CEB-1447C4D9F745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5711825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39243F7-6AE0-4F61-8CA2-4AAB42070832}" type="datetime'''''''''''''''''''''''''''''''''''''''''''''''1'">
              <a:rPr lang="en-US" altLang="en-US" sz="1000" smtClean="0"/>
              <a:pPr/>
              <a:t>1</a:t>
            </a:fld>
            <a:endParaRPr lang="en-US" sz="1000" dirty="0"/>
          </a:p>
        </p:txBody>
      </p:sp>
      <p:sp>
        <p:nvSpPr>
          <p:cNvPr id="529" name="text">
            <a:extLst>
              <a:ext uri="{FF2B5EF4-FFF2-40B4-BE49-F238E27FC236}">
                <a16:creationId xmlns:a16="http://schemas.microsoft.com/office/drawing/2014/main" id="{6CFA5C91-073A-D7DC-5B12-9D60D7D08B63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5910263" y="2122488"/>
            <a:ext cx="1793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3028098-8853-47CC-800B-442C74DAD03A}" type="datetime'''''''''''''''2'''''''''''''''''''''''''''''''''''''''">
              <a:rPr lang="en-US" altLang="en-US" sz="1000" smtClean="0"/>
              <a:pPr/>
              <a:t>2</a:t>
            </a:fld>
            <a:endParaRPr lang="en-US" sz="1000" dirty="0"/>
          </a:p>
        </p:txBody>
      </p:sp>
      <p:sp>
        <p:nvSpPr>
          <p:cNvPr id="530" name="text">
            <a:extLst>
              <a:ext uri="{FF2B5EF4-FFF2-40B4-BE49-F238E27FC236}">
                <a16:creationId xmlns:a16="http://schemas.microsoft.com/office/drawing/2014/main" id="{F9DDBC32-E4E5-25A6-C569-38B50F5596BB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6089650" y="2122488"/>
            <a:ext cx="19685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6A288ED-8393-48D5-8225-CDE47C6C2733}" type="datetime'''''''''''''''''''''''''''''''''''''''''''''''3'">
              <a:rPr lang="en-US" altLang="en-US" sz="1000" smtClean="0"/>
              <a:pPr/>
              <a:t>3</a:t>
            </a:fld>
            <a:endParaRPr lang="en-US" sz="1000" dirty="0"/>
          </a:p>
        </p:txBody>
      </p:sp>
      <p:sp>
        <p:nvSpPr>
          <p:cNvPr id="531" name="text">
            <a:extLst>
              <a:ext uri="{FF2B5EF4-FFF2-40B4-BE49-F238E27FC236}">
                <a16:creationId xmlns:a16="http://schemas.microsoft.com/office/drawing/2014/main" id="{6F7056EB-2A38-5AB9-C897-4442DC541980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6286500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81B3CCC-6197-4464-B812-1A074C1A2F89}" type="datetime'''''''''''''''''''''''''''''4'''''''''''''''''''''''''''">
              <a:rPr lang="en-US" altLang="en-US" sz="1000" smtClean="0"/>
              <a:pPr/>
              <a:t>4</a:t>
            </a:fld>
            <a:endParaRPr lang="en-US" sz="1000" dirty="0"/>
          </a:p>
        </p:txBody>
      </p:sp>
      <p:sp>
        <p:nvSpPr>
          <p:cNvPr id="532" name="text">
            <a:extLst>
              <a:ext uri="{FF2B5EF4-FFF2-40B4-BE49-F238E27FC236}">
                <a16:creationId xmlns:a16="http://schemas.microsoft.com/office/drawing/2014/main" id="{B5BDA695-E1AB-10FD-90EE-EE7CFD8CAB74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6478588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CDDE179-E239-4421-B10F-CF3454AD001A}" type="datetime'''''''''''''''''''''''''''''5'''''''''''''''''''''">
              <a:rPr lang="en-US" altLang="en-US" sz="1000" smtClean="0"/>
              <a:pPr/>
              <a:t>5</a:t>
            </a:fld>
            <a:endParaRPr lang="en-US" sz="1000" dirty="0"/>
          </a:p>
        </p:txBody>
      </p:sp>
      <p:sp>
        <p:nvSpPr>
          <p:cNvPr id="533" name="text">
            <a:extLst>
              <a:ext uri="{FF2B5EF4-FFF2-40B4-BE49-F238E27FC236}">
                <a16:creationId xmlns:a16="http://schemas.microsoft.com/office/drawing/2014/main" id="{6D63A588-97DE-EF77-C6DA-C63011D032A7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6677025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50F0809-1C95-430B-A9B0-C252C67EBF19}" type="datetime'''6'''">
              <a:rPr lang="en-US" altLang="en-US" sz="1000" smtClean="0"/>
              <a:pPr/>
              <a:t>6</a:t>
            </a:fld>
            <a:endParaRPr lang="en-US" sz="1000" dirty="0"/>
          </a:p>
        </p:txBody>
      </p:sp>
      <p:sp>
        <p:nvSpPr>
          <p:cNvPr id="534" name="text">
            <a:extLst>
              <a:ext uri="{FF2B5EF4-FFF2-40B4-BE49-F238E27FC236}">
                <a16:creationId xmlns:a16="http://schemas.microsoft.com/office/drawing/2014/main" id="{0D3DFAE5-2EDD-17D6-A92F-C517370B2E4D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6869113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2F3E5B2-CB35-4F03-86FC-208107C55968}" type="datetime'''''''''''7'''''''''''''''''''''''''''''">
              <a:rPr lang="en-US" altLang="en-US" sz="1000" smtClean="0"/>
              <a:pPr/>
              <a:t>7</a:t>
            </a:fld>
            <a:endParaRPr lang="en-US" sz="1000" dirty="0"/>
          </a:p>
        </p:txBody>
      </p:sp>
      <p:sp>
        <p:nvSpPr>
          <p:cNvPr id="535" name="text">
            <a:extLst>
              <a:ext uri="{FF2B5EF4-FFF2-40B4-BE49-F238E27FC236}">
                <a16:creationId xmlns:a16="http://schemas.microsoft.com/office/drawing/2014/main" id="{37A1AED2-A84C-87E3-BC5C-B61AF7B112C5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7067550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6C1089A-5839-49A3-ABDF-C285907458E4}" type="datetime'''8'''''''''''''''''''">
              <a:rPr lang="en-US" altLang="en-US" sz="1000" smtClean="0"/>
              <a:pPr/>
              <a:t>8</a:t>
            </a:fld>
            <a:endParaRPr lang="en-US" sz="1000" dirty="0"/>
          </a:p>
        </p:txBody>
      </p:sp>
      <p:sp>
        <p:nvSpPr>
          <p:cNvPr id="536" name="text">
            <a:extLst>
              <a:ext uri="{FF2B5EF4-FFF2-40B4-BE49-F238E27FC236}">
                <a16:creationId xmlns:a16="http://schemas.microsoft.com/office/drawing/2014/main" id="{DBD67A1D-6C99-F4A8-D338-38E258B41078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7265988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3B7BF63-A0CC-4B9C-B226-DA542AA6FE5B}" type="datetime'''''''''''''''''''9'''''''''''''''">
              <a:rPr lang="en-US" altLang="en-US" sz="1000" smtClean="0"/>
              <a:pPr/>
              <a:t>9</a:t>
            </a:fld>
            <a:endParaRPr lang="en-US" sz="1000" dirty="0"/>
          </a:p>
        </p:txBody>
      </p:sp>
      <p:sp>
        <p:nvSpPr>
          <p:cNvPr id="537" name="text">
            <a:extLst>
              <a:ext uri="{FF2B5EF4-FFF2-40B4-BE49-F238E27FC236}">
                <a16:creationId xmlns:a16="http://schemas.microsoft.com/office/drawing/2014/main" id="{96D10AA7-FE73-B5EB-AFF0-363A7091401D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7458075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3EB577F-F016-46FF-848C-1D318DB8518A}" type="datetime'''''''''10'''''''''''''''">
              <a:rPr lang="en-US" altLang="en-US" sz="1000" smtClean="0"/>
              <a:pPr/>
              <a:t>10</a:t>
            </a:fld>
            <a:endParaRPr lang="en-US" sz="1000" dirty="0"/>
          </a:p>
        </p:txBody>
      </p:sp>
      <p:sp>
        <p:nvSpPr>
          <p:cNvPr id="538" name="text">
            <a:extLst>
              <a:ext uri="{FF2B5EF4-FFF2-40B4-BE49-F238E27FC236}">
                <a16:creationId xmlns:a16="http://schemas.microsoft.com/office/drawing/2014/main" id="{4CCB4C7E-C1B5-82C8-827F-1F069B858887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7656513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D01DA93-0D56-41BF-A4ED-7AE7FB7DCC73}" type="datetime'''''''''''''''''''''''''''''11'''''''''''''">
              <a:rPr lang="en-US" altLang="en-US" sz="1000" smtClean="0"/>
              <a:pPr/>
              <a:t>11</a:t>
            </a:fld>
            <a:endParaRPr lang="en-US" sz="1000" dirty="0"/>
          </a:p>
        </p:txBody>
      </p:sp>
      <p:sp>
        <p:nvSpPr>
          <p:cNvPr id="539" name="text">
            <a:extLst>
              <a:ext uri="{FF2B5EF4-FFF2-40B4-BE49-F238E27FC236}">
                <a16:creationId xmlns:a16="http://schemas.microsoft.com/office/drawing/2014/main" id="{201D29BD-6086-67E2-BF11-2A36BB50E6B6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7848600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AE0D544-F536-4FE0-86BE-460E4CDED38D}" type="datetime'''''''''''''''1''''''''''2'''''''''''''''''''''''''''''''''''">
              <a:rPr lang="en-US" altLang="en-US" sz="1000" smtClean="0"/>
              <a:pPr/>
              <a:t>12</a:t>
            </a:fld>
            <a:endParaRPr lang="en-US" sz="1000" dirty="0"/>
          </a:p>
        </p:txBody>
      </p:sp>
      <p:sp>
        <p:nvSpPr>
          <p:cNvPr id="576" name="text">
            <a:extLst>
              <a:ext uri="{FF2B5EF4-FFF2-40B4-BE49-F238E27FC236}">
                <a16:creationId xmlns:a16="http://schemas.microsoft.com/office/drawing/2014/main" id="{D8B99D97-693C-016E-3DAC-DE2FC032A1D6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8047038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5313415-F498-4A71-ADED-65660F1F50A3}" type="datetime'''''''1'''''''''''''''''''''''''''''''''''''''''''''''''''">
              <a:rPr lang="en-US" altLang="en-US" sz="1000" smtClean="0"/>
              <a:pPr/>
              <a:t>1</a:t>
            </a:fld>
            <a:endParaRPr lang="en-US" sz="1000" dirty="0"/>
          </a:p>
        </p:txBody>
      </p:sp>
      <p:sp>
        <p:nvSpPr>
          <p:cNvPr id="578" name="text">
            <a:extLst>
              <a:ext uri="{FF2B5EF4-FFF2-40B4-BE49-F238E27FC236}">
                <a16:creationId xmlns:a16="http://schemas.microsoft.com/office/drawing/2014/main" id="{572AAF4C-811E-E729-2E4D-F811259417D2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8245475" y="2122488"/>
            <a:ext cx="1857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CD8674E-1ED6-4FB9-A882-BAC4751428CB}" type="datetime'''''''''''''''''''''''''''''''''''2'''''">
              <a:rPr lang="en-US" altLang="en-US" sz="1000" smtClean="0"/>
              <a:pPr/>
              <a:t>2</a:t>
            </a:fld>
            <a:endParaRPr lang="en-US" sz="1000" dirty="0"/>
          </a:p>
        </p:txBody>
      </p:sp>
      <p:sp>
        <p:nvSpPr>
          <p:cNvPr id="579" name="text">
            <a:extLst>
              <a:ext uri="{FF2B5EF4-FFF2-40B4-BE49-F238E27FC236}">
                <a16:creationId xmlns:a16="http://schemas.microsoft.com/office/drawing/2014/main" id="{FD74EB91-E4C3-BCB1-849D-ECF27F273AC5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8431213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5200B7D-1976-45B8-8AC3-D675B0BAFF93}" type="datetime'3'''''''''''''">
              <a:rPr lang="en-US" altLang="en-US" sz="1000" smtClean="0"/>
              <a:pPr/>
              <a:t>3</a:t>
            </a:fld>
            <a:endParaRPr lang="en-US" sz="1000" dirty="0"/>
          </a:p>
        </p:txBody>
      </p:sp>
      <p:sp>
        <p:nvSpPr>
          <p:cNvPr id="580" name="text">
            <a:extLst>
              <a:ext uri="{FF2B5EF4-FFF2-40B4-BE49-F238E27FC236}">
                <a16:creationId xmlns:a16="http://schemas.microsoft.com/office/drawing/2014/main" id="{E12102BC-7DE6-A8DA-8822-B544D7461D40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8629650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49AB53F-F3C8-4BF8-9492-BF2230157088}" type="datetime'''4'''''''''">
              <a:rPr lang="en-US" altLang="en-US" sz="1000" smtClean="0"/>
              <a:pPr/>
              <a:t>4</a:t>
            </a:fld>
            <a:endParaRPr lang="en-US" sz="1000" dirty="0"/>
          </a:p>
        </p:txBody>
      </p:sp>
      <p:sp>
        <p:nvSpPr>
          <p:cNvPr id="581" name="text">
            <a:extLst>
              <a:ext uri="{FF2B5EF4-FFF2-40B4-BE49-F238E27FC236}">
                <a16:creationId xmlns:a16="http://schemas.microsoft.com/office/drawing/2014/main" id="{351BF046-2BD4-F869-6C2C-B59B23375E8C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8821738" y="2122488"/>
            <a:ext cx="19685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F1DF38D-D7DC-45C4-8790-B128A68ADD48}" type="datetime'''''''''''''''''5'''''''''''''''''''''''''''''''''''''''''''''">
              <a:rPr lang="en-US" altLang="en-US" sz="1000" smtClean="0"/>
              <a:pPr/>
              <a:t>5</a:t>
            </a:fld>
            <a:endParaRPr lang="en-US" sz="1000" dirty="0"/>
          </a:p>
        </p:txBody>
      </p:sp>
      <p:sp>
        <p:nvSpPr>
          <p:cNvPr id="582" name="text">
            <a:extLst>
              <a:ext uri="{FF2B5EF4-FFF2-40B4-BE49-F238E27FC236}">
                <a16:creationId xmlns:a16="http://schemas.microsoft.com/office/drawing/2014/main" id="{B1358BAC-7B45-29EA-4BD7-0CDC9737D30D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9018588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4653903-5964-4CA5-B88A-F736D0970A98}" type="datetime'''6'''''''''''''''''''''''''">
              <a:rPr lang="en-US" altLang="en-US" sz="1000" smtClean="0"/>
              <a:pPr/>
              <a:t>6</a:t>
            </a:fld>
            <a:endParaRPr lang="en-US" sz="1000" dirty="0"/>
          </a:p>
        </p:txBody>
      </p:sp>
      <p:sp>
        <p:nvSpPr>
          <p:cNvPr id="583" name="text">
            <a:extLst>
              <a:ext uri="{FF2B5EF4-FFF2-40B4-BE49-F238E27FC236}">
                <a16:creationId xmlns:a16="http://schemas.microsoft.com/office/drawing/2014/main" id="{63945379-0F38-E7E1-800C-D1933AAB0D57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9210675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D208629-1994-415C-A962-3973D4DF1CB5}" type="datetime'7'''''''''''''">
              <a:rPr lang="en-US" altLang="en-US" sz="1000" smtClean="0"/>
              <a:pPr/>
              <a:t>7</a:t>
            </a:fld>
            <a:endParaRPr lang="en-US" sz="1000" dirty="0"/>
          </a:p>
        </p:txBody>
      </p:sp>
      <p:sp>
        <p:nvSpPr>
          <p:cNvPr id="584" name="text">
            <a:extLst>
              <a:ext uri="{FF2B5EF4-FFF2-40B4-BE49-F238E27FC236}">
                <a16:creationId xmlns:a16="http://schemas.microsoft.com/office/drawing/2014/main" id="{053BD700-DAD3-A17C-1996-1BF300B11ABD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9409113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18CC8A2-C79B-41B3-8425-8457BED6E4AC}" type="datetime'''''''''''''''''''''8'''''''''''''''''''''''''''''''''''''''''">
              <a:rPr lang="en-US" altLang="en-US" sz="1000" smtClean="0"/>
              <a:pPr/>
              <a:t>8</a:t>
            </a:fld>
            <a:endParaRPr lang="en-US" sz="1000" dirty="0"/>
          </a:p>
        </p:txBody>
      </p:sp>
      <p:sp>
        <p:nvSpPr>
          <p:cNvPr id="585" name="text">
            <a:extLst>
              <a:ext uri="{FF2B5EF4-FFF2-40B4-BE49-F238E27FC236}">
                <a16:creationId xmlns:a16="http://schemas.microsoft.com/office/drawing/2014/main" id="{3D3874A0-B17E-69D7-3DB5-F3635D3E55E0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9607550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A9959FA-E362-46B8-89DD-389AFEC0B216}" type="datetime'''9'''''''''''''''''''''''''''''''''''''''''''''''''''''''''''">
              <a:rPr lang="en-US" altLang="en-US" sz="1000" smtClean="0"/>
              <a:pPr/>
              <a:t>9</a:t>
            </a:fld>
            <a:endParaRPr lang="en-US" sz="1000" dirty="0"/>
          </a:p>
        </p:txBody>
      </p:sp>
      <p:sp>
        <p:nvSpPr>
          <p:cNvPr id="586" name="text">
            <a:extLst>
              <a:ext uri="{FF2B5EF4-FFF2-40B4-BE49-F238E27FC236}">
                <a16:creationId xmlns:a16="http://schemas.microsoft.com/office/drawing/2014/main" id="{E8FE6DCC-378E-9D07-6E22-B0F41B2FB61A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9799638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BDBEAC4-880F-4D2E-AB72-CE436A02E152}" type="datetime'1''''''''''''''''''''''''''''''0'">
              <a:rPr lang="en-US" altLang="en-US" sz="1000" smtClean="0"/>
              <a:pPr/>
              <a:t>10</a:t>
            </a:fld>
            <a:endParaRPr lang="en-US" sz="1000" dirty="0"/>
          </a:p>
        </p:txBody>
      </p:sp>
      <p:sp>
        <p:nvSpPr>
          <p:cNvPr id="587" name="text">
            <a:extLst>
              <a:ext uri="{FF2B5EF4-FFF2-40B4-BE49-F238E27FC236}">
                <a16:creationId xmlns:a16="http://schemas.microsoft.com/office/drawing/2014/main" id="{C9949BD8-3242-24E1-9C13-58A7D3F67075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9998075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2EBA5AF-28B9-4446-8439-B9A7440702A9}" type="datetime'''''''''''''''''''''''''''''''''''''''''''11'''''''''''''''''">
              <a:rPr lang="en-US" altLang="en-US" sz="1000" smtClean="0"/>
              <a:pPr/>
              <a:t>11</a:t>
            </a:fld>
            <a:endParaRPr lang="en-US" sz="1000" dirty="0"/>
          </a:p>
        </p:txBody>
      </p:sp>
      <p:sp>
        <p:nvSpPr>
          <p:cNvPr id="588" name="text">
            <a:extLst>
              <a:ext uri="{FF2B5EF4-FFF2-40B4-BE49-F238E27FC236}">
                <a16:creationId xmlns:a16="http://schemas.microsoft.com/office/drawing/2014/main" id="{F11CA174-5087-96B8-C076-7AC522C249A8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10190163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1EECCD8-AE7E-4553-9A4B-DDAC62665DE4}" type="datetime'''1''''''''''''''''''2'">
              <a:rPr lang="en-US" altLang="en-US" sz="1000" smtClean="0"/>
              <a:pPr/>
              <a:t>12</a:t>
            </a:fld>
            <a:endParaRPr lang="en-US" sz="1000" dirty="0"/>
          </a:p>
        </p:txBody>
      </p:sp>
      <p:cxnSp>
        <p:nvCxnSpPr>
          <p:cNvPr id="507" name="Gerader Verbinder 506">
            <a:extLst>
              <a:ext uri="{FF2B5EF4-FFF2-40B4-BE49-F238E27FC236}">
                <a16:creationId xmlns:a16="http://schemas.microsoft.com/office/drawing/2014/main" id="{E69B1ECF-EDB1-9A0B-7C05-C2781860FAF2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>
            <a:off x="8047038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1" name="Gerader Verbinder 420">
            <a:extLst>
              <a:ext uri="{FF2B5EF4-FFF2-40B4-BE49-F238E27FC236}">
                <a16:creationId xmlns:a16="http://schemas.microsoft.com/office/drawing/2014/main" id="{90EA8F36-AC3A-5229-FEFC-D6B724E62E3F}"/>
              </a:ext>
            </a:extLst>
          </p:cNvPr>
          <p:cNvCxnSpPr/>
          <p:nvPr>
            <p:custDataLst>
              <p:tags r:id="rId67"/>
            </p:custDataLst>
          </p:nvPr>
        </p:nvCxnSpPr>
        <p:spPr bwMode="auto">
          <a:xfrm>
            <a:off x="5711825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B0FA2940-0F99-9D73-32E0-82BAC099412B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>
            <a:off x="2198688" y="2309812"/>
            <a:ext cx="0" cy="33337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B31B1164-B8C9-80D8-6FA9-1AE05CC80F37}"/>
              </a:ext>
            </a:extLst>
          </p:cNvPr>
          <p:cNvCxnSpPr/>
          <p:nvPr>
            <p:custDataLst>
              <p:tags r:id="rId69"/>
            </p:custDataLst>
          </p:nvPr>
        </p:nvCxnSpPr>
        <p:spPr bwMode="auto">
          <a:xfrm>
            <a:off x="10388600" y="2309812"/>
            <a:ext cx="0" cy="33337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Gerader Verbinder 62">
            <a:extLst>
              <a:ext uri="{FF2B5EF4-FFF2-40B4-BE49-F238E27FC236}">
                <a16:creationId xmlns:a16="http://schemas.microsoft.com/office/drawing/2014/main" id="{2E7F46A8-FB97-E20B-B6FB-0ECFFA567D62}"/>
              </a:ext>
            </a:extLst>
          </p:cNvPr>
          <p:cNvCxnSpPr/>
          <p:nvPr>
            <p:custDataLst>
              <p:tags r:id="rId70"/>
            </p:custDataLst>
          </p:nvPr>
        </p:nvCxnSpPr>
        <p:spPr bwMode="auto">
          <a:xfrm>
            <a:off x="525463" y="2309812"/>
            <a:ext cx="0" cy="33337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Gerader Verbinder 72">
            <a:extLst>
              <a:ext uri="{FF2B5EF4-FFF2-40B4-BE49-F238E27FC236}">
                <a16:creationId xmlns:a16="http://schemas.microsoft.com/office/drawing/2014/main" id="{023CC3E5-0C84-1173-6C9B-542808C3B49C}"/>
              </a:ext>
            </a:extLst>
          </p:cNvPr>
          <p:cNvCxnSpPr/>
          <p:nvPr>
            <p:custDataLst>
              <p:tags r:id="rId71"/>
            </p:custDataLst>
          </p:nvPr>
        </p:nvCxnSpPr>
        <p:spPr bwMode="auto">
          <a:xfrm>
            <a:off x="11663363" y="2309812"/>
            <a:ext cx="0" cy="33337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0" name="Gerader Verbinder 419">
            <a:extLst>
              <a:ext uri="{FF2B5EF4-FFF2-40B4-BE49-F238E27FC236}">
                <a16:creationId xmlns:a16="http://schemas.microsoft.com/office/drawing/2014/main" id="{8DBA594D-0874-4CBB-AB87-A4FF56FC0EE0}"/>
              </a:ext>
            </a:extLst>
          </p:cNvPr>
          <p:cNvCxnSpPr/>
          <p:nvPr>
            <p:custDataLst>
              <p:tags r:id="rId72"/>
            </p:custDataLst>
          </p:nvPr>
        </p:nvCxnSpPr>
        <p:spPr bwMode="auto">
          <a:xfrm>
            <a:off x="3376613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2" name="Gerader Verbinder 411">
            <a:extLst>
              <a:ext uri="{FF2B5EF4-FFF2-40B4-BE49-F238E27FC236}">
                <a16:creationId xmlns:a16="http://schemas.microsoft.com/office/drawing/2014/main" id="{CF0AE293-7238-E174-E5AC-155CB338F76F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>
            <a:off x="6286500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3" name="Gerader Verbinder 412">
            <a:extLst>
              <a:ext uri="{FF2B5EF4-FFF2-40B4-BE49-F238E27FC236}">
                <a16:creationId xmlns:a16="http://schemas.microsoft.com/office/drawing/2014/main" id="{0BD420B8-B3FD-BA05-1EBE-67A5F3265528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>
            <a:off x="6869113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9" name="Gerader Verbinder 438">
            <a:extLst>
              <a:ext uri="{FF2B5EF4-FFF2-40B4-BE49-F238E27FC236}">
                <a16:creationId xmlns:a16="http://schemas.microsoft.com/office/drawing/2014/main" id="{55DD3601-5473-5F11-0B38-50166CDC3D9A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>
            <a:off x="8629650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0" name="Gerader Verbinder 439">
            <a:extLst>
              <a:ext uri="{FF2B5EF4-FFF2-40B4-BE49-F238E27FC236}">
                <a16:creationId xmlns:a16="http://schemas.microsoft.com/office/drawing/2014/main" id="{CF5D4953-B329-1C6B-B97D-092761653E74}"/>
              </a:ext>
            </a:extLst>
          </p:cNvPr>
          <p:cNvCxnSpPr/>
          <p:nvPr>
            <p:custDataLst>
              <p:tags r:id="rId76"/>
            </p:custDataLst>
          </p:nvPr>
        </p:nvCxnSpPr>
        <p:spPr bwMode="auto">
          <a:xfrm>
            <a:off x="9210675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1" name="Gerader Verbinder 410">
            <a:extLst>
              <a:ext uri="{FF2B5EF4-FFF2-40B4-BE49-F238E27FC236}">
                <a16:creationId xmlns:a16="http://schemas.microsoft.com/office/drawing/2014/main" id="{5E89DA9F-EF57-B6BE-A9D7-1418FCD0FE95}"/>
              </a:ext>
            </a:extLst>
          </p:cNvPr>
          <p:cNvCxnSpPr/>
          <p:nvPr>
            <p:custDataLst>
              <p:tags r:id="rId77"/>
            </p:custDataLst>
          </p:nvPr>
        </p:nvCxnSpPr>
        <p:spPr bwMode="auto">
          <a:xfrm>
            <a:off x="5122863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8" name="Gerader Verbinder 437">
            <a:extLst>
              <a:ext uri="{FF2B5EF4-FFF2-40B4-BE49-F238E27FC236}">
                <a16:creationId xmlns:a16="http://schemas.microsoft.com/office/drawing/2014/main" id="{EA9B0F2F-A0FE-69C2-BA63-E0116E67660C}"/>
              </a:ext>
            </a:extLst>
          </p:cNvPr>
          <p:cNvCxnSpPr/>
          <p:nvPr>
            <p:custDataLst>
              <p:tags r:id="rId78"/>
            </p:custDataLst>
          </p:nvPr>
        </p:nvCxnSpPr>
        <p:spPr bwMode="auto">
          <a:xfrm>
            <a:off x="7458075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0" name="Gerader Verbinder 409">
            <a:extLst>
              <a:ext uri="{FF2B5EF4-FFF2-40B4-BE49-F238E27FC236}">
                <a16:creationId xmlns:a16="http://schemas.microsoft.com/office/drawing/2014/main" id="{2C349976-C85B-D20D-506F-3FBA949537FD}"/>
              </a:ext>
            </a:extLst>
          </p:cNvPr>
          <p:cNvCxnSpPr/>
          <p:nvPr>
            <p:custDataLst>
              <p:tags r:id="rId79"/>
            </p:custDataLst>
          </p:nvPr>
        </p:nvCxnSpPr>
        <p:spPr bwMode="auto">
          <a:xfrm>
            <a:off x="4533900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9" name="Gerader Verbinder 508">
            <a:extLst>
              <a:ext uri="{FF2B5EF4-FFF2-40B4-BE49-F238E27FC236}">
                <a16:creationId xmlns:a16="http://schemas.microsoft.com/office/drawing/2014/main" id="{F250A303-62F0-5F45-FF0F-423FDE4209B8}"/>
              </a:ext>
            </a:extLst>
          </p:cNvPr>
          <p:cNvCxnSpPr/>
          <p:nvPr>
            <p:custDataLst>
              <p:tags r:id="rId80"/>
            </p:custDataLst>
          </p:nvPr>
        </p:nvCxnSpPr>
        <p:spPr bwMode="auto">
          <a:xfrm>
            <a:off x="9799638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9" name="Gerader Verbinder 408">
            <a:extLst>
              <a:ext uri="{FF2B5EF4-FFF2-40B4-BE49-F238E27FC236}">
                <a16:creationId xmlns:a16="http://schemas.microsoft.com/office/drawing/2014/main" id="{1AF99560-1EBD-AD56-F774-70BB34CDB760}"/>
              </a:ext>
            </a:extLst>
          </p:cNvPr>
          <p:cNvCxnSpPr/>
          <p:nvPr>
            <p:custDataLst>
              <p:tags r:id="rId81"/>
            </p:custDataLst>
          </p:nvPr>
        </p:nvCxnSpPr>
        <p:spPr bwMode="auto">
          <a:xfrm>
            <a:off x="3951288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8" name="Gerader Verbinder 407">
            <a:extLst>
              <a:ext uri="{FF2B5EF4-FFF2-40B4-BE49-F238E27FC236}">
                <a16:creationId xmlns:a16="http://schemas.microsoft.com/office/drawing/2014/main" id="{2944C2F7-92BB-01C7-4481-B85EA5BF7699}"/>
              </a:ext>
            </a:extLst>
          </p:cNvPr>
          <p:cNvCxnSpPr/>
          <p:nvPr>
            <p:custDataLst>
              <p:tags r:id="rId82"/>
            </p:custDataLst>
          </p:nvPr>
        </p:nvCxnSpPr>
        <p:spPr bwMode="auto">
          <a:xfrm>
            <a:off x="2787650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3" name="Gerader Verbinder 462">
            <a:extLst>
              <a:ext uri="{FF2B5EF4-FFF2-40B4-BE49-F238E27FC236}">
                <a16:creationId xmlns:a16="http://schemas.microsoft.com/office/drawing/2014/main" id="{D4DE93BE-2E65-362A-33AC-C05C292426FC}"/>
              </a:ext>
            </a:extLst>
          </p:cNvPr>
          <p:cNvCxnSpPr/>
          <p:nvPr>
            <p:custDataLst>
              <p:tags r:id="rId83"/>
            </p:custDataLst>
          </p:nvPr>
        </p:nvCxnSpPr>
        <p:spPr bwMode="auto">
          <a:xfrm>
            <a:off x="525463" y="3421063"/>
            <a:ext cx="111379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4" name="Gerader Verbinder 463">
            <a:extLst>
              <a:ext uri="{FF2B5EF4-FFF2-40B4-BE49-F238E27FC236}">
                <a16:creationId xmlns:a16="http://schemas.microsoft.com/office/drawing/2014/main" id="{7C799BC2-FC37-9137-7E61-97DD0CA9BDBD}"/>
              </a:ext>
            </a:extLst>
          </p:cNvPr>
          <p:cNvCxnSpPr/>
          <p:nvPr>
            <p:custDataLst>
              <p:tags r:id="rId84"/>
            </p:custDataLst>
          </p:nvPr>
        </p:nvCxnSpPr>
        <p:spPr bwMode="auto">
          <a:xfrm>
            <a:off x="525463" y="5073650"/>
            <a:ext cx="111379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501A93FA-18A1-DE87-5ACD-F8BC5A08C0FC}"/>
              </a:ext>
            </a:extLst>
          </p:cNvPr>
          <p:cNvCxnSpPr/>
          <p:nvPr>
            <p:custDataLst>
              <p:tags r:id="rId85"/>
            </p:custDataLst>
          </p:nvPr>
        </p:nvCxnSpPr>
        <p:spPr bwMode="auto">
          <a:xfrm>
            <a:off x="525463" y="5643563"/>
            <a:ext cx="111379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8F2B461F-F5B9-0399-DEAD-C52E4A7F596E}"/>
              </a:ext>
            </a:extLst>
          </p:cNvPr>
          <p:cNvCxnSpPr/>
          <p:nvPr>
            <p:custDataLst>
              <p:tags r:id="rId86"/>
            </p:custDataLst>
          </p:nvPr>
        </p:nvCxnSpPr>
        <p:spPr bwMode="auto">
          <a:xfrm>
            <a:off x="2730500" y="2309813"/>
            <a:ext cx="0" cy="34972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D73DE137-8277-75FA-4F20-452660F78935}"/>
              </a:ext>
            </a:extLst>
          </p:cNvPr>
          <p:cNvCxnSpPr/>
          <p:nvPr>
            <p:custDataLst>
              <p:tags r:id="rId87"/>
            </p:custDataLst>
          </p:nvPr>
        </p:nvCxnSpPr>
        <p:spPr bwMode="auto">
          <a:xfrm>
            <a:off x="525463" y="2309813"/>
            <a:ext cx="111379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0ED1C8B1-B2B5-219C-BE4B-93F27030C6F8}"/>
              </a:ext>
            </a:extLst>
          </p:cNvPr>
          <p:cNvSpPr/>
          <p:nvPr>
            <p:custDataLst>
              <p:tags r:id="rId88"/>
            </p:custDataLst>
          </p:nvPr>
        </p:nvSpPr>
        <p:spPr bwMode="auto">
          <a:xfrm>
            <a:off x="3714750" y="2401888"/>
            <a:ext cx="301625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DF519E86-D825-0D75-F6FB-A291DFC30D39}"/>
              </a:ext>
            </a:extLst>
          </p:cNvPr>
          <p:cNvSpPr/>
          <p:nvPr>
            <p:custDataLst>
              <p:tags r:id="rId89"/>
            </p:custDataLst>
          </p:nvPr>
        </p:nvSpPr>
        <p:spPr bwMode="auto">
          <a:xfrm>
            <a:off x="5059364" y="3214688"/>
            <a:ext cx="568325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70" name="Rechteck 469">
            <a:extLst>
              <a:ext uri="{FF2B5EF4-FFF2-40B4-BE49-F238E27FC236}">
                <a16:creationId xmlns:a16="http://schemas.microsoft.com/office/drawing/2014/main" id="{62200370-2C13-0E8F-1F6B-F7ABD9378AC7}"/>
              </a:ext>
            </a:extLst>
          </p:cNvPr>
          <p:cNvSpPr/>
          <p:nvPr>
            <p:custDataLst>
              <p:tags r:id="rId90"/>
            </p:custDataLst>
          </p:nvPr>
        </p:nvSpPr>
        <p:spPr bwMode="auto">
          <a:xfrm>
            <a:off x="6402388" y="4867275"/>
            <a:ext cx="122238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68" name="Rechteck 467">
            <a:extLst>
              <a:ext uri="{FF2B5EF4-FFF2-40B4-BE49-F238E27FC236}">
                <a16:creationId xmlns:a16="http://schemas.microsoft.com/office/drawing/2014/main" id="{33F61454-CBB7-B01D-B3A9-0E77D16FAA79}"/>
              </a:ext>
            </a:extLst>
          </p:cNvPr>
          <p:cNvSpPr/>
          <p:nvPr>
            <p:custDataLst>
              <p:tags r:id="rId91"/>
            </p:custDataLst>
          </p:nvPr>
        </p:nvSpPr>
        <p:spPr bwMode="auto">
          <a:xfrm>
            <a:off x="6267450" y="4595813"/>
            <a:ext cx="166688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73" name="Rechteck 472">
            <a:extLst>
              <a:ext uri="{FF2B5EF4-FFF2-40B4-BE49-F238E27FC236}">
                <a16:creationId xmlns:a16="http://schemas.microsoft.com/office/drawing/2014/main" id="{E19B493E-C45F-C212-70F0-FDCE671D4FDB}"/>
              </a:ext>
            </a:extLst>
          </p:cNvPr>
          <p:cNvSpPr/>
          <p:nvPr>
            <p:custDataLst>
              <p:tags r:id="rId92"/>
            </p:custDataLst>
          </p:nvPr>
        </p:nvSpPr>
        <p:spPr bwMode="auto">
          <a:xfrm>
            <a:off x="6134100" y="4325938"/>
            <a:ext cx="166688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85" name="Rechteck 484">
            <a:extLst>
              <a:ext uri="{FF2B5EF4-FFF2-40B4-BE49-F238E27FC236}">
                <a16:creationId xmlns:a16="http://schemas.microsoft.com/office/drawing/2014/main" id="{7F1E55AA-9A02-318A-4F81-B96B2258460C}"/>
              </a:ext>
            </a:extLst>
          </p:cNvPr>
          <p:cNvSpPr/>
          <p:nvPr>
            <p:custDataLst>
              <p:tags r:id="rId93"/>
            </p:custDataLst>
          </p:nvPr>
        </p:nvSpPr>
        <p:spPr bwMode="auto">
          <a:xfrm>
            <a:off x="5595938" y="3513138"/>
            <a:ext cx="301625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62" name="Rechteck 461">
            <a:extLst>
              <a:ext uri="{FF2B5EF4-FFF2-40B4-BE49-F238E27FC236}">
                <a16:creationId xmlns:a16="http://schemas.microsoft.com/office/drawing/2014/main" id="{DB64141F-E871-0FAC-6C4F-751E07860A87}"/>
              </a:ext>
            </a:extLst>
          </p:cNvPr>
          <p:cNvSpPr/>
          <p:nvPr>
            <p:custDataLst>
              <p:tags r:id="rId94"/>
            </p:custDataLst>
          </p:nvPr>
        </p:nvSpPr>
        <p:spPr bwMode="auto">
          <a:xfrm>
            <a:off x="5864225" y="3784600"/>
            <a:ext cx="166688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51" name="Rechteck 450">
            <a:extLst>
              <a:ext uri="{FF2B5EF4-FFF2-40B4-BE49-F238E27FC236}">
                <a16:creationId xmlns:a16="http://schemas.microsoft.com/office/drawing/2014/main" id="{87FB4656-7E4B-EA31-95F4-6DED2E8EEF60}"/>
              </a:ext>
            </a:extLst>
          </p:cNvPr>
          <p:cNvSpPr/>
          <p:nvPr>
            <p:custDataLst>
              <p:tags r:id="rId95"/>
            </p:custDataLst>
          </p:nvPr>
        </p:nvSpPr>
        <p:spPr bwMode="auto">
          <a:xfrm>
            <a:off x="6030913" y="4054475"/>
            <a:ext cx="134938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CF4F372B-4B5F-E1FB-6A88-E852611AFAAD}"/>
              </a:ext>
            </a:extLst>
          </p:cNvPr>
          <p:cNvSpPr/>
          <p:nvPr>
            <p:custDataLst>
              <p:tags r:id="rId96"/>
            </p:custDataLst>
          </p:nvPr>
        </p:nvSpPr>
        <p:spPr bwMode="auto">
          <a:xfrm>
            <a:off x="3984626" y="2673350"/>
            <a:ext cx="568325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A8FA6B0-D380-D019-61BE-DCF3822F9F45}"/>
              </a:ext>
            </a:extLst>
          </p:cNvPr>
          <p:cNvSpPr/>
          <p:nvPr>
            <p:custDataLst>
              <p:tags r:id="rId97"/>
            </p:custDataLst>
          </p:nvPr>
        </p:nvSpPr>
        <p:spPr bwMode="auto">
          <a:xfrm>
            <a:off x="4521201" y="2943225"/>
            <a:ext cx="569913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48" name="Rechteck 447">
            <a:extLst>
              <a:ext uri="{FF2B5EF4-FFF2-40B4-BE49-F238E27FC236}">
                <a16:creationId xmlns:a16="http://schemas.microsoft.com/office/drawing/2014/main" id="{DB9A3ECD-F7C3-A4FF-9BDD-52FF512701D4}"/>
              </a:ext>
            </a:extLst>
          </p:cNvPr>
          <p:cNvSpPr/>
          <p:nvPr>
            <p:custDataLst>
              <p:tags r:id="rId98"/>
            </p:custDataLst>
          </p:nvPr>
        </p:nvSpPr>
        <p:spPr bwMode="auto">
          <a:xfrm>
            <a:off x="6505575" y="5165725"/>
            <a:ext cx="1349375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49" name="Rechteck 448">
            <a:extLst>
              <a:ext uri="{FF2B5EF4-FFF2-40B4-BE49-F238E27FC236}">
                <a16:creationId xmlns:a16="http://schemas.microsoft.com/office/drawing/2014/main" id="{2129036B-7A68-9600-8BFB-45DF298A36A8}"/>
              </a:ext>
            </a:extLst>
          </p:cNvPr>
          <p:cNvSpPr/>
          <p:nvPr>
            <p:custDataLst>
              <p:tags r:id="rId99"/>
            </p:custDataLst>
          </p:nvPr>
        </p:nvSpPr>
        <p:spPr bwMode="auto">
          <a:xfrm>
            <a:off x="7899400" y="5437188"/>
            <a:ext cx="1133475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26" name="Pfeil: nach links 25">
            <a:extLst>
              <a:ext uri="{FF2B5EF4-FFF2-40B4-BE49-F238E27FC236}">
                <a16:creationId xmlns:a16="http://schemas.microsoft.com/office/drawing/2014/main" id="{13EACB51-93F5-8E01-AA3B-7950EE2CFFA0}"/>
              </a:ext>
            </a:extLst>
          </p:cNvPr>
          <p:cNvSpPr/>
          <p:nvPr>
            <p:custDataLst>
              <p:tags r:id="rId100"/>
            </p:custDataLst>
          </p:nvPr>
        </p:nvSpPr>
        <p:spPr bwMode="auto">
          <a:xfrm>
            <a:off x="2082800" y="2643187"/>
            <a:ext cx="1901825" cy="158750"/>
          </a:xfrm>
          <a:prstGeom prst="leftArrow">
            <a:avLst>
              <a:gd name="adj1" fmla="val 50000"/>
              <a:gd name="adj2" fmla="val 40660"/>
            </a:avLst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F4298EB2-E46D-AE01-127D-CE8A9300C831}"/>
              </a:ext>
            </a:extLst>
          </p:cNvPr>
          <p:cNvSpPr/>
          <p:nvPr>
            <p:custDataLst>
              <p:tags r:id="rId101"/>
            </p:custDataLst>
          </p:nvPr>
        </p:nvSpPr>
        <p:spPr bwMode="auto">
          <a:xfrm>
            <a:off x="3465513" y="2952750"/>
            <a:ext cx="1055688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3C5617B5-8141-A1C7-E98D-546B6F9076E7}"/>
              </a:ext>
            </a:extLst>
          </p:cNvPr>
          <p:cNvSpPr/>
          <p:nvPr>
            <p:custDataLst>
              <p:tags r:id="rId102"/>
            </p:custDataLst>
          </p:nvPr>
        </p:nvSpPr>
        <p:spPr bwMode="auto">
          <a:xfrm>
            <a:off x="4527551" y="3224213"/>
            <a:ext cx="531813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53" name="Rechteck 452">
            <a:extLst>
              <a:ext uri="{FF2B5EF4-FFF2-40B4-BE49-F238E27FC236}">
                <a16:creationId xmlns:a16="http://schemas.microsoft.com/office/drawing/2014/main" id="{25B9C85B-88C9-5D71-A515-EA18486C39B5}"/>
              </a:ext>
            </a:extLst>
          </p:cNvPr>
          <p:cNvSpPr/>
          <p:nvPr>
            <p:custDataLst>
              <p:tags r:id="rId103"/>
            </p:custDataLst>
          </p:nvPr>
        </p:nvSpPr>
        <p:spPr bwMode="auto">
          <a:xfrm>
            <a:off x="5781676" y="4335463"/>
            <a:ext cx="352425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F0210844-B725-135E-A62E-A7392F27C460}"/>
              </a:ext>
            </a:extLst>
          </p:cNvPr>
          <p:cNvSpPr/>
          <p:nvPr>
            <p:custDataLst>
              <p:tags r:id="rId104"/>
            </p:custDataLst>
          </p:nvPr>
        </p:nvSpPr>
        <p:spPr bwMode="auto">
          <a:xfrm>
            <a:off x="2973388" y="2411413"/>
            <a:ext cx="741363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820EA5E7-C3BE-214E-8D7F-80591994DF7B}"/>
              </a:ext>
            </a:extLst>
          </p:cNvPr>
          <p:cNvSpPr/>
          <p:nvPr>
            <p:custDataLst>
              <p:tags r:id="rId105"/>
            </p:custDataLst>
          </p:nvPr>
        </p:nvSpPr>
        <p:spPr bwMode="auto">
          <a:xfrm>
            <a:off x="4886326" y="3522663"/>
            <a:ext cx="709613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216B7A8A-6095-9937-3717-4D96DB164836}"/>
              </a:ext>
            </a:extLst>
          </p:cNvPr>
          <p:cNvSpPr/>
          <p:nvPr>
            <p:custDataLst>
              <p:tags r:id="rId106"/>
            </p:custDataLst>
          </p:nvPr>
        </p:nvSpPr>
        <p:spPr bwMode="auto">
          <a:xfrm>
            <a:off x="5245100" y="3794125"/>
            <a:ext cx="619125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9ADB7F83-31E6-A510-6318-1AA5FD4515C6}"/>
              </a:ext>
            </a:extLst>
          </p:cNvPr>
          <p:cNvSpPr/>
          <p:nvPr>
            <p:custDataLst>
              <p:tags r:id="rId107"/>
            </p:custDataLst>
          </p:nvPr>
        </p:nvSpPr>
        <p:spPr bwMode="auto">
          <a:xfrm>
            <a:off x="5422900" y="4064000"/>
            <a:ext cx="608013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3132B5FD-45E1-B35E-E18F-D239E28467B6}"/>
              </a:ext>
            </a:extLst>
          </p:cNvPr>
          <p:cNvSpPr/>
          <p:nvPr>
            <p:custDataLst>
              <p:tags r:id="rId108"/>
            </p:custDataLst>
          </p:nvPr>
        </p:nvSpPr>
        <p:spPr bwMode="auto">
          <a:xfrm>
            <a:off x="5781675" y="4605338"/>
            <a:ext cx="485775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52" name="Rechteck 451">
            <a:extLst>
              <a:ext uri="{FF2B5EF4-FFF2-40B4-BE49-F238E27FC236}">
                <a16:creationId xmlns:a16="http://schemas.microsoft.com/office/drawing/2014/main" id="{8CD09DDA-F1A7-80B2-0B06-576DCFF33094}"/>
              </a:ext>
            </a:extLst>
          </p:cNvPr>
          <p:cNvSpPr/>
          <p:nvPr>
            <p:custDataLst>
              <p:tags r:id="rId109"/>
            </p:custDataLst>
          </p:nvPr>
        </p:nvSpPr>
        <p:spPr bwMode="auto">
          <a:xfrm>
            <a:off x="5961064" y="4876800"/>
            <a:ext cx="441325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3" name="Raute 522">
            <a:extLst>
              <a:ext uri="{FF2B5EF4-FFF2-40B4-BE49-F238E27FC236}">
                <a16:creationId xmlns:a16="http://schemas.microsoft.com/office/drawing/2014/main" id="{3814B736-BB94-E35B-46F4-DB575AFB39DC}"/>
              </a:ext>
            </a:extLst>
          </p:cNvPr>
          <p:cNvSpPr/>
          <p:nvPr>
            <p:custDataLst>
              <p:tags r:id="rId110"/>
            </p:custDataLst>
          </p:nvPr>
        </p:nvSpPr>
        <p:spPr bwMode="gray">
          <a:xfrm>
            <a:off x="4470400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5" name="Raute 574">
            <a:extLst>
              <a:ext uri="{FF2B5EF4-FFF2-40B4-BE49-F238E27FC236}">
                <a16:creationId xmlns:a16="http://schemas.microsoft.com/office/drawing/2014/main" id="{CF937B0B-4F6D-2B17-D060-057C6D3E472C}"/>
              </a:ext>
            </a:extLst>
          </p:cNvPr>
          <p:cNvSpPr/>
          <p:nvPr>
            <p:custDataLst>
              <p:tags r:id="rId111"/>
            </p:custDataLst>
          </p:nvPr>
        </p:nvSpPr>
        <p:spPr bwMode="gray">
          <a:xfrm>
            <a:off x="8834438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2" name="Raute 521">
            <a:extLst>
              <a:ext uri="{FF2B5EF4-FFF2-40B4-BE49-F238E27FC236}">
                <a16:creationId xmlns:a16="http://schemas.microsoft.com/office/drawing/2014/main" id="{5389A13C-8129-4A4F-E144-1EF5F19FF946}"/>
              </a:ext>
            </a:extLst>
          </p:cNvPr>
          <p:cNvSpPr/>
          <p:nvPr>
            <p:custDataLst>
              <p:tags r:id="rId112"/>
            </p:custDataLst>
          </p:nvPr>
        </p:nvSpPr>
        <p:spPr bwMode="gray">
          <a:xfrm>
            <a:off x="4291013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7" name="Raute 566">
            <a:extLst>
              <a:ext uri="{FF2B5EF4-FFF2-40B4-BE49-F238E27FC236}">
                <a16:creationId xmlns:a16="http://schemas.microsoft.com/office/drawing/2014/main" id="{E6862E1C-8704-78AF-FB18-AAC85EAA83A2}"/>
              </a:ext>
            </a:extLst>
          </p:cNvPr>
          <p:cNvSpPr/>
          <p:nvPr>
            <p:custDataLst>
              <p:tags r:id="rId113"/>
            </p:custDataLst>
          </p:nvPr>
        </p:nvSpPr>
        <p:spPr bwMode="gray">
          <a:xfrm>
            <a:off x="7656513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47" name="Raute 446">
            <a:extLst>
              <a:ext uri="{FF2B5EF4-FFF2-40B4-BE49-F238E27FC236}">
                <a16:creationId xmlns:a16="http://schemas.microsoft.com/office/drawing/2014/main" id="{5C94774E-DD14-94D9-1A4A-4B15BECDB2BF}"/>
              </a:ext>
            </a:extLst>
          </p:cNvPr>
          <p:cNvSpPr/>
          <p:nvPr>
            <p:custDataLst>
              <p:tags r:id="rId114"/>
            </p:custDataLst>
          </p:nvPr>
        </p:nvSpPr>
        <p:spPr bwMode="gray">
          <a:xfrm>
            <a:off x="2916238" y="23939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4" name="Raute 573">
            <a:extLst>
              <a:ext uri="{FF2B5EF4-FFF2-40B4-BE49-F238E27FC236}">
                <a16:creationId xmlns:a16="http://schemas.microsoft.com/office/drawing/2014/main" id="{9012D08E-FFF7-0B96-89E8-42020F68C431}"/>
              </a:ext>
            </a:extLst>
          </p:cNvPr>
          <p:cNvSpPr/>
          <p:nvPr>
            <p:custDataLst>
              <p:tags r:id="rId115"/>
            </p:custDataLst>
          </p:nvPr>
        </p:nvSpPr>
        <p:spPr bwMode="gray">
          <a:xfrm>
            <a:off x="8462963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1" name="Raute 520">
            <a:extLst>
              <a:ext uri="{FF2B5EF4-FFF2-40B4-BE49-F238E27FC236}">
                <a16:creationId xmlns:a16="http://schemas.microsoft.com/office/drawing/2014/main" id="{F1327D2C-F15E-9562-2666-183ABB1BF65D}"/>
              </a:ext>
            </a:extLst>
          </p:cNvPr>
          <p:cNvSpPr/>
          <p:nvPr>
            <p:custDataLst>
              <p:tags r:id="rId116"/>
            </p:custDataLst>
          </p:nvPr>
        </p:nvSpPr>
        <p:spPr bwMode="gray">
          <a:xfrm>
            <a:off x="4111625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4" name="Raute 563">
            <a:extLst>
              <a:ext uri="{FF2B5EF4-FFF2-40B4-BE49-F238E27FC236}">
                <a16:creationId xmlns:a16="http://schemas.microsoft.com/office/drawing/2014/main" id="{295516DC-CE81-7F20-F69A-41ED9B190802}"/>
              </a:ext>
            </a:extLst>
          </p:cNvPr>
          <p:cNvSpPr/>
          <p:nvPr>
            <p:custDataLst>
              <p:tags r:id="rId117"/>
            </p:custDataLst>
          </p:nvPr>
        </p:nvSpPr>
        <p:spPr bwMode="gray">
          <a:xfrm>
            <a:off x="7464425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16" name="Raute 515">
            <a:extLst>
              <a:ext uri="{FF2B5EF4-FFF2-40B4-BE49-F238E27FC236}">
                <a16:creationId xmlns:a16="http://schemas.microsoft.com/office/drawing/2014/main" id="{3143F0EC-CDF2-CCE8-4E95-8D9182055D06}"/>
              </a:ext>
            </a:extLst>
          </p:cNvPr>
          <p:cNvSpPr/>
          <p:nvPr>
            <p:custDataLst>
              <p:tags r:id="rId118"/>
            </p:custDataLst>
          </p:nvPr>
        </p:nvSpPr>
        <p:spPr bwMode="gray">
          <a:xfrm>
            <a:off x="3408363" y="29352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3" name="Raute 572">
            <a:extLst>
              <a:ext uri="{FF2B5EF4-FFF2-40B4-BE49-F238E27FC236}">
                <a16:creationId xmlns:a16="http://schemas.microsoft.com/office/drawing/2014/main" id="{2E12DA48-D292-0881-B970-4CA42EB47BA1}"/>
              </a:ext>
            </a:extLst>
          </p:cNvPr>
          <p:cNvSpPr/>
          <p:nvPr>
            <p:custDataLst>
              <p:tags r:id="rId119"/>
            </p:custDataLst>
          </p:nvPr>
        </p:nvSpPr>
        <p:spPr bwMode="gray">
          <a:xfrm>
            <a:off x="8283575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3" name="Raute 562">
            <a:extLst>
              <a:ext uri="{FF2B5EF4-FFF2-40B4-BE49-F238E27FC236}">
                <a16:creationId xmlns:a16="http://schemas.microsoft.com/office/drawing/2014/main" id="{4E5A223D-2B19-21F5-77ED-2ADDA2C18367}"/>
              </a:ext>
            </a:extLst>
          </p:cNvPr>
          <p:cNvSpPr/>
          <p:nvPr>
            <p:custDataLst>
              <p:tags r:id="rId120"/>
            </p:custDataLst>
          </p:nvPr>
        </p:nvSpPr>
        <p:spPr bwMode="gray">
          <a:xfrm>
            <a:off x="7299325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71" name="Raute 470">
            <a:extLst>
              <a:ext uri="{FF2B5EF4-FFF2-40B4-BE49-F238E27FC236}">
                <a16:creationId xmlns:a16="http://schemas.microsoft.com/office/drawing/2014/main" id="{0B4532F0-3330-17F4-88C3-CDA4EA1BF03B}"/>
              </a:ext>
            </a:extLst>
          </p:cNvPr>
          <p:cNvSpPr/>
          <p:nvPr>
            <p:custDataLst>
              <p:tags r:id="rId121"/>
            </p:custDataLst>
          </p:nvPr>
        </p:nvSpPr>
        <p:spPr bwMode="gray">
          <a:xfrm>
            <a:off x="3254375" y="29352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19" name="Raute 518">
            <a:extLst>
              <a:ext uri="{FF2B5EF4-FFF2-40B4-BE49-F238E27FC236}">
                <a16:creationId xmlns:a16="http://schemas.microsoft.com/office/drawing/2014/main" id="{32F226B9-B619-5C60-B882-7D9C48AD1283}"/>
              </a:ext>
            </a:extLst>
          </p:cNvPr>
          <p:cNvSpPr/>
          <p:nvPr>
            <p:custDataLst>
              <p:tags r:id="rId122"/>
            </p:custDataLst>
          </p:nvPr>
        </p:nvSpPr>
        <p:spPr bwMode="gray">
          <a:xfrm>
            <a:off x="3946525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2" name="Raute 571">
            <a:extLst>
              <a:ext uri="{FF2B5EF4-FFF2-40B4-BE49-F238E27FC236}">
                <a16:creationId xmlns:a16="http://schemas.microsoft.com/office/drawing/2014/main" id="{477ADCC0-1BE6-21FF-E453-A2D7FA1C8199}"/>
              </a:ext>
            </a:extLst>
          </p:cNvPr>
          <p:cNvSpPr/>
          <p:nvPr>
            <p:custDataLst>
              <p:tags r:id="rId123"/>
            </p:custDataLst>
          </p:nvPr>
        </p:nvSpPr>
        <p:spPr bwMode="gray">
          <a:xfrm>
            <a:off x="8194675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67" name="Raute 466">
            <a:extLst>
              <a:ext uri="{FF2B5EF4-FFF2-40B4-BE49-F238E27FC236}">
                <a16:creationId xmlns:a16="http://schemas.microsoft.com/office/drawing/2014/main" id="{D99DE0C7-3750-A935-FC1B-CF3660C71549}"/>
              </a:ext>
            </a:extLst>
          </p:cNvPr>
          <p:cNvSpPr/>
          <p:nvPr>
            <p:custDataLst>
              <p:tags r:id="rId124"/>
            </p:custDataLst>
          </p:nvPr>
        </p:nvSpPr>
        <p:spPr bwMode="gray">
          <a:xfrm>
            <a:off x="3074988" y="29352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45" name="Raute 544">
            <a:extLst>
              <a:ext uri="{FF2B5EF4-FFF2-40B4-BE49-F238E27FC236}">
                <a16:creationId xmlns:a16="http://schemas.microsoft.com/office/drawing/2014/main" id="{98521E5D-F940-1B99-9E40-6300335726F2}"/>
              </a:ext>
            </a:extLst>
          </p:cNvPr>
          <p:cNvSpPr/>
          <p:nvPr>
            <p:custDataLst>
              <p:tags r:id="rId125"/>
            </p:custDataLst>
          </p:nvPr>
        </p:nvSpPr>
        <p:spPr bwMode="gray">
          <a:xfrm>
            <a:off x="5724525" y="4587875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99" name="Raute 598">
            <a:extLst>
              <a:ext uri="{FF2B5EF4-FFF2-40B4-BE49-F238E27FC236}">
                <a16:creationId xmlns:a16="http://schemas.microsoft.com/office/drawing/2014/main" id="{96303D4A-9C87-0ED1-6807-4623738FD80D}"/>
              </a:ext>
            </a:extLst>
          </p:cNvPr>
          <p:cNvSpPr/>
          <p:nvPr>
            <p:custDataLst>
              <p:tags r:id="rId126"/>
            </p:custDataLst>
          </p:nvPr>
        </p:nvSpPr>
        <p:spPr bwMode="gray">
          <a:xfrm>
            <a:off x="5187950" y="3776663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1" name="Raute 570">
            <a:extLst>
              <a:ext uri="{FF2B5EF4-FFF2-40B4-BE49-F238E27FC236}">
                <a16:creationId xmlns:a16="http://schemas.microsoft.com/office/drawing/2014/main" id="{A084403B-1428-1132-14EF-47BA13EA32E4}"/>
              </a:ext>
            </a:extLst>
          </p:cNvPr>
          <p:cNvSpPr/>
          <p:nvPr>
            <p:custDataLst>
              <p:tags r:id="rId127"/>
            </p:custDataLst>
          </p:nvPr>
        </p:nvSpPr>
        <p:spPr bwMode="gray">
          <a:xfrm>
            <a:off x="8015288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5" name="Raute 564">
            <a:extLst>
              <a:ext uri="{FF2B5EF4-FFF2-40B4-BE49-F238E27FC236}">
                <a16:creationId xmlns:a16="http://schemas.microsoft.com/office/drawing/2014/main" id="{688486B2-263C-7619-81E0-9BCB4FA8C51B}"/>
              </a:ext>
            </a:extLst>
          </p:cNvPr>
          <p:cNvSpPr/>
          <p:nvPr>
            <p:custDataLst>
              <p:tags r:id="rId128"/>
            </p:custDataLst>
          </p:nvPr>
        </p:nvSpPr>
        <p:spPr bwMode="gray">
          <a:xfrm>
            <a:off x="6440488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3" name="Raute 552">
            <a:extLst>
              <a:ext uri="{FF2B5EF4-FFF2-40B4-BE49-F238E27FC236}">
                <a16:creationId xmlns:a16="http://schemas.microsoft.com/office/drawing/2014/main" id="{1DCC08C1-B4D9-528E-9AEA-A25E2105C97F}"/>
              </a:ext>
            </a:extLst>
          </p:cNvPr>
          <p:cNvSpPr/>
          <p:nvPr>
            <p:custDataLst>
              <p:tags r:id="rId129"/>
            </p:custDataLst>
          </p:nvPr>
        </p:nvSpPr>
        <p:spPr bwMode="gray">
          <a:xfrm>
            <a:off x="4829175" y="350520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0" name="Raute 519">
            <a:extLst>
              <a:ext uri="{FF2B5EF4-FFF2-40B4-BE49-F238E27FC236}">
                <a16:creationId xmlns:a16="http://schemas.microsoft.com/office/drawing/2014/main" id="{020352C6-1EAE-1173-0971-AB74B920D2B8}"/>
              </a:ext>
            </a:extLst>
          </p:cNvPr>
          <p:cNvSpPr/>
          <p:nvPr>
            <p:custDataLst>
              <p:tags r:id="rId130"/>
            </p:custDataLst>
          </p:nvPr>
        </p:nvSpPr>
        <p:spPr bwMode="gray">
          <a:xfrm>
            <a:off x="3767138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0" name="Raute 559">
            <a:extLst>
              <a:ext uri="{FF2B5EF4-FFF2-40B4-BE49-F238E27FC236}">
                <a16:creationId xmlns:a16="http://schemas.microsoft.com/office/drawing/2014/main" id="{F4D82725-E6C8-70BD-B9FA-B72164766359}"/>
              </a:ext>
            </a:extLst>
          </p:cNvPr>
          <p:cNvSpPr/>
          <p:nvPr>
            <p:custDataLst>
              <p:tags r:id="rId131"/>
            </p:custDataLst>
          </p:nvPr>
        </p:nvSpPr>
        <p:spPr bwMode="gray">
          <a:xfrm>
            <a:off x="5724525" y="431800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6" name="Raute 555">
            <a:extLst>
              <a:ext uri="{FF2B5EF4-FFF2-40B4-BE49-F238E27FC236}">
                <a16:creationId xmlns:a16="http://schemas.microsoft.com/office/drawing/2014/main" id="{E0388A71-5555-5355-D786-27C7647E18BE}"/>
              </a:ext>
            </a:extLst>
          </p:cNvPr>
          <p:cNvSpPr/>
          <p:nvPr>
            <p:custDataLst>
              <p:tags r:id="rId132"/>
            </p:custDataLst>
          </p:nvPr>
        </p:nvSpPr>
        <p:spPr bwMode="gray">
          <a:xfrm>
            <a:off x="5008563" y="3776663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8" name="Raute 557">
            <a:extLst>
              <a:ext uri="{FF2B5EF4-FFF2-40B4-BE49-F238E27FC236}">
                <a16:creationId xmlns:a16="http://schemas.microsoft.com/office/drawing/2014/main" id="{A2BF89D6-7581-99AB-84B9-51050F286173}"/>
              </a:ext>
            </a:extLst>
          </p:cNvPr>
          <p:cNvSpPr/>
          <p:nvPr>
            <p:custDataLst>
              <p:tags r:id="rId133"/>
            </p:custDataLst>
          </p:nvPr>
        </p:nvSpPr>
        <p:spPr bwMode="gray">
          <a:xfrm>
            <a:off x="5365750" y="404653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1" name="Raute 560">
            <a:extLst>
              <a:ext uri="{FF2B5EF4-FFF2-40B4-BE49-F238E27FC236}">
                <a16:creationId xmlns:a16="http://schemas.microsoft.com/office/drawing/2014/main" id="{8D8AEFED-56E3-1271-C195-10051FB232A4}"/>
              </a:ext>
            </a:extLst>
          </p:cNvPr>
          <p:cNvSpPr/>
          <p:nvPr>
            <p:custDataLst>
              <p:tags r:id="rId134"/>
            </p:custDataLst>
          </p:nvPr>
        </p:nvSpPr>
        <p:spPr bwMode="gray">
          <a:xfrm>
            <a:off x="5903913" y="485933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2" name="Raute 551">
            <a:extLst>
              <a:ext uri="{FF2B5EF4-FFF2-40B4-BE49-F238E27FC236}">
                <a16:creationId xmlns:a16="http://schemas.microsoft.com/office/drawing/2014/main" id="{0C6E0E26-0998-3F2E-E73F-0E33501AFDB3}"/>
              </a:ext>
            </a:extLst>
          </p:cNvPr>
          <p:cNvSpPr/>
          <p:nvPr>
            <p:custDataLst>
              <p:tags r:id="rId135"/>
            </p:custDataLst>
          </p:nvPr>
        </p:nvSpPr>
        <p:spPr bwMode="gray">
          <a:xfrm>
            <a:off x="4829175" y="350520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6" name="Raute 565">
            <a:extLst>
              <a:ext uri="{FF2B5EF4-FFF2-40B4-BE49-F238E27FC236}">
                <a16:creationId xmlns:a16="http://schemas.microsoft.com/office/drawing/2014/main" id="{82920CE1-BD1A-FE01-56F8-A4D55C9E9B3F}"/>
              </a:ext>
            </a:extLst>
          </p:cNvPr>
          <p:cNvSpPr/>
          <p:nvPr>
            <p:custDataLst>
              <p:tags r:id="rId136"/>
            </p:custDataLst>
          </p:nvPr>
        </p:nvSpPr>
        <p:spPr bwMode="gray">
          <a:xfrm>
            <a:off x="6262688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5" name="Raute 524">
            <a:extLst>
              <a:ext uri="{FF2B5EF4-FFF2-40B4-BE49-F238E27FC236}">
                <a16:creationId xmlns:a16="http://schemas.microsoft.com/office/drawing/2014/main" id="{458BE3B4-4521-7716-6686-A0F636D3F7D1}"/>
              </a:ext>
            </a:extLst>
          </p:cNvPr>
          <p:cNvSpPr/>
          <p:nvPr>
            <p:custDataLst>
              <p:tags r:id="rId137"/>
            </p:custDataLst>
          </p:nvPr>
        </p:nvSpPr>
        <p:spPr bwMode="gray">
          <a:xfrm>
            <a:off x="4649788" y="4587875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0" name="Raute 569">
            <a:extLst>
              <a:ext uri="{FF2B5EF4-FFF2-40B4-BE49-F238E27FC236}">
                <a16:creationId xmlns:a16="http://schemas.microsoft.com/office/drawing/2014/main" id="{F6F3DD40-DA38-4D47-F308-05C4C23AAC21}"/>
              </a:ext>
            </a:extLst>
          </p:cNvPr>
          <p:cNvSpPr/>
          <p:nvPr>
            <p:custDataLst>
              <p:tags r:id="rId138"/>
            </p:custDataLst>
          </p:nvPr>
        </p:nvSpPr>
        <p:spPr bwMode="gray">
          <a:xfrm>
            <a:off x="7926388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18" name="Raute 517">
            <a:extLst>
              <a:ext uri="{FF2B5EF4-FFF2-40B4-BE49-F238E27FC236}">
                <a16:creationId xmlns:a16="http://schemas.microsoft.com/office/drawing/2014/main" id="{9827F8AA-5C2D-2A18-ACCA-AAE4A5E9C956}"/>
              </a:ext>
            </a:extLst>
          </p:cNvPr>
          <p:cNvSpPr/>
          <p:nvPr>
            <p:custDataLst>
              <p:tags r:id="rId139"/>
            </p:custDataLst>
          </p:nvPr>
        </p:nvSpPr>
        <p:spPr bwMode="gray">
          <a:xfrm>
            <a:off x="3587750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66" name="Raute 465">
            <a:extLst>
              <a:ext uri="{FF2B5EF4-FFF2-40B4-BE49-F238E27FC236}">
                <a16:creationId xmlns:a16="http://schemas.microsoft.com/office/drawing/2014/main" id="{438E463C-B159-94B4-0CBA-BFFD6B2C9FDA}"/>
              </a:ext>
            </a:extLst>
          </p:cNvPr>
          <p:cNvSpPr/>
          <p:nvPr>
            <p:custDataLst>
              <p:tags r:id="rId140"/>
            </p:custDataLst>
          </p:nvPr>
        </p:nvSpPr>
        <p:spPr bwMode="gray">
          <a:xfrm>
            <a:off x="2922588" y="29352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4" name="Raute 523">
            <a:extLst>
              <a:ext uri="{FF2B5EF4-FFF2-40B4-BE49-F238E27FC236}">
                <a16:creationId xmlns:a16="http://schemas.microsoft.com/office/drawing/2014/main" id="{F0AE1E5C-D159-F1C7-8446-9714EC4AF183}"/>
              </a:ext>
            </a:extLst>
          </p:cNvPr>
          <p:cNvSpPr/>
          <p:nvPr>
            <p:custDataLst>
              <p:tags r:id="rId141"/>
            </p:custDataLst>
          </p:nvPr>
        </p:nvSpPr>
        <p:spPr bwMode="gray">
          <a:xfrm>
            <a:off x="4470400" y="4587875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8" name="Raute 567">
            <a:extLst>
              <a:ext uri="{FF2B5EF4-FFF2-40B4-BE49-F238E27FC236}">
                <a16:creationId xmlns:a16="http://schemas.microsoft.com/office/drawing/2014/main" id="{59BB0A63-E057-8148-A604-BE687292A870}"/>
              </a:ext>
            </a:extLst>
          </p:cNvPr>
          <p:cNvSpPr/>
          <p:nvPr>
            <p:custDataLst>
              <p:tags r:id="rId142"/>
            </p:custDataLst>
          </p:nvPr>
        </p:nvSpPr>
        <p:spPr bwMode="gray">
          <a:xfrm>
            <a:off x="6083300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9" name="Raute 568">
            <a:extLst>
              <a:ext uri="{FF2B5EF4-FFF2-40B4-BE49-F238E27FC236}">
                <a16:creationId xmlns:a16="http://schemas.microsoft.com/office/drawing/2014/main" id="{EA5B97A4-A9E4-3CC7-0A76-E15551906763}"/>
              </a:ext>
            </a:extLst>
          </p:cNvPr>
          <p:cNvSpPr/>
          <p:nvPr>
            <p:custDataLst>
              <p:tags r:id="rId143"/>
            </p:custDataLst>
          </p:nvPr>
        </p:nvSpPr>
        <p:spPr bwMode="gray">
          <a:xfrm>
            <a:off x="7835900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17" name="Raute 516">
            <a:extLst>
              <a:ext uri="{FF2B5EF4-FFF2-40B4-BE49-F238E27FC236}">
                <a16:creationId xmlns:a16="http://schemas.microsoft.com/office/drawing/2014/main" id="{BE615E83-4303-6FB3-309F-CD8FB1D651B3}"/>
              </a:ext>
            </a:extLst>
          </p:cNvPr>
          <p:cNvSpPr/>
          <p:nvPr>
            <p:custDataLst>
              <p:tags r:id="rId144"/>
            </p:custDataLst>
          </p:nvPr>
        </p:nvSpPr>
        <p:spPr bwMode="gray">
          <a:xfrm>
            <a:off x="3408363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2" name="Raute 561">
            <a:extLst>
              <a:ext uri="{FF2B5EF4-FFF2-40B4-BE49-F238E27FC236}">
                <a16:creationId xmlns:a16="http://schemas.microsoft.com/office/drawing/2014/main" id="{6CF936AE-9F0D-3DDA-D2FF-29FD912B889C}"/>
              </a:ext>
            </a:extLst>
          </p:cNvPr>
          <p:cNvSpPr/>
          <p:nvPr>
            <p:custDataLst>
              <p:tags r:id="rId145"/>
            </p:custDataLst>
          </p:nvPr>
        </p:nvSpPr>
        <p:spPr bwMode="gray">
          <a:xfrm>
            <a:off x="5859463" y="485933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2" name="Gleichschenkliges Dreieck 41">
            <a:extLst>
              <a:ext uri="{FF2B5EF4-FFF2-40B4-BE49-F238E27FC236}">
                <a16:creationId xmlns:a16="http://schemas.microsoft.com/office/drawing/2014/main" id="{A0B51E63-F104-8A41-E72C-A6BE11239E08}"/>
              </a:ext>
            </a:extLst>
          </p:cNvPr>
          <p:cNvSpPr/>
          <p:nvPr>
            <p:custDataLst>
              <p:tags r:id="rId146"/>
            </p:custDataLst>
          </p:nvPr>
        </p:nvSpPr>
        <p:spPr bwMode="gray">
          <a:xfrm>
            <a:off x="2673350" y="5749925"/>
            <a:ext cx="114300" cy="114300"/>
          </a:xfrm>
          <a:prstGeom prst="triangle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5" name="Raute 554">
            <a:extLst>
              <a:ext uri="{FF2B5EF4-FFF2-40B4-BE49-F238E27FC236}">
                <a16:creationId xmlns:a16="http://schemas.microsoft.com/office/drawing/2014/main" id="{34C2393B-10DF-6525-AB17-BA917F3137BD}"/>
              </a:ext>
            </a:extLst>
          </p:cNvPr>
          <p:cNvSpPr/>
          <p:nvPr>
            <p:custDataLst>
              <p:tags r:id="rId147"/>
            </p:custDataLst>
          </p:nvPr>
        </p:nvSpPr>
        <p:spPr bwMode="gray">
          <a:xfrm>
            <a:off x="4995863" y="3776663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7" name="Raute 556">
            <a:extLst>
              <a:ext uri="{FF2B5EF4-FFF2-40B4-BE49-F238E27FC236}">
                <a16:creationId xmlns:a16="http://schemas.microsoft.com/office/drawing/2014/main" id="{2E5CE621-AF9D-C53D-D93B-5981CD89613B}"/>
              </a:ext>
            </a:extLst>
          </p:cNvPr>
          <p:cNvSpPr/>
          <p:nvPr>
            <p:custDataLst>
              <p:tags r:id="rId148"/>
            </p:custDataLst>
          </p:nvPr>
        </p:nvSpPr>
        <p:spPr bwMode="gray">
          <a:xfrm>
            <a:off x="5187950" y="404653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" name="Raute 54">
            <a:extLst>
              <a:ext uri="{FF2B5EF4-FFF2-40B4-BE49-F238E27FC236}">
                <a16:creationId xmlns:a16="http://schemas.microsoft.com/office/drawing/2014/main" id="{6C901934-39BC-B376-E325-021BDA91F902}"/>
              </a:ext>
            </a:extLst>
          </p:cNvPr>
          <p:cNvSpPr/>
          <p:nvPr>
            <p:custDataLst>
              <p:tags r:id="rId149"/>
            </p:custDataLst>
          </p:nvPr>
        </p:nvSpPr>
        <p:spPr bwMode="gray">
          <a:xfrm>
            <a:off x="2519363" y="29352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9" name="Raute 558">
            <a:extLst>
              <a:ext uri="{FF2B5EF4-FFF2-40B4-BE49-F238E27FC236}">
                <a16:creationId xmlns:a16="http://schemas.microsoft.com/office/drawing/2014/main" id="{609101E3-BDC8-DB9D-4F1A-2E6DB8F92C4B}"/>
              </a:ext>
            </a:extLst>
          </p:cNvPr>
          <p:cNvSpPr/>
          <p:nvPr>
            <p:custDataLst>
              <p:tags r:id="rId150"/>
            </p:custDataLst>
          </p:nvPr>
        </p:nvSpPr>
        <p:spPr bwMode="gray">
          <a:xfrm>
            <a:off x="5545138" y="431800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1" name="Raute 550">
            <a:extLst>
              <a:ext uri="{FF2B5EF4-FFF2-40B4-BE49-F238E27FC236}">
                <a16:creationId xmlns:a16="http://schemas.microsoft.com/office/drawing/2014/main" id="{9303DCBD-5D7F-6915-6C3F-4EB37DBFD2B3}"/>
              </a:ext>
            </a:extLst>
          </p:cNvPr>
          <p:cNvSpPr/>
          <p:nvPr>
            <p:custDataLst>
              <p:tags r:id="rId151"/>
            </p:custDataLst>
          </p:nvPr>
        </p:nvSpPr>
        <p:spPr bwMode="gray">
          <a:xfrm>
            <a:off x="4649788" y="350520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102" name="text">
            <a:extLst>
              <a:ext uri="{FF2B5EF4-FFF2-40B4-BE49-F238E27FC236}">
                <a16:creationId xmlns:a16="http://schemas.microsoft.com/office/drawing/2014/main" id="{D62C3F0D-7144-AA9E-0A87-B9ACFD3D1448}"/>
              </a:ext>
            </a:extLst>
          </p:cNvPr>
          <p:cNvSpPr>
            <a:spLocks noGrp="1"/>
          </p:cNvSpPr>
          <p:nvPr>
            <p:custDataLst>
              <p:tags r:id="rId152"/>
            </p:custDataLst>
          </p:nvPr>
        </p:nvSpPr>
        <p:spPr bwMode="auto">
          <a:xfrm>
            <a:off x="10460038" y="5116513"/>
            <a:ext cx="11318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 / Curve</a:t>
            </a:r>
          </a:p>
        </p:txBody>
      </p:sp>
      <p:sp>
        <p:nvSpPr>
          <p:cNvPr id="74" name="text">
            <a:extLst>
              <a:ext uri="{FF2B5EF4-FFF2-40B4-BE49-F238E27FC236}">
                <a16:creationId xmlns:a16="http://schemas.microsoft.com/office/drawing/2014/main" id="{08E4A8BE-3255-061C-B14D-1B397419EE9A}"/>
              </a:ext>
            </a:extLst>
          </p:cNvPr>
          <p:cNvSpPr>
            <a:spLocks noGrp="1"/>
          </p:cNvSpPr>
          <p:nvPr>
            <p:custDataLst>
              <p:tags r:id="rId153"/>
            </p:custDataLst>
          </p:nvPr>
        </p:nvSpPr>
        <p:spPr bwMode="auto">
          <a:xfrm>
            <a:off x="10460038" y="2352675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effectLst/>
              </a:rPr>
              <a:t>Curve</a:t>
            </a:r>
            <a:endParaRPr lang="en-US" dirty="0"/>
          </a:p>
        </p:txBody>
      </p:sp>
      <p:sp>
        <p:nvSpPr>
          <p:cNvPr id="6" name="text">
            <a:extLst>
              <a:ext uri="{FF2B5EF4-FFF2-40B4-BE49-F238E27FC236}">
                <a16:creationId xmlns:a16="http://schemas.microsoft.com/office/drawing/2014/main" id="{F045E3CA-AFF6-09D2-F79A-ADDF04EA8D34}"/>
              </a:ext>
            </a:extLst>
          </p:cNvPr>
          <p:cNvSpPr>
            <a:spLocks noGrp="1"/>
          </p:cNvSpPr>
          <p:nvPr>
            <p:custDataLst>
              <p:tags r:id="rId154"/>
            </p:custDataLst>
          </p:nvPr>
        </p:nvSpPr>
        <p:spPr bwMode="auto">
          <a:xfrm>
            <a:off x="596900" y="2352675"/>
            <a:ext cx="10763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>
                <a:effectLst/>
              </a:rPr>
              <a:t>Type </a:t>
            </a:r>
            <a:r>
              <a:rPr lang="en-US" altLang="en-US" dirty="0">
                <a:effectLst/>
              </a:rPr>
              <a:t>2.5 B1-B6</a:t>
            </a:r>
            <a:endParaRPr lang="en-US" dirty="0"/>
          </a:p>
        </p:txBody>
      </p:sp>
      <p:sp>
        <p:nvSpPr>
          <p:cNvPr id="88" name="text">
            <a:extLst>
              <a:ext uri="{FF2B5EF4-FFF2-40B4-BE49-F238E27FC236}">
                <a16:creationId xmlns:a16="http://schemas.microsoft.com/office/drawing/2014/main" id="{60FE1A3B-96AE-79FB-E826-093338F0A680}"/>
              </a:ext>
            </a:extLst>
          </p:cNvPr>
          <p:cNvSpPr>
            <a:spLocks noGrp="1"/>
          </p:cNvSpPr>
          <p:nvPr>
            <p:custDataLst>
              <p:tags r:id="rId155"/>
            </p:custDataLst>
          </p:nvPr>
        </p:nvSpPr>
        <p:spPr bwMode="auto">
          <a:xfrm>
            <a:off x="596900" y="5116513"/>
            <a:ext cx="10763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/>
              <a:t>Type </a:t>
            </a:r>
            <a:r>
              <a:rPr lang="en-US" altLang="en-US" dirty="0"/>
              <a:t>2.9 B1-B6</a:t>
            </a:r>
            <a:endParaRPr lang="en-US" dirty="0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85D2ACB4-A455-91B7-FD4A-C030985A624E}"/>
              </a:ext>
            </a:extLst>
          </p:cNvPr>
          <p:cNvSpPr>
            <a:spLocks noGrp="1"/>
          </p:cNvSpPr>
          <p:nvPr>
            <p:custDataLst>
              <p:tags r:id="rId156"/>
            </p:custDataLst>
          </p:nvPr>
        </p:nvSpPr>
        <p:spPr bwMode="auto">
          <a:xfrm>
            <a:off x="596900" y="2894013"/>
            <a:ext cx="11795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effectLst/>
              </a:rPr>
              <a:t>Type 1.6A B1-B6</a:t>
            </a:r>
            <a:endParaRPr lang="en-US" dirty="0"/>
          </a:p>
        </p:txBody>
      </p:sp>
      <p:sp>
        <p:nvSpPr>
          <p:cNvPr id="96" name="text">
            <a:extLst>
              <a:ext uri="{FF2B5EF4-FFF2-40B4-BE49-F238E27FC236}">
                <a16:creationId xmlns:a16="http://schemas.microsoft.com/office/drawing/2014/main" id="{CA2EB471-97B8-4317-4F4B-D07F625772A2}"/>
              </a:ext>
            </a:extLst>
          </p:cNvPr>
          <p:cNvSpPr>
            <a:spLocks noGrp="1"/>
          </p:cNvSpPr>
          <p:nvPr>
            <p:custDataLst>
              <p:tags r:id="rId157"/>
            </p:custDataLst>
          </p:nvPr>
        </p:nvSpPr>
        <p:spPr bwMode="auto">
          <a:xfrm>
            <a:off x="10460038" y="4276725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  <a:endParaRPr lang="en-US" dirty="0"/>
          </a:p>
        </p:txBody>
      </p:sp>
      <p:sp>
        <p:nvSpPr>
          <p:cNvPr id="41" name="text">
            <a:extLst>
              <a:ext uri="{FF2B5EF4-FFF2-40B4-BE49-F238E27FC236}">
                <a16:creationId xmlns:a16="http://schemas.microsoft.com/office/drawing/2014/main" id="{6DBBAFC4-3060-A6FA-B7CE-D5EAB6345F28}"/>
              </a:ext>
            </a:extLst>
          </p:cNvPr>
          <p:cNvSpPr>
            <a:spLocks noGrp="1"/>
          </p:cNvSpPr>
          <p:nvPr>
            <p:custDataLst>
              <p:tags r:id="rId158"/>
            </p:custDataLst>
          </p:nvPr>
        </p:nvSpPr>
        <p:spPr bwMode="auto">
          <a:xfrm>
            <a:off x="2346325" y="5886450"/>
            <a:ext cx="7699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B5857AE-A69B-49E6-B0EF-C0E89D1D18B4}" type="datetime'''''''''9/2''''''''''''''''''''2/''''''20''''''''2''''''5'''">
              <a:rPr lang="en-US" altLang="en-US" smtClean="0"/>
              <a:pPr/>
              <a:t>9/22/2025</a:t>
            </a:fld>
            <a:endParaRPr lang="en-US" dirty="0"/>
          </a:p>
        </p:txBody>
      </p:sp>
      <p:sp>
        <p:nvSpPr>
          <p:cNvPr id="450" name="text">
            <a:extLst>
              <a:ext uri="{FF2B5EF4-FFF2-40B4-BE49-F238E27FC236}">
                <a16:creationId xmlns:a16="http://schemas.microsoft.com/office/drawing/2014/main" id="{93C5323A-F675-320E-D29C-3EEE5CE5A9BB}"/>
              </a:ext>
            </a:extLst>
          </p:cNvPr>
          <p:cNvSpPr>
            <a:spLocks noGrp="1"/>
          </p:cNvSpPr>
          <p:nvPr>
            <p:custDataLst>
              <p:tags r:id="rId159"/>
            </p:custDataLst>
          </p:nvPr>
        </p:nvSpPr>
        <p:spPr bwMode="auto">
          <a:xfrm>
            <a:off x="1776413" y="2139950"/>
            <a:ext cx="350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EBF3DDBE-A98C-4EAD-9052-5493DB14FD65}" type="datetime'''''''''M''''''''''''''''''o''n''''t''''''''''''''''h'''''''''">
              <a:rPr lang="en-US" altLang="en-US" sz="1000" smtClean="0"/>
              <a:pPr/>
              <a:t>Month</a:t>
            </a:fld>
            <a:endParaRPr lang="en-US" sz="1000" dirty="0"/>
          </a:p>
        </p:txBody>
      </p:sp>
      <p:sp>
        <p:nvSpPr>
          <p:cNvPr id="69" name="text">
            <a:extLst>
              <a:ext uri="{FF2B5EF4-FFF2-40B4-BE49-F238E27FC236}">
                <a16:creationId xmlns:a16="http://schemas.microsoft.com/office/drawing/2014/main" id="{1BB1344E-7912-B817-D099-D6293C383955}"/>
              </a:ext>
            </a:extLst>
          </p:cNvPr>
          <p:cNvSpPr>
            <a:spLocks noGrp="1"/>
          </p:cNvSpPr>
          <p:nvPr>
            <p:custDataLst>
              <p:tags r:id="rId160"/>
            </p:custDataLst>
          </p:nvPr>
        </p:nvSpPr>
        <p:spPr bwMode="auto">
          <a:xfrm>
            <a:off x="596900" y="3463925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Type 2.123 S2</a:t>
            </a:r>
            <a:endParaRPr lang="en-US" dirty="0"/>
          </a:p>
        </p:txBody>
      </p:sp>
      <p:sp>
        <p:nvSpPr>
          <p:cNvPr id="92" name="text">
            <a:extLst>
              <a:ext uri="{FF2B5EF4-FFF2-40B4-BE49-F238E27FC236}">
                <a16:creationId xmlns:a16="http://schemas.microsoft.com/office/drawing/2014/main" id="{1A600FD0-CCC5-4E2F-AC1E-70A29BE308A7}"/>
              </a:ext>
            </a:extLst>
          </p:cNvPr>
          <p:cNvSpPr>
            <a:spLocks noGrp="1"/>
          </p:cNvSpPr>
          <p:nvPr>
            <p:custDataLst>
              <p:tags r:id="rId161"/>
            </p:custDataLst>
          </p:nvPr>
        </p:nvSpPr>
        <p:spPr bwMode="auto">
          <a:xfrm>
            <a:off x="10460038" y="3463925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  <a:endParaRPr lang="en-US" dirty="0"/>
          </a:p>
        </p:txBody>
      </p:sp>
      <p:sp>
        <p:nvSpPr>
          <p:cNvPr id="100" name="text">
            <a:extLst>
              <a:ext uri="{FF2B5EF4-FFF2-40B4-BE49-F238E27FC236}">
                <a16:creationId xmlns:a16="http://schemas.microsoft.com/office/drawing/2014/main" id="{04E31615-34B5-C362-3059-016CDF82E98B}"/>
              </a:ext>
            </a:extLst>
          </p:cNvPr>
          <p:cNvSpPr>
            <a:spLocks noGrp="1"/>
          </p:cNvSpPr>
          <p:nvPr>
            <p:custDataLst>
              <p:tags r:id="rId162"/>
            </p:custDataLst>
          </p:nvPr>
        </p:nvSpPr>
        <p:spPr bwMode="auto">
          <a:xfrm>
            <a:off x="10460038" y="4818063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</a:p>
        </p:txBody>
      </p:sp>
      <p:sp>
        <p:nvSpPr>
          <p:cNvPr id="86" name="text">
            <a:extLst>
              <a:ext uri="{FF2B5EF4-FFF2-40B4-BE49-F238E27FC236}">
                <a16:creationId xmlns:a16="http://schemas.microsoft.com/office/drawing/2014/main" id="{395A7E67-35CD-8B6F-8762-8CF9D2DD421B}"/>
              </a:ext>
            </a:extLst>
          </p:cNvPr>
          <p:cNvSpPr>
            <a:spLocks noGrp="1"/>
          </p:cNvSpPr>
          <p:nvPr>
            <p:custDataLst>
              <p:tags r:id="rId163"/>
            </p:custDataLst>
          </p:nvPr>
        </p:nvSpPr>
        <p:spPr bwMode="auto">
          <a:xfrm>
            <a:off x="596900" y="4818063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/>
              <a:t>Type </a:t>
            </a:r>
            <a:r>
              <a:rPr lang="en-US" altLang="en-US" dirty="0"/>
              <a:t>2.123 S5</a:t>
            </a:r>
            <a:endParaRPr lang="en-US" dirty="0"/>
          </a:p>
        </p:txBody>
      </p:sp>
      <p:sp>
        <p:nvSpPr>
          <p:cNvPr id="71" name="text">
            <a:extLst>
              <a:ext uri="{FF2B5EF4-FFF2-40B4-BE49-F238E27FC236}">
                <a16:creationId xmlns:a16="http://schemas.microsoft.com/office/drawing/2014/main" id="{B85185E9-FF3E-442A-9523-1941EC272A05}"/>
              </a:ext>
            </a:extLst>
          </p:cNvPr>
          <p:cNvSpPr>
            <a:spLocks noGrp="1"/>
          </p:cNvSpPr>
          <p:nvPr>
            <p:custDataLst>
              <p:tags r:id="rId164"/>
            </p:custDataLst>
          </p:nvPr>
        </p:nvSpPr>
        <p:spPr bwMode="auto">
          <a:xfrm>
            <a:off x="10460038" y="2079625"/>
            <a:ext cx="8874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BCA7072-2ED5-4C4C-B531-C859FFC5020F}" type="datetime'R''''''''esp''o''''n''s''i''''''b''''''''l''''''e'''''">
              <a:rPr lang="en-US" altLang="en-US" b="1" smtClean="0">
                <a:effectLst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Responsible</a:t>
            </a:fld>
            <a:endParaRPr lang="en-US" b="1" dirty="0"/>
          </a:p>
        </p:txBody>
      </p:sp>
      <p:sp>
        <p:nvSpPr>
          <p:cNvPr id="82" name="text">
            <a:extLst>
              <a:ext uri="{FF2B5EF4-FFF2-40B4-BE49-F238E27FC236}">
                <a16:creationId xmlns:a16="http://schemas.microsoft.com/office/drawing/2014/main" id="{52AEA3E3-6025-18FB-1B3A-C1FF20CAD2ED}"/>
              </a:ext>
            </a:extLst>
          </p:cNvPr>
          <p:cNvSpPr>
            <a:spLocks noGrp="1"/>
          </p:cNvSpPr>
          <p:nvPr>
            <p:custDataLst>
              <p:tags r:id="rId165"/>
            </p:custDataLst>
          </p:nvPr>
        </p:nvSpPr>
        <p:spPr bwMode="auto">
          <a:xfrm>
            <a:off x="10460038" y="4546600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Straight</a:t>
            </a:r>
          </a:p>
        </p:txBody>
      </p:sp>
      <p:sp>
        <p:nvSpPr>
          <p:cNvPr id="67" name="text">
            <a:extLst>
              <a:ext uri="{FF2B5EF4-FFF2-40B4-BE49-F238E27FC236}">
                <a16:creationId xmlns:a16="http://schemas.microsoft.com/office/drawing/2014/main" id="{094FA16C-A283-5386-E125-D5D7D626CF61}"/>
              </a:ext>
            </a:extLst>
          </p:cNvPr>
          <p:cNvSpPr>
            <a:spLocks noGrp="1"/>
          </p:cNvSpPr>
          <p:nvPr>
            <p:custDataLst>
              <p:tags r:id="rId166"/>
            </p:custDataLst>
          </p:nvPr>
        </p:nvSpPr>
        <p:spPr bwMode="auto">
          <a:xfrm>
            <a:off x="596900" y="4546600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Type 2.123 S1</a:t>
            </a:r>
            <a:endParaRPr lang="en-US" dirty="0"/>
          </a:p>
        </p:txBody>
      </p:sp>
      <p:sp>
        <p:nvSpPr>
          <p:cNvPr id="84" name="text">
            <a:extLst>
              <a:ext uri="{FF2B5EF4-FFF2-40B4-BE49-F238E27FC236}">
                <a16:creationId xmlns:a16="http://schemas.microsoft.com/office/drawing/2014/main" id="{33366272-A7E1-B857-84BD-C3EA6D3CBB2A}"/>
              </a:ext>
            </a:extLst>
          </p:cNvPr>
          <p:cNvSpPr>
            <a:spLocks noGrp="1"/>
          </p:cNvSpPr>
          <p:nvPr>
            <p:custDataLst>
              <p:tags r:id="rId167"/>
            </p:custDataLst>
          </p:nvPr>
        </p:nvSpPr>
        <p:spPr bwMode="auto">
          <a:xfrm>
            <a:off x="596900" y="3735388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Type 2.123 S3</a:t>
            </a:r>
            <a:endParaRPr lang="en-US" dirty="0"/>
          </a:p>
        </p:txBody>
      </p:sp>
      <p:sp>
        <p:nvSpPr>
          <p:cNvPr id="98" name="text">
            <a:extLst>
              <a:ext uri="{FF2B5EF4-FFF2-40B4-BE49-F238E27FC236}">
                <a16:creationId xmlns:a16="http://schemas.microsoft.com/office/drawing/2014/main" id="{055F1C74-34AD-C5C2-7C29-C766C60B78A4}"/>
              </a:ext>
            </a:extLst>
          </p:cNvPr>
          <p:cNvSpPr>
            <a:spLocks noGrp="1"/>
          </p:cNvSpPr>
          <p:nvPr>
            <p:custDataLst>
              <p:tags r:id="rId168"/>
            </p:custDataLst>
          </p:nvPr>
        </p:nvSpPr>
        <p:spPr bwMode="auto">
          <a:xfrm>
            <a:off x="10460038" y="3735388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</a:p>
        </p:txBody>
      </p:sp>
      <p:sp>
        <p:nvSpPr>
          <p:cNvPr id="80" name="text">
            <a:extLst>
              <a:ext uri="{FF2B5EF4-FFF2-40B4-BE49-F238E27FC236}">
                <a16:creationId xmlns:a16="http://schemas.microsoft.com/office/drawing/2014/main" id="{B6BB17ED-E920-6969-0EC3-FBEE968E1AE3}"/>
              </a:ext>
            </a:extLst>
          </p:cNvPr>
          <p:cNvSpPr>
            <a:spLocks noGrp="1"/>
          </p:cNvSpPr>
          <p:nvPr>
            <p:custDataLst>
              <p:tags r:id="rId169"/>
            </p:custDataLst>
          </p:nvPr>
        </p:nvSpPr>
        <p:spPr bwMode="auto">
          <a:xfrm>
            <a:off x="10460038" y="3165475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Curve</a:t>
            </a:r>
            <a:endParaRPr lang="en-US" dirty="0"/>
          </a:p>
        </p:txBody>
      </p:sp>
      <p:sp>
        <p:nvSpPr>
          <p:cNvPr id="14" name="text">
            <a:extLst>
              <a:ext uri="{FF2B5EF4-FFF2-40B4-BE49-F238E27FC236}">
                <a16:creationId xmlns:a16="http://schemas.microsoft.com/office/drawing/2014/main" id="{B02F7D34-2C0A-A4AB-3064-E9D21C28607A}"/>
              </a:ext>
            </a:extLst>
          </p:cNvPr>
          <p:cNvSpPr>
            <a:spLocks noGrp="1"/>
          </p:cNvSpPr>
          <p:nvPr>
            <p:custDataLst>
              <p:tags r:id="rId170"/>
            </p:custDataLst>
          </p:nvPr>
        </p:nvSpPr>
        <p:spPr bwMode="auto">
          <a:xfrm>
            <a:off x="596900" y="2079625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DEC0F1C-E2C4-47F0-806C-88D7F6BAC7C9}" type="datetime'''''''A''''''''''c''t''i''''''''v''''ity'''''''''''''''''">
              <a:rPr lang="en-US" altLang="en-US" b="1" smtClean="0">
                <a:effectLst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lang="en-US" b="1" dirty="0"/>
          </a:p>
        </p:txBody>
      </p:sp>
      <p:sp>
        <p:nvSpPr>
          <p:cNvPr id="78" name="text">
            <a:extLst>
              <a:ext uri="{FF2B5EF4-FFF2-40B4-BE49-F238E27FC236}">
                <a16:creationId xmlns:a16="http://schemas.microsoft.com/office/drawing/2014/main" id="{D49BDAFE-05AF-2553-35EA-6B1D78383B77}"/>
              </a:ext>
            </a:extLst>
          </p:cNvPr>
          <p:cNvSpPr>
            <a:spLocks noGrp="1"/>
          </p:cNvSpPr>
          <p:nvPr>
            <p:custDataLst>
              <p:tags r:id="rId171"/>
            </p:custDataLst>
          </p:nvPr>
        </p:nvSpPr>
        <p:spPr bwMode="auto">
          <a:xfrm>
            <a:off x="10460038" y="2894013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Curve</a:t>
            </a:r>
            <a:endParaRPr lang="en-US" dirty="0"/>
          </a:p>
        </p:txBody>
      </p:sp>
      <p:sp>
        <p:nvSpPr>
          <p:cNvPr id="12" name="text">
            <a:extLst>
              <a:ext uri="{FF2B5EF4-FFF2-40B4-BE49-F238E27FC236}">
                <a16:creationId xmlns:a16="http://schemas.microsoft.com/office/drawing/2014/main" id="{8A27C116-97F9-FEF3-2F26-FAB9B432F69F}"/>
              </a:ext>
            </a:extLst>
          </p:cNvPr>
          <p:cNvSpPr>
            <a:spLocks noGrp="1"/>
          </p:cNvSpPr>
          <p:nvPr>
            <p:custDataLst>
              <p:tags r:id="rId172"/>
            </p:custDataLst>
          </p:nvPr>
        </p:nvSpPr>
        <p:spPr bwMode="auto">
          <a:xfrm>
            <a:off x="596900" y="4005263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/>
              <a:t>Type </a:t>
            </a:r>
            <a:r>
              <a:rPr lang="en-US" altLang="en-US" dirty="0"/>
              <a:t>2.123 S4</a:t>
            </a:r>
            <a:endParaRPr lang="en-US" dirty="0"/>
          </a:p>
        </p:txBody>
      </p:sp>
      <p:sp>
        <p:nvSpPr>
          <p:cNvPr id="104" name="text">
            <a:extLst>
              <a:ext uri="{FF2B5EF4-FFF2-40B4-BE49-F238E27FC236}">
                <a16:creationId xmlns:a16="http://schemas.microsoft.com/office/drawing/2014/main" id="{1A4FD567-B2F6-7E0A-C5E7-4772B4AE824D}"/>
              </a:ext>
            </a:extLst>
          </p:cNvPr>
          <p:cNvSpPr>
            <a:spLocks noGrp="1"/>
          </p:cNvSpPr>
          <p:nvPr>
            <p:custDataLst>
              <p:tags r:id="rId173"/>
            </p:custDataLst>
          </p:nvPr>
        </p:nvSpPr>
        <p:spPr bwMode="auto">
          <a:xfrm>
            <a:off x="10460038" y="5387975"/>
            <a:ext cx="11318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 / Curve</a:t>
            </a:r>
          </a:p>
        </p:txBody>
      </p:sp>
      <p:sp>
        <p:nvSpPr>
          <p:cNvPr id="94" name="text">
            <a:extLst>
              <a:ext uri="{FF2B5EF4-FFF2-40B4-BE49-F238E27FC236}">
                <a16:creationId xmlns:a16="http://schemas.microsoft.com/office/drawing/2014/main" id="{5F49009D-46E3-5D94-5897-AB7080984A24}"/>
              </a:ext>
            </a:extLst>
          </p:cNvPr>
          <p:cNvSpPr>
            <a:spLocks noGrp="1"/>
          </p:cNvSpPr>
          <p:nvPr>
            <p:custDataLst>
              <p:tags r:id="rId174"/>
            </p:custDataLst>
          </p:nvPr>
        </p:nvSpPr>
        <p:spPr bwMode="auto">
          <a:xfrm>
            <a:off x="10460038" y="4005263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  <a:endParaRPr lang="en-US" dirty="0"/>
          </a:p>
        </p:txBody>
      </p:sp>
      <p:sp>
        <p:nvSpPr>
          <p:cNvPr id="11" name="text">
            <a:extLst>
              <a:ext uri="{FF2B5EF4-FFF2-40B4-BE49-F238E27FC236}">
                <a16:creationId xmlns:a16="http://schemas.microsoft.com/office/drawing/2014/main" id="{A5E68304-D122-97AA-E0BA-CAB08C744C0E}"/>
              </a:ext>
            </a:extLst>
          </p:cNvPr>
          <p:cNvSpPr>
            <a:spLocks noGrp="1"/>
          </p:cNvSpPr>
          <p:nvPr>
            <p:custDataLst>
              <p:tags r:id="rId175"/>
            </p:custDataLst>
          </p:nvPr>
        </p:nvSpPr>
        <p:spPr bwMode="auto">
          <a:xfrm>
            <a:off x="596900" y="3165475"/>
            <a:ext cx="1171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effectLst/>
              </a:rPr>
              <a:t>Type 2.8C B1-B6</a:t>
            </a:r>
            <a:endParaRPr lang="en-US" dirty="0"/>
          </a:p>
        </p:txBody>
      </p:sp>
      <p:sp>
        <p:nvSpPr>
          <p:cNvPr id="90" name="text">
            <a:extLst>
              <a:ext uri="{FF2B5EF4-FFF2-40B4-BE49-F238E27FC236}">
                <a16:creationId xmlns:a16="http://schemas.microsoft.com/office/drawing/2014/main" id="{FE28ECD6-246C-5917-AB95-49D2261BB71E}"/>
              </a:ext>
            </a:extLst>
          </p:cNvPr>
          <p:cNvSpPr>
            <a:spLocks noGrp="1"/>
          </p:cNvSpPr>
          <p:nvPr>
            <p:custDataLst>
              <p:tags r:id="rId176"/>
            </p:custDataLst>
          </p:nvPr>
        </p:nvSpPr>
        <p:spPr bwMode="auto">
          <a:xfrm>
            <a:off x="596900" y="5387975"/>
            <a:ext cx="14144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/>
              <a:t>Type </a:t>
            </a:r>
            <a:r>
              <a:rPr lang="en-US" altLang="en-US" dirty="0"/>
              <a:t>1.E / 2.4 S1-S6</a:t>
            </a:r>
            <a:endParaRPr lang="en-US" dirty="0"/>
          </a:p>
        </p:txBody>
      </p:sp>
      <p:sp>
        <p:nvSpPr>
          <p:cNvPr id="8" name="text">
            <a:extLst>
              <a:ext uri="{FF2B5EF4-FFF2-40B4-BE49-F238E27FC236}">
                <a16:creationId xmlns:a16="http://schemas.microsoft.com/office/drawing/2014/main" id="{4F64E165-FB75-B446-0D37-998F04A87D25}"/>
              </a:ext>
            </a:extLst>
          </p:cNvPr>
          <p:cNvSpPr>
            <a:spLocks noGrp="1"/>
          </p:cNvSpPr>
          <p:nvPr>
            <p:custDataLst>
              <p:tags r:id="rId177"/>
            </p:custDataLst>
          </p:nvPr>
        </p:nvSpPr>
        <p:spPr bwMode="auto">
          <a:xfrm>
            <a:off x="596900" y="2624138"/>
            <a:ext cx="11731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effectLst/>
              </a:rPr>
              <a:t>Type 1.7B B1-B6</a:t>
            </a:r>
            <a:endParaRPr lang="en-US" dirty="0"/>
          </a:p>
        </p:txBody>
      </p:sp>
      <p:sp>
        <p:nvSpPr>
          <p:cNvPr id="13" name="text">
            <a:extLst>
              <a:ext uri="{FF2B5EF4-FFF2-40B4-BE49-F238E27FC236}">
                <a16:creationId xmlns:a16="http://schemas.microsoft.com/office/drawing/2014/main" id="{346BEDDB-29A0-622A-4E84-B9BEE410C03E}"/>
              </a:ext>
            </a:extLst>
          </p:cNvPr>
          <p:cNvSpPr>
            <a:spLocks noGrp="1"/>
          </p:cNvSpPr>
          <p:nvPr>
            <p:custDataLst>
              <p:tags r:id="rId178"/>
            </p:custDataLst>
          </p:nvPr>
        </p:nvSpPr>
        <p:spPr bwMode="auto">
          <a:xfrm>
            <a:off x="596900" y="4276725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Type 2.123 S6</a:t>
            </a:r>
            <a:endParaRPr lang="en-US" dirty="0"/>
          </a:p>
        </p:txBody>
      </p:sp>
      <p:sp>
        <p:nvSpPr>
          <p:cNvPr id="76" name="text">
            <a:extLst>
              <a:ext uri="{FF2B5EF4-FFF2-40B4-BE49-F238E27FC236}">
                <a16:creationId xmlns:a16="http://schemas.microsoft.com/office/drawing/2014/main" id="{435208D6-C2C6-5AEE-43BA-07785F6450F7}"/>
              </a:ext>
            </a:extLst>
          </p:cNvPr>
          <p:cNvSpPr>
            <a:spLocks noGrp="1"/>
          </p:cNvSpPr>
          <p:nvPr>
            <p:custDataLst>
              <p:tags r:id="rId179"/>
            </p:custDataLst>
          </p:nvPr>
        </p:nvSpPr>
        <p:spPr bwMode="auto">
          <a:xfrm>
            <a:off x="10460038" y="2624138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Cur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2654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897F6A05-9A9F-0C2D-B330-174BC7BF7C5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24815" y="544551"/>
            <a:ext cx="9044055" cy="3619354"/>
            <a:chOff x="424815" y="544551"/>
            <a:chExt cx="9044055" cy="3619354"/>
          </a:xfrm>
        </p:grpSpPr>
        <p:sp>
          <p:nvSpPr>
            <p:cNvPr id="2" name="MIO_AGENDA_ELEMENT_TITEL_1">
              <a:hlinkClick r:id="rId18" action="ppaction://hlinksldjump"/>
              <a:extLst>
                <a:ext uri="{FF2B5EF4-FFF2-40B4-BE49-F238E27FC236}">
                  <a16:creationId xmlns:a16="http://schemas.microsoft.com/office/drawing/2014/main" id="{0469837D-225F-4EB6-A2B7-9A49D74EF82A}"/>
                </a:ext>
              </a:extLst>
            </p:cNvPr>
            <p:cNvSpPr txBox="1"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869315" y="544551"/>
              <a:ext cx="8599555" cy="44450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defPPr>
                <a:defRPr lang="de-DE"/>
              </a:defPPr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88" indent="-90488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66700" indent="-88900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 Light" panose="020F03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6pPr>
              <a:lvl7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de-DE" sz="1600">
                  <a:solidFill>
                    <a:schemeClr val="dk1"/>
                  </a:solidFill>
                  <a:latin typeface="+mn-lt"/>
                </a:rPr>
                <a:t>Content</a:t>
              </a:r>
              <a:endParaRPr lang="de-DE" sz="1600" dirty="0">
                <a:solidFill>
                  <a:schemeClr val="dk1"/>
                </a:solidFill>
                <a:latin typeface="+mn-lt"/>
              </a:endParaRPr>
            </a:p>
          </p:txBody>
        </p:sp>
        <p:sp>
          <p:nvSpPr>
            <p:cNvPr id="3" name="MIO_AGENDA_ELEMENT_ELEMENTNUMBER_1">
              <a:hlinkClick r:id="rId18" action="ppaction://hlinksldjump"/>
              <a:extLst>
                <a:ext uri="{FF2B5EF4-FFF2-40B4-BE49-F238E27FC236}">
                  <a16:creationId xmlns:a16="http://schemas.microsoft.com/office/drawing/2014/main" id="{1D5C5F93-9B8E-403B-B897-B2A0427B5E73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424815" y="544551"/>
              <a:ext cx="444500" cy="4445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2000">
                  <a:solidFill>
                    <a:schemeClr val="dk1"/>
                  </a:solidFill>
                </a:rPr>
                <a:t>01</a:t>
              </a:r>
              <a:endParaRPr lang="de-DE" sz="2000" dirty="0">
                <a:solidFill>
                  <a:schemeClr val="dk1"/>
                </a:solidFill>
              </a:endParaRPr>
            </a:p>
          </p:txBody>
        </p:sp>
        <p:sp>
          <p:nvSpPr>
            <p:cNvPr id="4" name="MIO_AGENDA_ELEMENT_TITEL_2">
              <a:hlinkClick r:id="rId19" action="ppaction://hlinksldjump"/>
              <a:extLst>
                <a:ext uri="{FF2B5EF4-FFF2-40B4-BE49-F238E27FC236}">
                  <a16:creationId xmlns:a16="http://schemas.microsoft.com/office/drawing/2014/main" id="{0469837D-225F-4EB6-A2B7-9A49D74EF82A}"/>
                </a:ext>
              </a:extLst>
            </p:cNvPr>
            <p:cNvSpPr txBox="1"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869315" y="1179521"/>
              <a:ext cx="8599555" cy="44450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defPPr>
                <a:defRPr lang="de-DE"/>
              </a:defPPr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88" indent="-90488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66700" indent="-88900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 Light" panose="020F03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6pPr>
              <a:lvl7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de-DE" sz="1600">
                  <a:solidFill>
                    <a:schemeClr val="dk1"/>
                  </a:solidFill>
                  <a:latin typeface="+mn-lt"/>
                </a:rPr>
                <a:t>Status Quo Installation (Status 2024)</a:t>
              </a:r>
              <a:endParaRPr lang="de-DE" sz="1600" dirty="0">
                <a:solidFill>
                  <a:schemeClr val="dk1"/>
                </a:solidFill>
                <a:latin typeface="+mn-lt"/>
              </a:endParaRPr>
            </a:p>
          </p:txBody>
        </p:sp>
        <p:sp>
          <p:nvSpPr>
            <p:cNvPr id="5" name="MIO_AGENDA_ELEMENT_ELEMENTNUMBER_2">
              <a:hlinkClick r:id="rId19" action="ppaction://hlinksldjump"/>
              <a:extLst>
                <a:ext uri="{FF2B5EF4-FFF2-40B4-BE49-F238E27FC236}">
                  <a16:creationId xmlns:a16="http://schemas.microsoft.com/office/drawing/2014/main" id="{1D5C5F93-9B8E-403B-B897-B2A0427B5E73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424815" y="1179521"/>
              <a:ext cx="444500" cy="4445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2000">
                  <a:solidFill>
                    <a:schemeClr val="dk1"/>
                  </a:solidFill>
                </a:rPr>
                <a:t>02</a:t>
              </a:r>
              <a:endParaRPr lang="de-DE" sz="2000" dirty="0">
                <a:solidFill>
                  <a:schemeClr val="dk1"/>
                </a:solidFill>
              </a:endParaRPr>
            </a:p>
          </p:txBody>
        </p:sp>
        <p:sp>
          <p:nvSpPr>
            <p:cNvPr id="6" name="MIO_AGENDA_ELEMENT_TITEL_3">
              <a:hlinkClick r:id="rId20" action="ppaction://hlinksldjump"/>
              <a:extLst>
                <a:ext uri="{FF2B5EF4-FFF2-40B4-BE49-F238E27FC236}">
                  <a16:creationId xmlns:a16="http://schemas.microsoft.com/office/drawing/2014/main" id="{0469837D-225F-4EB6-A2B7-9A49D74EF82A}"/>
                </a:ext>
              </a:extLst>
            </p:cNvPr>
            <p:cNvSpPr txBox="1"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869315" y="1814492"/>
              <a:ext cx="8599555" cy="44450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defPPr>
                <a:defRPr lang="de-DE"/>
              </a:defPPr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88" indent="-90488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66700" indent="-88900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 Light" panose="020F03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6pPr>
              <a:lvl7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pt-BR" sz="1600">
                  <a:solidFill>
                    <a:schemeClr val="dk1"/>
                  </a:solidFill>
                  <a:latin typeface="+mn-lt"/>
                </a:rPr>
                <a:t>Status Quo delivery dates Quadru-Poles</a:t>
              </a:r>
              <a:endParaRPr lang="de-DE" sz="1600" dirty="0">
                <a:solidFill>
                  <a:schemeClr val="dk1"/>
                </a:solidFill>
                <a:latin typeface="+mn-lt"/>
              </a:endParaRPr>
            </a:p>
          </p:txBody>
        </p:sp>
        <p:sp>
          <p:nvSpPr>
            <p:cNvPr id="7" name="MIO_AGENDA_ELEMENT_ELEMENTNUMBER_3">
              <a:hlinkClick r:id="rId20" action="ppaction://hlinksldjump"/>
              <a:extLst>
                <a:ext uri="{FF2B5EF4-FFF2-40B4-BE49-F238E27FC236}">
                  <a16:creationId xmlns:a16="http://schemas.microsoft.com/office/drawing/2014/main" id="{1D5C5F93-9B8E-403B-B897-B2A0427B5E73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424815" y="1814492"/>
              <a:ext cx="444500" cy="4445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2000">
                  <a:solidFill>
                    <a:schemeClr val="dk1"/>
                  </a:solidFill>
                </a:rPr>
                <a:t>03</a:t>
              </a:r>
              <a:endParaRPr lang="de-DE" sz="2000" dirty="0">
                <a:solidFill>
                  <a:schemeClr val="dk1"/>
                </a:solidFill>
              </a:endParaRPr>
            </a:p>
          </p:txBody>
        </p:sp>
        <p:sp>
          <p:nvSpPr>
            <p:cNvPr id="8" name="MIO_AGENDA_ELEMENT_TITEL_4">
              <a:hlinkClick r:id="rId21" action="ppaction://hlinksldjump"/>
              <a:extLst>
                <a:ext uri="{FF2B5EF4-FFF2-40B4-BE49-F238E27FC236}">
                  <a16:creationId xmlns:a16="http://schemas.microsoft.com/office/drawing/2014/main" id="{0469837D-225F-4EB6-A2B7-9A49D74EF82A}"/>
                </a:ext>
              </a:extLst>
            </p:cNvPr>
            <p:cNvSpPr txBox="1"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869315" y="2449463"/>
              <a:ext cx="8599555" cy="44450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defPPr>
                <a:defRPr lang="de-DE"/>
              </a:defPPr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88" indent="-90488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66700" indent="-88900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 Light" panose="020F03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6pPr>
              <a:lvl7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fr-FR" sz="1600">
                  <a:solidFill>
                    <a:schemeClr val="dk1"/>
                  </a:solidFill>
                  <a:latin typeface="+mn-lt"/>
                </a:rPr>
                <a:t>Installation Plan Quadru-Poles (Status 09.2025)</a:t>
              </a:r>
              <a:endParaRPr lang="de-DE" sz="1600" dirty="0">
                <a:solidFill>
                  <a:schemeClr val="dk1"/>
                </a:solidFill>
                <a:latin typeface="+mn-lt"/>
              </a:endParaRPr>
            </a:p>
          </p:txBody>
        </p:sp>
        <p:sp>
          <p:nvSpPr>
            <p:cNvPr id="9" name="MIO_AGENDA_ELEMENT_ELEMENTNUMBER_4">
              <a:hlinkClick r:id="rId21" action="ppaction://hlinksldjump"/>
              <a:extLst>
                <a:ext uri="{FF2B5EF4-FFF2-40B4-BE49-F238E27FC236}">
                  <a16:creationId xmlns:a16="http://schemas.microsoft.com/office/drawing/2014/main" id="{1D5C5F93-9B8E-403B-B897-B2A0427B5E73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gray">
            <a:xfrm>
              <a:off x="424815" y="2449463"/>
              <a:ext cx="444500" cy="4445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2000">
                  <a:solidFill>
                    <a:schemeClr val="dk1"/>
                  </a:solidFill>
                </a:rPr>
                <a:t>04</a:t>
              </a:r>
              <a:endParaRPr lang="de-DE" sz="2000" dirty="0">
                <a:solidFill>
                  <a:schemeClr val="dk1"/>
                </a:solidFill>
              </a:endParaRPr>
            </a:p>
          </p:txBody>
        </p:sp>
        <p:sp>
          <p:nvSpPr>
            <p:cNvPr id="10" name="MIO_AGENDA_ELEMENT_TITEL_5">
              <a:hlinkClick r:id="rId22" action="ppaction://hlinksldjump"/>
              <a:extLst>
                <a:ext uri="{FF2B5EF4-FFF2-40B4-BE49-F238E27FC236}">
                  <a16:creationId xmlns:a16="http://schemas.microsoft.com/office/drawing/2014/main" id="{0469837D-225F-4EB6-A2B7-9A49D74EF82A}"/>
                </a:ext>
              </a:extLst>
            </p:cNvPr>
            <p:cNvSpPr txBox="1">
              <a:spLocks/>
            </p:cNvSpPr>
            <p:nvPr>
              <p:custDataLst>
                <p:tags r:id="rId12"/>
              </p:custDataLst>
            </p:nvPr>
          </p:nvSpPr>
          <p:spPr bwMode="gray">
            <a:xfrm>
              <a:off x="869315" y="3084434"/>
              <a:ext cx="8599555" cy="44450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defPPr>
                <a:defRPr lang="de-DE"/>
              </a:defPPr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88" indent="-90488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66700" indent="-88900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 Light" panose="020F03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6pPr>
              <a:lvl7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1">
                  <a:solidFill>
                    <a:schemeClr val="dk1"/>
                  </a:solidFill>
                  <a:latin typeface="+mn-lt"/>
                </a:rPr>
                <a:t>Open Issues / to clarify</a:t>
              </a:r>
              <a:endParaRPr lang="de-DE" sz="1600" b="1" dirty="0">
                <a:solidFill>
                  <a:schemeClr val="dk1"/>
                </a:solidFill>
                <a:latin typeface="+mn-lt"/>
              </a:endParaRPr>
            </a:p>
          </p:txBody>
        </p:sp>
        <p:sp>
          <p:nvSpPr>
            <p:cNvPr id="11" name="MIO_AGENDA_ELEMENT_ELEMENTNUMBER_5">
              <a:hlinkClick r:id="rId22" action="ppaction://hlinksldjump"/>
              <a:extLst>
                <a:ext uri="{FF2B5EF4-FFF2-40B4-BE49-F238E27FC236}">
                  <a16:creationId xmlns:a16="http://schemas.microsoft.com/office/drawing/2014/main" id="{4A5E4DC2-67B8-41C0-B70E-2423306BCA1D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gray">
            <a:xfrm>
              <a:off x="424815" y="3084434"/>
              <a:ext cx="444500" cy="4445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2000" b="1">
                  <a:solidFill>
                    <a:schemeClr val="dk1"/>
                  </a:solidFill>
                </a:rPr>
                <a:t>05</a:t>
              </a:r>
              <a:endParaRPr lang="de-DE" sz="2000" b="1" dirty="0">
                <a:solidFill>
                  <a:schemeClr val="dk1"/>
                </a:solidFill>
              </a:endParaRPr>
            </a:p>
          </p:txBody>
        </p:sp>
        <p:sp>
          <p:nvSpPr>
            <p:cNvPr id="12" name="MIO_AGENDA_ELEMENT_TITEL_6">
              <a:hlinkClick r:id="rId23" action="ppaction://hlinksldjump"/>
              <a:extLst>
                <a:ext uri="{FF2B5EF4-FFF2-40B4-BE49-F238E27FC236}">
                  <a16:creationId xmlns:a16="http://schemas.microsoft.com/office/drawing/2014/main" id="{0469837D-225F-4EB6-A2B7-9A49D74EF82A}"/>
                </a:ext>
              </a:extLst>
            </p:cNvPr>
            <p:cNvSpPr txBox="1">
              <a:spLocks/>
            </p:cNvSpPr>
            <p:nvPr>
              <p:custDataLst>
                <p:tags r:id="rId14"/>
              </p:custDataLst>
            </p:nvPr>
          </p:nvSpPr>
          <p:spPr bwMode="gray">
            <a:xfrm>
              <a:off x="869315" y="3719405"/>
              <a:ext cx="8599555" cy="44450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defPPr>
                <a:defRPr lang="de-DE"/>
              </a:defPPr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88" indent="-90488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66700" indent="-88900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 Light" panose="020F03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6pPr>
              <a:lvl7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de-DE" sz="1600">
                  <a:solidFill>
                    <a:schemeClr val="dk1"/>
                  </a:solidFill>
                  <a:latin typeface="+mn-lt"/>
                </a:rPr>
                <a:t>Next Steps</a:t>
              </a:r>
              <a:endParaRPr lang="de-DE" sz="1600" dirty="0">
                <a:solidFill>
                  <a:schemeClr val="dk1"/>
                </a:solidFill>
                <a:latin typeface="+mn-lt"/>
              </a:endParaRPr>
            </a:p>
          </p:txBody>
        </p:sp>
        <p:sp>
          <p:nvSpPr>
            <p:cNvPr id="13" name="MIO_AGENDA_ELEMENT_ELEMENTNUMBER_6">
              <a:hlinkClick r:id="rId23" action="ppaction://hlinksldjump"/>
              <a:extLst>
                <a:ext uri="{FF2B5EF4-FFF2-40B4-BE49-F238E27FC236}">
                  <a16:creationId xmlns:a16="http://schemas.microsoft.com/office/drawing/2014/main" id="{1D5C5F93-9B8E-403B-B897-B2A0427B5E73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gray">
            <a:xfrm>
              <a:off x="424815" y="3719405"/>
              <a:ext cx="444500" cy="4445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2000">
                  <a:solidFill>
                    <a:schemeClr val="dk1"/>
                  </a:solidFill>
                </a:rPr>
                <a:t>06</a:t>
              </a:r>
              <a:endParaRPr lang="de-DE" sz="2000" dirty="0">
                <a:solidFill>
                  <a:schemeClr val="dk1"/>
                </a:solidFill>
              </a:endParaRPr>
            </a:p>
          </p:txBody>
        </p:sp>
      </p:grpSp>
      <p:sp>
        <p:nvSpPr>
          <p:cNvPr id="20" name="Titel 19">
            <a:extLst>
              <a:ext uri="{FF2B5EF4-FFF2-40B4-BE49-F238E27FC236}">
                <a16:creationId xmlns:a16="http://schemas.microsoft.com/office/drawing/2014/main" id="{52A87956-E7C3-8EA6-58AF-2EB5AB54E18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27588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60E4E1-8B62-F9F7-C04B-C851BD7C05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" name="think-cell data - do not delete" hidden="1">
            <a:extLst>
              <a:ext uri="{FF2B5EF4-FFF2-40B4-BE49-F238E27FC236}">
                <a16:creationId xmlns:a16="http://schemas.microsoft.com/office/drawing/2014/main" id="{B9E743BE-765F-D883-1599-10E90790EE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4122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94" imgW="473" imgH="473" progId="TCLayout.ActiveDocument.1">
                  <p:embed/>
                </p:oleObj>
              </mc:Choice>
              <mc:Fallback>
                <p:oleObj name="think-cell Folie" r:id="rId194" imgW="473" imgH="473" progId="TCLayout.ActiveDocument.1">
                  <p:embed/>
                  <p:pic>
                    <p:nvPicPr>
                      <p:cNvPr id="6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E743BE-765F-D883-1599-10E90790EE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6374246-7085-C4BE-FBF7-39C9E64F74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IS100 Workshop – Installation Plan Dipole and quadrupole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AE36E54-B1C0-2DD5-9991-CE8C155CA7D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 dirty="0"/>
              <a:t>Open issues / to clarify (</a:t>
            </a:r>
            <a:r>
              <a:rPr lang="en-US" dirty="0"/>
              <a:t>Status delivery until today</a:t>
            </a:r>
            <a:r>
              <a:rPr lang="pt-BR" dirty="0"/>
              <a:t>)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457129-88AC-E2EB-1BBF-38AD326500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662001E-AAA8-D1F4-20D1-40AAD45318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DE358E5-A45B-BA06-BDB0-69E43FA9B2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9449A-3FF3-45CE-9F4F-09BADC0910C6}" type="slidenum">
              <a:rPr lang="de-DE" noProof="0"/>
              <a:t>14</a:t>
            </a:fld>
            <a:endParaRPr lang="de-DE" noProof="0" dirty="0"/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FCD1A875-BA22-CD09-347C-2D374A2ED7D6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4100514" y="2309812"/>
            <a:ext cx="119063" cy="3333750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23FBFB5-05D7-5535-A221-7E07C4E67F4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6170614" y="2309812"/>
            <a:ext cx="119063" cy="3333750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E2B4E21F-BA9A-05FD-7173-4BB396FF0E3F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8239125" y="2309812"/>
            <a:ext cx="120650" cy="3333750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84F9A621-C884-F91F-C979-825A26191D94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10309226" y="2309812"/>
            <a:ext cx="74613" cy="3333750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19" name="text">
            <a:extLst>
              <a:ext uri="{FF2B5EF4-FFF2-40B4-BE49-F238E27FC236}">
                <a16:creationId xmlns:a16="http://schemas.microsoft.com/office/drawing/2014/main" id="{81577CF1-D1C3-36CA-1FAD-079D190FEE3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082800" y="1601788"/>
            <a:ext cx="20748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02F4FE3-1A2A-4D1E-B90B-6D4D4AE5980A}" type="datetime'''''''2''''025'''''''''''''''''''''''''''''">
              <a:rPr lang="en-US" altLang="en-US" b="1" smtClean="0"/>
              <a:pPr/>
              <a:t>2025</a:t>
            </a:fld>
            <a:endParaRPr lang="en-US" b="1" dirty="0"/>
          </a:p>
        </p:txBody>
      </p:sp>
      <p:sp>
        <p:nvSpPr>
          <p:cNvPr id="505" name="text">
            <a:extLst>
              <a:ext uri="{FF2B5EF4-FFF2-40B4-BE49-F238E27FC236}">
                <a16:creationId xmlns:a16="http://schemas.microsoft.com/office/drawing/2014/main" id="{987F498C-3781-1BB3-AC44-9775A87AF55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157663" y="1601788"/>
            <a:ext cx="20748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14216BF-C595-40C5-BE77-C33A25291AE9}" type="datetime'''20''''''''''2''''''''''''''''''''''6'">
              <a:rPr lang="en-US" altLang="en-US" b="1" smtClean="0"/>
              <a:pPr/>
              <a:t>2026</a:t>
            </a:fld>
            <a:endParaRPr lang="en-US" b="1" dirty="0"/>
          </a:p>
        </p:txBody>
      </p:sp>
      <p:sp>
        <p:nvSpPr>
          <p:cNvPr id="544" name="text">
            <a:extLst>
              <a:ext uri="{FF2B5EF4-FFF2-40B4-BE49-F238E27FC236}">
                <a16:creationId xmlns:a16="http://schemas.microsoft.com/office/drawing/2014/main" id="{1794C169-55AC-82B4-A790-1E85A929F3F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232525" y="1601788"/>
            <a:ext cx="20748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F38DC23-C9E9-43FB-A5D4-8322146BEBBB}" type="datetime'''20''''''2''''''''''''''''''''''''''''''''7'''''''''''">
              <a:rPr lang="en-US" altLang="en-US" b="1" smtClean="0"/>
              <a:pPr/>
              <a:t>2027</a:t>
            </a:fld>
            <a:endParaRPr lang="en-US" b="1" dirty="0"/>
          </a:p>
        </p:txBody>
      </p:sp>
      <p:sp>
        <p:nvSpPr>
          <p:cNvPr id="593" name="text">
            <a:extLst>
              <a:ext uri="{FF2B5EF4-FFF2-40B4-BE49-F238E27FC236}">
                <a16:creationId xmlns:a16="http://schemas.microsoft.com/office/drawing/2014/main" id="{78A5BB9D-41FF-E2EE-ABE9-48F9E52F0A84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307388" y="1601788"/>
            <a:ext cx="20812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209150C-C0DE-4561-B062-B29A358BD156}" type="datetime'''''''2''''''0''''''''''2''''''''''''''''''8'''''''''''">
              <a:rPr lang="en-US" altLang="en-US" b="1" smtClean="0"/>
              <a:pPr/>
              <a:t>2028</a:t>
            </a:fld>
            <a:endParaRPr lang="en-US" b="1" dirty="0"/>
          </a:p>
        </p:txBody>
      </p:sp>
      <p:sp>
        <p:nvSpPr>
          <p:cNvPr id="32" name="text">
            <a:extLst>
              <a:ext uri="{FF2B5EF4-FFF2-40B4-BE49-F238E27FC236}">
                <a16:creationId xmlns:a16="http://schemas.microsoft.com/office/drawing/2014/main" id="{55A0041A-3B77-4A3A-7F35-455AB24B7226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082800" y="1862138"/>
            <a:ext cx="51117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B8275DF-5E9B-49A5-8780-BC08C13BBDFE}" type="datetime'''''Q''''1'''''''''''''''''''''''''''''''''''''''''''">
              <a:rPr lang="en-US" altLang="en-US" b="1" smtClean="0"/>
              <a:pPr/>
              <a:t>Q1</a:t>
            </a:fld>
            <a:endParaRPr lang="en-US" b="1" dirty="0"/>
          </a:p>
        </p:txBody>
      </p:sp>
      <p:sp>
        <p:nvSpPr>
          <p:cNvPr id="33" name="text">
            <a:extLst>
              <a:ext uri="{FF2B5EF4-FFF2-40B4-BE49-F238E27FC236}">
                <a16:creationId xmlns:a16="http://schemas.microsoft.com/office/drawing/2014/main" id="{F7BB88E9-33BB-1C8D-83EB-07C82CC7AC6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593975" y="1862138"/>
            <a:ext cx="51752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1D2B027-699A-4652-9575-1FAD05D5A940}" type="datetime'''''''''Q''''2'''''''''''''''''''''''''''">
              <a:rPr lang="en-US" altLang="en-US" b="1" smtClean="0"/>
              <a:pPr/>
              <a:t>Q2</a:t>
            </a:fld>
            <a:endParaRPr lang="en-US" b="1" dirty="0"/>
          </a:p>
        </p:txBody>
      </p:sp>
      <p:sp>
        <p:nvSpPr>
          <p:cNvPr id="406" name="text">
            <a:extLst>
              <a:ext uri="{FF2B5EF4-FFF2-40B4-BE49-F238E27FC236}">
                <a16:creationId xmlns:a16="http://schemas.microsoft.com/office/drawing/2014/main" id="{445A62D6-EC96-F2CC-972A-19B8A8194C58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111500" y="1862138"/>
            <a:ext cx="52387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AD80CA9-3A45-47D4-A0F6-4F9DF0A26299}" type="datetime'''Q3'''''''''''''">
              <a:rPr lang="en-US" altLang="en-US" b="1" smtClean="0"/>
              <a:pPr/>
              <a:t>Q3</a:t>
            </a:fld>
            <a:endParaRPr lang="en-US" b="1" dirty="0"/>
          </a:p>
        </p:txBody>
      </p:sp>
      <p:sp>
        <p:nvSpPr>
          <p:cNvPr id="407" name="text">
            <a:extLst>
              <a:ext uri="{FF2B5EF4-FFF2-40B4-BE49-F238E27FC236}">
                <a16:creationId xmlns:a16="http://schemas.microsoft.com/office/drawing/2014/main" id="{38C0A37C-DE0E-DFEC-2C9C-00271579908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635375" y="1862138"/>
            <a:ext cx="52228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D73C281-6788-4916-9632-5A2D9D5F72A2}" type="datetime'Q4'''''''''''">
              <a:rPr lang="en-US" altLang="en-US" b="1" smtClean="0"/>
              <a:pPr/>
              <a:t>Q4</a:t>
            </a:fld>
            <a:endParaRPr lang="en-US" b="1" dirty="0"/>
          </a:p>
        </p:txBody>
      </p:sp>
      <p:sp>
        <p:nvSpPr>
          <p:cNvPr id="497" name="text">
            <a:extLst>
              <a:ext uri="{FF2B5EF4-FFF2-40B4-BE49-F238E27FC236}">
                <a16:creationId xmlns:a16="http://schemas.microsoft.com/office/drawing/2014/main" id="{309A8AC3-D2BB-23B9-C0EF-2C80A63ACF03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157663" y="1862138"/>
            <a:ext cx="51117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75BFCDF-E2A1-431E-8EE0-5000BA81F963}" type="datetime'''''''''''''''''''''''''Q1'''''">
              <a:rPr lang="en-US" altLang="en-US" b="1" smtClean="0"/>
              <a:pPr/>
              <a:t>Q1</a:t>
            </a:fld>
            <a:endParaRPr lang="en-US" b="1" dirty="0"/>
          </a:p>
        </p:txBody>
      </p:sp>
      <p:sp>
        <p:nvSpPr>
          <p:cNvPr id="498" name="text">
            <a:extLst>
              <a:ext uri="{FF2B5EF4-FFF2-40B4-BE49-F238E27FC236}">
                <a16:creationId xmlns:a16="http://schemas.microsoft.com/office/drawing/2014/main" id="{0D1346D7-62F3-B62D-1169-3870239B217B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668838" y="1862138"/>
            <a:ext cx="51752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0ADFC55-3886-4F74-8205-E6781F7E51EF}" type="datetime'''''''''''''''''''''''''''''''''''Q''''''''''''''2'''''''">
              <a:rPr lang="en-US" altLang="en-US" b="1" smtClean="0"/>
              <a:pPr/>
              <a:t>Q2</a:t>
            </a:fld>
            <a:endParaRPr lang="en-US" b="1" dirty="0"/>
          </a:p>
        </p:txBody>
      </p:sp>
      <p:sp>
        <p:nvSpPr>
          <p:cNvPr id="499" name="text">
            <a:extLst>
              <a:ext uri="{FF2B5EF4-FFF2-40B4-BE49-F238E27FC236}">
                <a16:creationId xmlns:a16="http://schemas.microsoft.com/office/drawing/2014/main" id="{BF325FCD-254A-1FCD-0B2C-31D5736EE3F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186363" y="1862138"/>
            <a:ext cx="52387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A9D8F26-01FA-43D4-BB68-A2C11942FD84}" type="datetime'''Q''''''''''''''''''''''''''''''''''''''''''''''''''''3'''''">
              <a:rPr lang="en-US" altLang="en-US" b="1" smtClean="0"/>
              <a:pPr/>
              <a:t>Q3</a:t>
            </a:fld>
            <a:endParaRPr lang="en-US" b="1" dirty="0"/>
          </a:p>
        </p:txBody>
      </p:sp>
      <p:sp>
        <p:nvSpPr>
          <p:cNvPr id="500" name="text">
            <a:extLst>
              <a:ext uri="{FF2B5EF4-FFF2-40B4-BE49-F238E27FC236}">
                <a16:creationId xmlns:a16="http://schemas.microsoft.com/office/drawing/2014/main" id="{C0D5B6AA-7D42-B023-573C-4B382349CC54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710238" y="1862138"/>
            <a:ext cx="52228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1FC14B9-B0F7-49A3-B82F-6545FBC37EDC}" type="datetime'''''''''''Q''''''''''''''''''''''4'''''''">
              <a:rPr lang="en-US" altLang="en-US" b="1" smtClean="0"/>
              <a:pPr/>
              <a:t>Q4</a:t>
            </a:fld>
            <a:endParaRPr lang="en-US" b="1" dirty="0"/>
          </a:p>
        </p:txBody>
      </p:sp>
      <p:sp>
        <p:nvSpPr>
          <p:cNvPr id="540" name="text">
            <a:extLst>
              <a:ext uri="{FF2B5EF4-FFF2-40B4-BE49-F238E27FC236}">
                <a16:creationId xmlns:a16="http://schemas.microsoft.com/office/drawing/2014/main" id="{96A33C7E-F1A8-9A78-A188-A288DC1DEA9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232525" y="1862138"/>
            <a:ext cx="5127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F913DF8-AF63-4911-9044-347BED8B935B}" type="datetime'''Q''''''''''''''''''''''''''''1'''''''''''">
              <a:rPr lang="en-US" altLang="en-US" b="1" smtClean="0"/>
              <a:pPr/>
              <a:t>Q1</a:t>
            </a:fld>
            <a:endParaRPr lang="en-US" b="1" dirty="0"/>
          </a:p>
        </p:txBody>
      </p:sp>
      <p:sp>
        <p:nvSpPr>
          <p:cNvPr id="541" name="text">
            <a:extLst>
              <a:ext uri="{FF2B5EF4-FFF2-40B4-BE49-F238E27FC236}">
                <a16:creationId xmlns:a16="http://schemas.microsoft.com/office/drawing/2014/main" id="{C301E60B-973D-F7AD-F9A2-9D130690FAE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745288" y="1862138"/>
            <a:ext cx="51593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23BB49B-F987-4D5E-B1FB-A45DC4DC2BAE}" type="datetime'''''''''''''''Q''''''''''''''''''''''2'''''''''''''''''''''">
              <a:rPr lang="en-US" altLang="en-US" b="1" smtClean="0"/>
              <a:pPr/>
              <a:t>Q2</a:t>
            </a:fld>
            <a:endParaRPr lang="en-US" b="1" dirty="0"/>
          </a:p>
        </p:txBody>
      </p:sp>
      <p:sp>
        <p:nvSpPr>
          <p:cNvPr id="542" name="text">
            <a:extLst>
              <a:ext uri="{FF2B5EF4-FFF2-40B4-BE49-F238E27FC236}">
                <a16:creationId xmlns:a16="http://schemas.microsoft.com/office/drawing/2014/main" id="{F6A074BA-B143-22AF-29D4-2FA5046DD7AD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261225" y="1862138"/>
            <a:ext cx="52387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4AF189E-61C0-4071-BABB-68D2781C0521}" type="datetime'''''''''''''Q3'">
              <a:rPr lang="en-US" altLang="en-US" b="1" smtClean="0"/>
              <a:pPr/>
              <a:t>Q3</a:t>
            </a:fld>
            <a:endParaRPr lang="en-US" b="1" dirty="0"/>
          </a:p>
        </p:txBody>
      </p:sp>
      <p:sp>
        <p:nvSpPr>
          <p:cNvPr id="543" name="text">
            <a:extLst>
              <a:ext uri="{FF2B5EF4-FFF2-40B4-BE49-F238E27FC236}">
                <a16:creationId xmlns:a16="http://schemas.microsoft.com/office/drawing/2014/main" id="{7DE62CBB-1EEC-A4F9-65BB-B27AEA9F7CC6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7785100" y="1862138"/>
            <a:ext cx="52228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C44E379-C25F-4312-88C0-9E59046226C3}" type="datetime'''Q''''''''''''''''''''''4'''''''''''''''''''''">
              <a:rPr lang="en-US" altLang="en-US" b="1" smtClean="0"/>
              <a:pPr/>
              <a:t>Q4</a:t>
            </a:fld>
            <a:endParaRPr lang="en-US" b="1" dirty="0"/>
          </a:p>
        </p:txBody>
      </p:sp>
      <p:sp>
        <p:nvSpPr>
          <p:cNvPr id="589" name="text">
            <a:extLst>
              <a:ext uri="{FF2B5EF4-FFF2-40B4-BE49-F238E27FC236}">
                <a16:creationId xmlns:a16="http://schemas.microsoft.com/office/drawing/2014/main" id="{B999C725-B143-8091-D8FD-AD20F7C1C82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8307388" y="1862138"/>
            <a:ext cx="51752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EA13AA6-F14D-4345-812D-CE7997E98106}" type="datetime'''''''''''''''''''''''''''Q''''''''''''''''1'''''">
              <a:rPr lang="en-US" altLang="en-US" b="1" smtClean="0"/>
              <a:pPr/>
              <a:t>Q1</a:t>
            </a:fld>
            <a:endParaRPr lang="en-US" b="1" dirty="0"/>
          </a:p>
        </p:txBody>
      </p:sp>
      <p:sp>
        <p:nvSpPr>
          <p:cNvPr id="590" name="text">
            <a:extLst>
              <a:ext uri="{FF2B5EF4-FFF2-40B4-BE49-F238E27FC236}">
                <a16:creationId xmlns:a16="http://schemas.microsoft.com/office/drawing/2014/main" id="{6FDCBC71-A7F9-0C9B-66CA-17F4FA55A3B4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8824913" y="1862138"/>
            <a:ext cx="51752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C34017C-3044-42FD-BBEF-73F3DB32D6E7}" type="datetime'''''''''''Q''''''''''''''''''''''''''''''2'''">
              <a:rPr lang="en-US" altLang="en-US" b="1" smtClean="0"/>
              <a:pPr/>
              <a:t>Q2</a:t>
            </a:fld>
            <a:endParaRPr lang="en-US" b="1" dirty="0"/>
          </a:p>
        </p:txBody>
      </p:sp>
      <p:sp>
        <p:nvSpPr>
          <p:cNvPr id="591" name="text">
            <a:extLst>
              <a:ext uri="{FF2B5EF4-FFF2-40B4-BE49-F238E27FC236}">
                <a16:creationId xmlns:a16="http://schemas.microsoft.com/office/drawing/2014/main" id="{5BD9243C-769C-07DB-E738-EE8175AEACF4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9342438" y="1862138"/>
            <a:ext cx="52387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426FF7B-0F60-4923-8BFC-AEE974644245}" type="datetime'''''''''''''''''''''''''''''''''''''''''''Q''''''3'''">
              <a:rPr lang="en-US" altLang="en-US" b="1" smtClean="0"/>
              <a:pPr/>
              <a:t>Q3</a:t>
            </a:fld>
            <a:endParaRPr lang="en-US" b="1" dirty="0"/>
          </a:p>
        </p:txBody>
      </p:sp>
      <p:sp>
        <p:nvSpPr>
          <p:cNvPr id="592" name="text">
            <a:extLst>
              <a:ext uri="{FF2B5EF4-FFF2-40B4-BE49-F238E27FC236}">
                <a16:creationId xmlns:a16="http://schemas.microsoft.com/office/drawing/2014/main" id="{3A8C8C94-FCD5-C3ED-60CE-0B179C74FC2F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9866313" y="1862138"/>
            <a:ext cx="52228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FAB18D2-2786-4855-A580-645F2425FCE6}" type="datetime'''''''Q''''''''''''''''''''''''4'''''''''''''''''">
              <a:rPr lang="en-US" altLang="en-US" b="1" smtClean="0"/>
              <a:pPr/>
              <a:t>Q4</a:t>
            </a:fld>
            <a:endParaRPr lang="en-US" b="1" dirty="0"/>
          </a:p>
        </p:txBody>
      </p:sp>
      <p:sp>
        <p:nvSpPr>
          <p:cNvPr id="21" name="text">
            <a:extLst>
              <a:ext uri="{FF2B5EF4-FFF2-40B4-BE49-F238E27FC236}">
                <a16:creationId xmlns:a16="http://schemas.microsoft.com/office/drawing/2014/main" id="{11027F0B-E518-48A5-BE84-5B5672EF8C1E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082801" y="2122488"/>
            <a:ext cx="1762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02FB7DE-205F-4295-9046-87A4D561AE2D}" type="datetime'''''''''''''''''''1'''">
              <a:rPr lang="en-US" altLang="en-US" sz="1000" smtClean="0"/>
              <a:pPr/>
              <a:t>1</a:t>
            </a:fld>
            <a:endParaRPr lang="en-US" sz="1000" dirty="0"/>
          </a:p>
        </p:txBody>
      </p:sp>
      <p:sp>
        <p:nvSpPr>
          <p:cNvPr id="22" name="text">
            <a:extLst>
              <a:ext uri="{FF2B5EF4-FFF2-40B4-BE49-F238E27FC236}">
                <a16:creationId xmlns:a16="http://schemas.microsoft.com/office/drawing/2014/main" id="{CDA66F45-81F3-060F-E6EF-76EB0AC73B3C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259013" y="2122488"/>
            <a:ext cx="15875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8AF281C-69B3-48F2-BC84-9DAEB6F836F5}" type="datetime'''''''''2'''''''">
              <a:rPr lang="en-US" altLang="en-US" sz="1000" smtClean="0"/>
              <a:pPr/>
              <a:t>2</a:t>
            </a:fld>
            <a:endParaRPr lang="en-US" sz="1000" dirty="0"/>
          </a:p>
        </p:txBody>
      </p:sp>
      <p:sp>
        <p:nvSpPr>
          <p:cNvPr id="24" name="text">
            <a:extLst>
              <a:ext uri="{FF2B5EF4-FFF2-40B4-BE49-F238E27FC236}">
                <a16:creationId xmlns:a16="http://schemas.microsoft.com/office/drawing/2014/main" id="{16A04C64-4A72-5983-C235-601E8525B100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2417764" y="2122488"/>
            <a:ext cx="1762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AC38677-8151-4C1A-9BDC-A23A5872360E}" type="datetime'''''''''3'''''''''">
              <a:rPr lang="en-US" altLang="en-US" sz="1000" smtClean="0"/>
              <a:pPr/>
              <a:t>3</a:t>
            </a:fld>
            <a:endParaRPr lang="en-US" sz="1000" dirty="0"/>
          </a:p>
        </p:txBody>
      </p:sp>
      <p:sp>
        <p:nvSpPr>
          <p:cNvPr id="25" name="text">
            <a:extLst>
              <a:ext uri="{FF2B5EF4-FFF2-40B4-BE49-F238E27FC236}">
                <a16:creationId xmlns:a16="http://schemas.microsoft.com/office/drawing/2014/main" id="{AD692227-98F6-A71C-C2C1-C79897B1C727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2593975" y="2122488"/>
            <a:ext cx="17145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B1BE814-3DF9-4D02-B242-79D7A0D1C553}" type="datetime'''''4'''''''''''''''">
              <a:rPr lang="en-US" altLang="en-US" sz="1000" smtClean="0"/>
              <a:pPr/>
              <a:t>4</a:t>
            </a:fld>
            <a:endParaRPr lang="en-US" sz="1000" dirty="0"/>
          </a:p>
        </p:txBody>
      </p:sp>
      <p:sp>
        <p:nvSpPr>
          <p:cNvPr id="29" name="text">
            <a:extLst>
              <a:ext uri="{FF2B5EF4-FFF2-40B4-BE49-F238E27FC236}">
                <a16:creationId xmlns:a16="http://schemas.microsoft.com/office/drawing/2014/main" id="{F92CA71C-F5F5-5A2D-FBF4-930B65968C3C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2765426" y="2122488"/>
            <a:ext cx="1762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1D2C36E-2535-4CCB-9C04-C34C96FBAB3C}" type="datetime'''''''''''''''''''''''5'''''''''''">
              <a:rPr lang="en-US" altLang="en-US" sz="1000" smtClean="0"/>
              <a:pPr/>
              <a:t>5</a:t>
            </a:fld>
            <a:endParaRPr lang="en-US" sz="1000" dirty="0"/>
          </a:p>
        </p:txBody>
      </p:sp>
      <p:sp>
        <p:nvSpPr>
          <p:cNvPr id="30" name="text">
            <a:extLst>
              <a:ext uri="{FF2B5EF4-FFF2-40B4-BE49-F238E27FC236}">
                <a16:creationId xmlns:a16="http://schemas.microsoft.com/office/drawing/2014/main" id="{0C6BB927-F06C-3A8A-F4E8-FDE95CAB6FFA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2941639" y="2122488"/>
            <a:ext cx="16986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2B85282-0B5D-4098-832A-3F083459B9AA}" type="datetime'''''''6'''''''''''''''''''''''''''''''''''''''">
              <a:rPr lang="en-US" altLang="en-US" sz="1000" smtClean="0"/>
              <a:pPr/>
              <a:t>6</a:t>
            </a:fld>
            <a:endParaRPr lang="en-US" sz="1000" dirty="0"/>
          </a:p>
        </p:txBody>
      </p:sp>
      <p:sp>
        <p:nvSpPr>
          <p:cNvPr id="52" name="text">
            <a:extLst>
              <a:ext uri="{FF2B5EF4-FFF2-40B4-BE49-F238E27FC236}">
                <a16:creationId xmlns:a16="http://schemas.microsoft.com/office/drawing/2014/main" id="{A255AE73-7A2A-8C7D-BD2B-20587CB10871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3111501" y="2122488"/>
            <a:ext cx="1762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6227835-67C0-4A02-912A-6D08E049CB27}" type="datetime'''''''''''''''''''''''''''''''''''''''''''''''''7'''''''''''''">
              <a:rPr lang="en-US" altLang="en-US" sz="1000" smtClean="0"/>
              <a:pPr/>
              <a:t>7</a:t>
            </a:fld>
            <a:endParaRPr lang="en-US" sz="1000" dirty="0"/>
          </a:p>
        </p:txBody>
      </p:sp>
      <p:sp>
        <p:nvSpPr>
          <p:cNvPr id="54" name="text">
            <a:extLst>
              <a:ext uri="{FF2B5EF4-FFF2-40B4-BE49-F238E27FC236}">
                <a16:creationId xmlns:a16="http://schemas.microsoft.com/office/drawing/2014/main" id="{35926A00-34DB-681E-D1F8-448547AF50FB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3287714" y="2122488"/>
            <a:ext cx="1762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1088191-E52A-442D-B344-7DF4E5447A3F}" type="datetime'''''''''''8'">
              <a:rPr lang="en-US" altLang="en-US" sz="1000" smtClean="0"/>
              <a:pPr/>
              <a:t>8</a:t>
            </a:fld>
            <a:endParaRPr lang="en-US" sz="1000" dirty="0"/>
          </a:p>
        </p:txBody>
      </p:sp>
      <p:sp>
        <p:nvSpPr>
          <p:cNvPr id="38" name="text">
            <a:extLst>
              <a:ext uri="{FF2B5EF4-FFF2-40B4-BE49-F238E27FC236}">
                <a16:creationId xmlns:a16="http://schemas.microsoft.com/office/drawing/2014/main" id="{5D8D9FD8-F78C-F902-A178-AC0B84CA290C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3463925" y="2122489"/>
            <a:ext cx="17145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941CB51-7924-4FED-B609-7CAA243ED190}" type="datetime'''''''''''''''''''''''''''''''''''''''''''''''''9'''''">
              <a:rPr lang="en-US" altLang="en-US" sz="1000" smtClean="0"/>
              <a:pPr/>
              <a:t>9</a:t>
            </a:fld>
            <a:endParaRPr lang="en-US" sz="1000" dirty="0"/>
          </a:p>
        </p:txBody>
      </p:sp>
      <p:sp>
        <p:nvSpPr>
          <p:cNvPr id="39" name="text">
            <a:extLst>
              <a:ext uri="{FF2B5EF4-FFF2-40B4-BE49-F238E27FC236}">
                <a16:creationId xmlns:a16="http://schemas.microsoft.com/office/drawing/2014/main" id="{F54C4149-DEA7-BF5F-363E-2FC7261D68E6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3635376" y="2122489"/>
            <a:ext cx="1762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80038D6-A1D4-4852-A2D8-3C728E888BA2}" type="datetime'''''''''''''''''''''''''''''''''''''''''''''''''10'''''">
              <a:rPr lang="en-US" altLang="en-US" sz="1000" smtClean="0"/>
              <a:pPr/>
              <a:t>10</a:t>
            </a:fld>
            <a:endParaRPr lang="en-US" sz="1000" dirty="0"/>
          </a:p>
        </p:txBody>
      </p:sp>
      <p:sp>
        <p:nvSpPr>
          <p:cNvPr id="40" name="text">
            <a:extLst>
              <a:ext uri="{FF2B5EF4-FFF2-40B4-BE49-F238E27FC236}">
                <a16:creationId xmlns:a16="http://schemas.microsoft.com/office/drawing/2014/main" id="{7D048D03-AD8A-6D3D-494C-86CD440CD7CD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3811589" y="2122489"/>
            <a:ext cx="16986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45B2CB4-4108-4D87-AF1D-C80954AAC9D4}" type="datetime'''''''''''''''''''1''''''''''''''''''1'''''''''''''''''''">
              <a:rPr lang="en-US" altLang="en-US" sz="1000" smtClean="0"/>
              <a:pPr/>
              <a:t>11</a:t>
            </a:fld>
            <a:endParaRPr lang="en-US" sz="1000" dirty="0"/>
          </a:p>
        </p:txBody>
      </p:sp>
      <p:sp>
        <p:nvSpPr>
          <p:cNvPr id="469" name="text">
            <a:extLst>
              <a:ext uri="{FF2B5EF4-FFF2-40B4-BE49-F238E27FC236}">
                <a16:creationId xmlns:a16="http://schemas.microsoft.com/office/drawing/2014/main" id="{2CE71B75-3323-BB5E-87C4-3047B127F7AC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3981451" y="2122488"/>
            <a:ext cx="1762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261B0F0-1350-45E5-817C-E87B899581AF}" type="datetime'''''''''''''''''''''1''''''''''2'''''''''''''">
              <a:rPr lang="en-US" altLang="en-US" sz="1000" smtClean="0"/>
              <a:pPr/>
              <a:t>12</a:t>
            </a:fld>
            <a:endParaRPr lang="en-US" sz="1000" dirty="0"/>
          </a:p>
        </p:txBody>
      </p:sp>
      <p:sp>
        <p:nvSpPr>
          <p:cNvPr id="472" name="text">
            <a:extLst>
              <a:ext uri="{FF2B5EF4-FFF2-40B4-BE49-F238E27FC236}">
                <a16:creationId xmlns:a16="http://schemas.microsoft.com/office/drawing/2014/main" id="{BB8B0B81-71F9-3D1E-32A3-8C5F599A37A5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4157664" y="2122488"/>
            <a:ext cx="1762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F702AA0-B630-49E4-A60E-31CA08924D99}" type="datetime'''''''''''''1'''''''''''''''''''''''''''''''''''''''''''''''">
              <a:rPr lang="en-US" altLang="en-US" sz="1000" smtClean="0"/>
              <a:pPr/>
              <a:t>1</a:t>
            </a:fld>
            <a:endParaRPr lang="en-US" sz="1000" dirty="0"/>
          </a:p>
        </p:txBody>
      </p:sp>
      <p:sp>
        <p:nvSpPr>
          <p:cNvPr id="474" name="text">
            <a:extLst>
              <a:ext uri="{FF2B5EF4-FFF2-40B4-BE49-F238E27FC236}">
                <a16:creationId xmlns:a16="http://schemas.microsoft.com/office/drawing/2014/main" id="{FDB81C9E-35CA-72C8-D315-CFB8B5D0772A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4333875" y="2122488"/>
            <a:ext cx="15875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F63A27C-B2B0-4E3B-9F57-04710E53A2D8}" type="datetime'2'''''''''''''''''''''''''''''''''''''''''''''''''''''''">
              <a:rPr lang="en-US" altLang="en-US" sz="1000" smtClean="0"/>
              <a:pPr/>
              <a:t>2</a:t>
            </a:fld>
            <a:endParaRPr lang="en-US" sz="1000" dirty="0"/>
          </a:p>
        </p:txBody>
      </p:sp>
      <p:sp>
        <p:nvSpPr>
          <p:cNvPr id="475" name="text">
            <a:extLst>
              <a:ext uri="{FF2B5EF4-FFF2-40B4-BE49-F238E27FC236}">
                <a16:creationId xmlns:a16="http://schemas.microsoft.com/office/drawing/2014/main" id="{50B45DA6-7C69-30FC-56CA-B2C0EF4F3C8D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4492626" y="2122488"/>
            <a:ext cx="1762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16E0D43-444E-4C37-8D9E-A6EA60A4AA86}" type="datetime'''''''''''''''''''''3'''''''''''''''''''''''''''''''">
              <a:rPr lang="en-US" altLang="en-US" sz="1000" smtClean="0"/>
              <a:pPr/>
              <a:t>3</a:t>
            </a:fld>
            <a:endParaRPr lang="en-US" sz="1000" dirty="0"/>
          </a:p>
        </p:txBody>
      </p:sp>
      <p:sp>
        <p:nvSpPr>
          <p:cNvPr id="476" name="text">
            <a:extLst>
              <a:ext uri="{FF2B5EF4-FFF2-40B4-BE49-F238E27FC236}">
                <a16:creationId xmlns:a16="http://schemas.microsoft.com/office/drawing/2014/main" id="{418DD012-5C6A-FD5A-714D-1DEA5FC9671F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4668838" y="2122488"/>
            <a:ext cx="17145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51CC9CE-6B89-4724-8F7E-B907E19ADF70}" type="datetime'''''''''''''4'''''''''''''''''''''''''''''''''''''''''''''''''">
              <a:rPr lang="en-US" altLang="en-US" sz="1000" smtClean="0"/>
              <a:pPr/>
              <a:t>4</a:t>
            </a:fld>
            <a:endParaRPr lang="en-US" sz="1000" dirty="0"/>
          </a:p>
        </p:txBody>
      </p:sp>
      <p:sp>
        <p:nvSpPr>
          <p:cNvPr id="477" name="text">
            <a:extLst>
              <a:ext uri="{FF2B5EF4-FFF2-40B4-BE49-F238E27FC236}">
                <a16:creationId xmlns:a16="http://schemas.microsoft.com/office/drawing/2014/main" id="{8BB4EFA8-73C7-A4DD-B179-8ADB295E5DB6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4840289" y="2122488"/>
            <a:ext cx="1762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3A3575F-0B79-4925-9241-6E52B7C864C1}" type="datetime'''''''5'''''''''''''''''''''''">
              <a:rPr lang="en-US" altLang="en-US" sz="1000" smtClean="0"/>
              <a:pPr/>
              <a:t>5</a:t>
            </a:fld>
            <a:endParaRPr lang="en-US" sz="1000" dirty="0"/>
          </a:p>
        </p:txBody>
      </p:sp>
      <p:sp>
        <p:nvSpPr>
          <p:cNvPr id="478" name="text">
            <a:extLst>
              <a:ext uri="{FF2B5EF4-FFF2-40B4-BE49-F238E27FC236}">
                <a16:creationId xmlns:a16="http://schemas.microsoft.com/office/drawing/2014/main" id="{0D4E33F8-0F98-731D-1A6A-6EE70C58B5CE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5016501" y="2122488"/>
            <a:ext cx="16986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72E5D5F-6973-402A-B6BD-D0EC83125BBF}" type="datetime'''''''''''''6'''''''">
              <a:rPr lang="en-US" altLang="en-US" sz="1000" smtClean="0"/>
              <a:pPr/>
              <a:t>6</a:t>
            </a:fld>
            <a:endParaRPr lang="en-US" sz="1000" dirty="0"/>
          </a:p>
        </p:txBody>
      </p:sp>
      <p:sp>
        <p:nvSpPr>
          <p:cNvPr id="479" name="text">
            <a:extLst>
              <a:ext uri="{FF2B5EF4-FFF2-40B4-BE49-F238E27FC236}">
                <a16:creationId xmlns:a16="http://schemas.microsoft.com/office/drawing/2014/main" id="{0D7C081C-C919-7A3E-B2C4-C3A9D2C1E00E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5186364" y="2122488"/>
            <a:ext cx="1762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2609581-7493-4850-869F-2CA03D157510}" type="datetime'''''''''''''''''''''7'''''''''''''''''''''''''''''''''''''''">
              <a:rPr lang="en-US" altLang="en-US" sz="1000" smtClean="0"/>
              <a:pPr/>
              <a:t>7</a:t>
            </a:fld>
            <a:endParaRPr lang="en-US" sz="1000" dirty="0"/>
          </a:p>
        </p:txBody>
      </p:sp>
      <p:sp>
        <p:nvSpPr>
          <p:cNvPr id="480" name="text">
            <a:extLst>
              <a:ext uri="{FF2B5EF4-FFF2-40B4-BE49-F238E27FC236}">
                <a16:creationId xmlns:a16="http://schemas.microsoft.com/office/drawing/2014/main" id="{9A364AE5-8F6F-9644-530E-7D00A5D55EF5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5362576" y="2122488"/>
            <a:ext cx="1762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FA5D2F6-FB9F-4E2A-BBA8-3BA824B05D62}" type="datetime'''''''''''''''8'''''''''''''''">
              <a:rPr lang="en-US" altLang="en-US" sz="1000" smtClean="0"/>
              <a:pPr/>
              <a:t>8</a:t>
            </a:fld>
            <a:endParaRPr lang="en-US" sz="1000" dirty="0"/>
          </a:p>
        </p:txBody>
      </p:sp>
      <p:sp>
        <p:nvSpPr>
          <p:cNvPr id="481" name="text">
            <a:extLst>
              <a:ext uri="{FF2B5EF4-FFF2-40B4-BE49-F238E27FC236}">
                <a16:creationId xmlns:a16="http://schemas.microsoft.com/office/drawing/2014/main" id="{B2318779-DE56-599A-CB32-3F278568EFC8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5538788" y="2122488"/>
            <a:ext cx="17145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1435BFF-DFC9-4147-88F1-BCCACEB53CEE}" type="datetime'''''''''''''''''''''''''''''''''''''''''''''9'''''''''">
              <a:rPr lang="en-US" altLang="en-US" sz="1000" smtClean="0"/>
              <a:pPr/>
              <a:t>9</a:t>
            </a:fld>
            <a:endParaRPr lang="en-US" sz="1000" dirty="0"/>
          </a:p>
        </p:txBody>
      </p:sp>
      <p:sp>
        <p:nvSpPr>
          <p:cNvPr id="482" name="text">
            <a:extLst>
              <a:ext uri="{FF2B5EF4-FFF2-40B4-BE49-F238E27FC236}">
                <a16:creationId xmlns:a16="http://schemas.microsoft.com/office/drawing/2014/main" id="{DBE91B83-C2FB-4299-2432-561D1471951A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5710239" y="2122488"/>
            <a:ext cx="1762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BEBA082-6A9D-4C56-B801-2ECB9299D062}" type="datetime'''''''''''''''1''''''''''''''''''''''''0'''''''">
              <a:rPr lang="en-US" altLang="en-US" sz="1000" smtClean="0"/>
              <a:pPr/>
              <a:t>10</a:t>
            </a:fld>
            <a:endParaRPr lang="en-US" sz="1000" dirty="0"/>
          </a:p>
        </p:txBody>
      </p:sp>
      <p:sp>
        <p:nvSpPr>
          <p:cNvPr id="483" name="text">
            <a:extLst>
              <a:ext uri="{FF2B5EF4-FFF2-40B4-BE49-F238E27FC236}">
                <a16:creationId xmlns:a16="http://schemas.microsoft.com/office/drawing/2014/main" id="{C23371F9-9AA1-625E-F105-908EAC393D7D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5886451" y="2122488"/>
            <a:ext cx="16986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40A09C1-742D-41F2-9AF0-588921E37397}" type="datetime'''''''''''''1''''''''''''''''''''1'''''''''''">
              <a:rPr lang="en-US" altLang="en-US" sz="1000" smtClean="0"/>
              <a:pPr/>
              <a:t>11</a:t>
            </a:fld>
            <a:endParaRPr lang="en-US" sz="1000" dirty="0"/>
          </a:p>
        </p:txBody>
      </p:sp>
      <p:sp>
        <p:nvSpPr>
          <p:cNvPr id="484" name="text">
            <a:extLst>
              <a:ext uri="{FF2B5EF4-FFF2-40B4-BE49-F238E27FC236}">
                <a16:creationId xmlns:a16="http://schemas.microsoft.com/office/drawing/2014/main" id="{DD966717-F1DE-271D-FB47-32A9AAE3B009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6056314" y="2122488"/>
            <a:ext cx="1762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2F33090-FCF2-430E-B3CE-E17F5CE43FD3}" type="datetime'''''''''''''''''''''''''''''1''2'''''''''''''''''''''''">
              <a:rPr lang="en-US" altLang="en-US" sz="1000" smtClean="0"/>
              <a:pPr/>
              <a:t>12</a:t>
            </a:fld>
            <a:endParaRPr lang="en-US" sz="1000" dirty="0"/>
          </a:p>
        </p:txBody>
      </p:sp>
      <p:sp>
        <p:nvSpPr>
          <p:cNvPr id="527" name="text">
            <a:extLst>
              <a:ext uri="{FF2B5EF4-FFF2-40B4-BE49-F238E27FC236}">
                <a16:creationId xmlns:a16="http://schemas.microsoft.com/office/drawing/2014/main" id="{600FC67E-DD93-9794-47A5-D07BE19F0459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6232526" y="2122488"/>
            <a:ext cx="1762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39243F7-6AE0-4F61-8CA2-4AAB42070832}" type="datetime'''''''''''''''''''''''''''''''''''''''''''''''1'">
              <a:rPr lang="en-US" altLang="en-US" sz="1000" smtClean="0"/>
              <a:pPr/>
              <a:t>1</a:t>
            </a:fld>
            <a:endParaRPr lang="en-US" sz="1000" dirty="0"/>
          </a:p>
        </p:txBody>
      </p:sp>
      <p:sp>
        <p:nvSpPr>
          <p:cNvPr id="529" name="text">
            <a:extLst>
              <a:ext uri="{FF2B5EF4-FFF2-40B4-BE49-F238E27FC236}">
                <a16:creationId xmlns:a16="http://schemas.microsoft.com/office/drawing/2014/main" id="{447E9F75-6E6B-2B2E-3B94-32220294CD0F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6408738" y="2122488"/>
            <a:ext cx="15875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3028098-8853-47CC-800B-442C74DAD03A}" type="datetime'''''''''''''''2'''''''''''''''''''''''''''''''''''''''">
              <a:rPr lang="en-US" altLang="en-US" sz="1000" smtClean="0"/>
              <a:pPr/>
              <a:t>2</a:t>
            </a:fld>
            <a:endParaRPr lang="en-US" sz="1000" dirty="0"/>
          </a:p>
        </p:txBody>
      </p:sp>
      <p:sp>
        <p:nvSpPr>
          <p:cNvPr id="530" name="text">
            <a:extLst>
              <a:ext uri="{FF2B5EF4-FFF2-40B4-BE49-F238E27FC236}">
                <a16:creationId xmlns:a16="http://schemas.microsoft.com/office/drawing/2014/main" id="{0844373C-73B9-4DEE-2162-2358BFD7B301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6567488" y="2122488"/>
            <a:ext cx="17780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6A288ED-8393-48D5-8225-CDE47C6C2733}" type="datetime'''''''''''''''''''''''''''''''''''''''''''''''3'">
              <a:rPr lang="en-US" altLang="en-US" sz="1000" smtClean="0"/>
              <a:pPr/>
              <a:t>3</a:t>
            </a:fld>
            <a:endParaRPr lang="en-US" sz="1000" dirty="0"/>
          </a:p>
        </p:txBody>
      </p:sp>
      <p:sp>
        <p:nvSpPr>
          <p:cNvPr id="531" name="text">
            <a:extLst>
              <a:ext uri="{FF2B5EF4-FFF2-40B4-BE49-F238E27FC236}">
                <a16:creationId xmlns:a16="http://schemas.microsoft.com/office/drawing/2014/main" id="{9052ABE2-4526-8A86-79B3-EA194DA1E14C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6745289" y="2122488"/>
            <a:ext cx="16986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81B3CCC-6197-4464-B812-1A074C1A2F89}" type="datetime'''''''''''''''''''''''''''''4'''''''''''''''''''''''''''">
              <a:rPr lang="en-US" altLang="en-US" sz="1000" smtClean="0"/>
              <a:pPr/>
              <a:t>4</a:t>
            </a:fld>
            <a:endParaRPr lang="en-US" sz="1000" dirty="0"/>
          </a:p>
        </p:txBody>
      </p:sp>
      <p:sp>
        <p:nvSpPr>
          <p:cNvPr id="532" name="text">
            <a:extLst>
              <a:ext uri="{FF2B5EF4-FFF2-40B4-BE49-F238E27FC236}">
                <a16:creationId xmlns:a16="http://schemas.microsoft.com/office/drawing/2014/main" id="{49B442D2-9D51-B96D-BC78-86D316D07920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6915151" y="2122488"/>
            <a:ext cx="1762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CDDE179-E239-4421-B10F-CF3454AD001A}" type="datetime'''''''''''''''''''''''''''''5'''''''''''''''''''''">
              <a:rPr lang="en-US" altLang="en-US" sz="1000" smtClean="0"/>
              <a:pPr/>
              <a:t>5</a:t>
            </a:fld>
            <a:endParaRPr lang="en-US" sz="1000" dirty="0"/>
          </a:p>
        </p:txBody>
      </p:sp>
      <p:sp>
        <p:nvSpPr>
          <p:cNvPr id="533" name="text">
            <a:extLst>
              <a:ext uri="{FF2B5EF4-FFF2-40B4-BE49-F238E27FC236}">
                <a16:creationId xmlns:a16="http://schemas.microsoft.com/office/drawing/2014/main" id="{7D204DCE-1D16-4068-366A-2D3D78A14E4E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7091364" y="2122488"/>
            <a:ext cx="16986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50F0809-1C95-430B-A9B0-C252C67EBF19}" type="datetime'''6'''">
              <a:rPr lang="en-US" altLang="en-US" sz="1000" smtClean="0"/>
              <a:pPr/>
              <a:t>6</a:t>
            </a:fld>
            <a:endParaRPr lang="en-US" sz="1000" dirty="0"/>
          </a:p>
        </p:txBody>
      </p:sp>
      <p:sp>
        <p:nvSpPr>
          <p:cNvPr id="534" name="text">
            <a:extLst>
              <a:ext uri="{FF2B5EF4-FFF2-40B4-BE49-F238E27FC236}">
                <a16:creationId xmlns:a16="http://schemas.microsoft.com/office/drawing/2014/main" id="{6C66F509-46B8-3F85-6916-6D17FBFB1520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7261226" y="2122488"/>
            <a:ext cx="1762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2F3E5B2-CB35-4F03-86FC-208107C55968}" type="datetime'''''''''''7'''''''''''''''''''''''''''''">
              <a:rPr lang="en-US" altLang="en-US" sz="1000" smtClean="0"/>
              <a:pPr/>
              <a:t>7</a:t>
            </a:fld>
            <a:endParaRPr lang="en-US" sz="1000" dirty="0"/>
          </a:p>
        </p:txBody>
      </p:sp>
      <p:sp>
        <p:nvSpPr>
          <p:cNvPr id="535" name="text">
            <a:extLst>
              <a:ext uri="{FF2B5EF4-FFF2-40B4-BE49-F238E27FC236}">
                <a16:creationId xmlns:a16="http://schemas.microsoft.com/office/drawing/2014/main" id="{37DFA2B6-285C-35EE-7DDA-A8EE44714D15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7437439" y="2122488"/>
            <a:ext cx="1762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6C1089A-5839-49A3-ABDF-C285907458E4}" type="datetime'''8'''''''''''''''''''">
              <a:rPr lang="en-US" altLang="en-US" sz="1000" smtClean="0"/>
              <a:pPr/>
              <a:t>8</a:t>
            </a:fld>
            <a:endParaRPr lang="en-US" sz="1000" dirty="0"/>
          </a:p>
        </p:txBody>
      </p:sp>
      <p:sp>
        <p:nvSpPr>
          <p:cNvPr id="536" name="text">
            <a:extLst>
              <a:ext uri="{FF2B5EF4-FFF2-40B4-BE49-F238E27FC236}">
                <a16:creationId xmlns:a16="http://schemas.microsoft.com/office/drawing/2014/main" id="{201909CB-45B8-F4B9-CD00-848D04F0E5DB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7613650" y="2122488"/>
            <a:ext cx="17145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3B7BF63-A0CC-4B9C-B226-DA542AA6FE5B}" type="datetime'''''''''''''''''''9'''''''''''''''">
              <a:rPr lang="en-US" altLang="en-US" sz="1000" smtClean="0"/>
              <a:pPr/>
              <a:t>9</a:t>
            </a:fld>
            <a:endParaRPr lang="en-US" sz="1000" dirty="0"/>
          </a:p>
        </p:txBody>
      </p:sp>
      <p:sp>
        <p:nvSpPr>
          <p:cNvPr id="537" name="text">
            <a:extLst>
              <a:ext uri="{FF2B5EF4-FFF2-40B4-BE49-F238E27FC236}">
                <a16:creationId xmlns:a16="http://schemas.microsoft.com/office/drawing/2014/main" id="{BCFC64EF-69B3-D2BF-25FF-D7B6B69B2336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7785101" y="2122488"/>
            <a:ext cx="1762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3EB577F-F016-46FF-848C-1D318DB8518A}" type="datetime'''''''''10'''''''''''''''">
              <a:rPr lang="en-US" altLang="en-US" sz="1000" smtClean="0"/>
              <a:pPr/>
              <a:t>10</a:t>
            </a:fld>
            <a:endParaRPr lang="en-US" sz="1000" dirty="0"/>
          </a:p>
        </p:txBody>
      </p:sp>
      <p:sp>
        <p:nvSpPr>
          <p:cNvPr id="538" name="text">
            <a:extLst>
              <a:ext uri="{FF2B5EF4-FFF2-40B4-BE49-F238E27FC236}">
                <a16:creationId xmlns:a16="http://schemas.microsoft.com/office/drawing/2014/main" id="{7238FA36-7746-E728-FDC2-ADD86A12C8AC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7961314" y="2122488"/>
            <a:ext cx="16986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D01DA93-0D56-41BF-A4ED-7AE7FB7DCC73}" type="datetime'''''''''''''''''''''''''''''11'''''''''''''">
              <a:rPr lang="en-US" altLang="en-US" sz="1000" smtClean="0"/>
              <a:pPr/>
              <a:t>11</a:t>
            </a:fld>
            <a:endParaRPr lang="en-US" sz="1000" dirty="0"/>
          </a:p>
        </p:txBody>
      </p:sp>
      <p:sp>
        <p:nvSpPr>
          <p:cNvPr id="539" name="text">
            <a:extLst>
              <a:ext uri="{FF2B5EF4-FFF2-40B4-BE49-F238E27FC236}">
                <a16:creationId xmlns:a16="http://schemas.microsoft.com/office/drawing/2014/main" id="{5EC28A19-ED77-96C0-187A-B98A2EECC634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8131176" y="2122488"/>
            <a:ext cx="1762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AE0D544-F536-4FE0-86BE-460E4CDED38D}" type="datetime'''''''''''''''1''''''''''2'''''''''''''''''''''''''''''''''''">
              <a:rPr lang="en-US" altLang="en-US" sz="1000" smtClean="0"/>
              <a:pPr/>
              <a:t>12</a:t>
            </a:fld>
            <a:endParaRPr lang="en-US" sz="1000" dirty="0"/>
          </a:p>
        </p:txBody>
      </p:sp>
      <p:sp>
        <p:nvSpPr>
          <p:cNvPr id="576" name="text">
            <a:extLst>
              <a:ext uri="{FF2B5EF4-FFF2-40B4-BE49-F238E27FC236}">
                <a16:creationId xmlns:a16="http://schemas.microsoft.com/office/drawing/2014/main" id="{9897A5C3-2A68-22C9-6224-82524C81AD7F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8307389" y="2122488"/>
            <a:ext cx="1762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5313415-F498-4A71-ADED-65660F1F50A3}" type="datetime'''''''1'''''''''''''''''''''''''''''''''''''''''''''''''''">
              <a:rPr lang="en-US" altLang="en-US" sz="1000" smtClean="0"/>
              <a:pPr/>
              <a:t>1</a:t>
            </a:fld>
            <a:endParaRPr lang="en-US" sz="1000" dirty="0"/>
          </a:p>
        </p:txBody>
      </p:sp>
      <p:sp>
        <p:nvSpPr>
          <p:cNvPr id="578" name="text">
            <a:extLst>
              <a:ext uri="{FF2B5EF4-FFF2-40B4-BE49-F238E27FC236}">
                <a16:creationId xmlns:a16="http://schemas.microsoft.com/office/drawing/2014/main" id="{63031CB0-1B1B-4BE0-2D48-FC699C0816B5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8483600" y="2122488"/>
            <a:ext cx="16510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CD8674E-1ED6-4FB9-A882-BAC4751428CB}" type="datetime'''''''''''''''''''''''''''''''''''2'''''">
              <a:rPr lang="en-US" altLang="en-US" sz="1000" smtClean="0"/>
              <a:pPr/>
              <a:t>2</a:t>
            </a:fld>
            <a:endParaRPr lang="en-US" sz="1000" dirty="0"/>
          </a:p>
        </p:txBody>
      </p:sp>
      <p:sp>
        <p:nvSpPr>
          <p:cNvPr id="579" name="text">
            <a:extLst>
              <a:ext uri="{FF2B5EF4-FFF2-40B4-BE49-F238E27FC236}">
                <a16:creationId xmlns:a16="http://schemas.microsoft.com/office/drawing/2014/main" id="{F7729FC1-B101-9DC3-7CC1-E434A24CB580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8648701" y="2122488"/>
            <a:ext cx="1762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5200B7D-1976-45B8-8AC3-D675B0BAFF93}" type="datetime'3'''''''''''''">
              <a:rPr lang="en-US" altLang="en-US" sz="1000" smtClean="0"/>
              <a:pPr/>
              <a:t>3</a:t>
            </a:fld>
            <a:endParaRPr lang="en-US" sz="1000" dirty="0"/>
          </a:p>
        </p:txBody>
      </p:sp>
      <p:sp>
        <p:nvSpPr>
          <p:cNvPr id="580" name="text">
            <a:extLst>
              <a:ext uri="{FF2B5EF4-FFF2-40B4-BE49-F238E27FC236}">
                <a16:creationId xmlns:a16="http://schemas.microsoft.com/office/drawing/2014/main" id="{E526F402-5A42-35C3-E8A7-739722256F94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8824913" y="2122488"/>
            <a:ext cx="17145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49AB53F-F3C8-4BF8-9492-BF2230157088}" type="datetime'''4'''''''''">
              <a:rPr lang="en-US" altLang="en-US" sz="1000" smtClean="0"/>
              <a:pPr/>
              <a:t>4</a:t>
            </a:fld>
            <a:endParaRPr lang="en-US" sz="1000" dirty="0"/>
          </a:p>
        </p:txBody>
      </p:sp>
      <p:sp>
        <p:nvSpPr>
          <p:cNvPr id="581" name="text">
            <a:extLst>
              <a:ext uri="{FF2B5EF4-FFF2-40B4-BE49-F238E27FC236}">
                <a16:creationId xmlns:a16="http://schemas.microsoft.com/office/drawing/2014/main" id="{5D8B0467-D4C5-FF18-ADEF-52F3CD522477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8996364" y="2122488"/>
            <a:ext cx="1762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F1DF38D-D7DC-45C4-8790-B128A68ADD48}" type="datetime'''''''''''''''''5'''''''''''''''''''''''''''''''''''''''''''''">
              <a:rPr lang="en-US" altLang="en-US" sz="1000" smtClean="0"/>
              <a:pPr/>
              <a:t>5</a:t>
            </a:fld>
            <a:endParaRPr lang="en-US" sz="1000" dirty="0"/>
          </a:p>
        </p:txBody>
      </p:sp>
      <p:sp>
        <p:nvSpPr>
          <p:cNvPr id="582" name="text">
            <a:extLst>
              <a:ext uri="{FF2B5EF4-FFF2-40B4-BE49-F238E27FC236}">
                <a16:creationId xmlns:a16="http://schemas.microsoft.com/office/drawing/2014/main" id="{D1FE8B1B-A260-3815-93A4-2B06D629BD46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9172576" y="2122488"/>
            <a:ext cx="16986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4653903-5964-4CA5-B88A-F736D0970A98}" type="datetime'''6'''''''''''''''''''''''''">
              <a:rPr lang="en-US" altLang="en-US" sz="1000" smtClean="0"/>
              <a:pPr/>
              <a:t>6</a:t>
            </a:fld>
            <a:endParaRPr lang="en-US" sz="1000" dirty="0"/>
          </a:p>
        </p:txBody>
      </p:sp>
      <p:sp>
        <p:nvSpPr>
          <p:cNvPr id="583" name="text">
            <a:extLst>
              <a:ext uri="{FF2B5EF4-FFF2-40B4-BE49-F238E27FC236}">
                <a16:creationId xmlns:a16="http://schemas.microsoft.com/office/drawing/2014/main" id="{57989B23-1961-220E-AE67-E781A12490A7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9342439" y="2122488"/>
            <a:ext cx="1762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D208629-1994-415C-A962-3973D4DF1CB5}" type="datetime'7'''''''''''''">
              <a:rPr lang="en-US" altLang="en-US" sz="1000" smtClean="0"/>
              <a:pPr/>
              <a:t>7</a:t>
            </a:fld>
            <a:endParaRPr lang="en-US" sz="1000" dirty="0"/>
          </a:p>
        </p:txBody>
      </p:sp>
      <p:sp>
        <p:nvSpPr>
          <p:cNvPr id="584" name="text">
            <a:extLst>
              <a:ext uri="{FF2B5EF4-FFF2-40B4-BE49-F238E27FC236}">
                <a16:creationId xmlns:a16="http://schemas.microsoft.com/office/drawing/2014/main" id="{C475B976-5226-B974-0E4B-F48934A6C341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9518651" y="2122488"/>
            <a:ext cx="1762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18CC8A2-C79B-41B3-8425-8457BED6E4AC}" type="datetime'''''''''''''''''''''8'''''''''''''''''''''''''''''''''''''''''">
              <a:rPr lang="en-US" altLang="en-US" sz="1000" smtClean="0"/>
              <a:pPr/>
              <a:t>8</a:t>
            </a:fld>
            <a:endParaRPr lang="en-US" sz="1000" dirty="0"/>
          </a:p>
        </p:txBody>
      </p:sp>
      <p:sp>
        <p:nvSpPr>
          <p:cNvPr id="585" name="text">
            <a:extLst>
              <a:ext uri="{FF2B5EF4-FFF2-40B4-BE49-F238E27FC236}">
                <a16:creationId xmlns:a16="http://schemas.microsoft.com/office/drawing/2014/main" id="{1CA8C784-FB29-5A07-5CED-59EC5B76A110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9694863" y="2122488"/>
            <a:ext cx="17145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A9959FA-E362-46B8-89DD-389AFEC0B216}" type="datetime'''9'''''''''''''''''''''''''''''''''''''''''''''''''''''''''''">
              <a:rPr lang="en-US" altLang="en-US" sz="1000" smtClean="0"/>
              <a:pPr/>
              <a:t>9</a:t>
            </a:fld>
            <a:endParaRPr lang="en-US" sz="1000" dirty="0"/>
          </a:p>
        </p:txBody>
      </p:sp>
      <p:sp>
        <p:nvSpPr>
          <p:cNvPr id="586" name="text">
            <a:extLst>
              <a:ext uri="{FF2B5EF4-FFF2-40B4-BE49-F238E27FC236}">
                <a16:creationId xmlns:a16="http://schemas.microsoft.com/office/drawing/2014/main" id="{61388883-FE53-AF64-0200-FFE9A5D539F2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9866314" y="2122488"/>
            <a:ext cx="1762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BDBEAC4-880F-4D2E-AB72-CE436A02E152}" type="datetime'1''''''''''''''''''''''''''''''0'">
              <a:rPr lang="en-US" altLang="en-US" sz="1000" smtClean="0"/>
              <a:pPr/>
              <a:t>10</a:t>
            </a:fld>
            <a:endParaRPr lang="en-US" sz="1000" dirty="0"/>
          </a:p>
        </p:txBody>
      </p:sp>
      <p:sp>
        <p:nvSpPr>
          <p:cNvPr id="587" name="text">
            <a:extLst>
              <a:ext uri="{FF2B5EF4-FFF2-40B4-BE49-F238E27FC236}">
                <a16:creationId xmlns:a16="http://schemas.microsoft.com/office/drawing/2014/main" id="{92FD8046-9184-B931-7180-570C749A160A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10042526" y="2122488"/>
            <a:ext cx="16986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2EBA5AF-28B9-4446-8439-B9A7440702A9}" type="datetime'''''''''''''''''''''''''''''''''''''''''''11'''''''''''''''''">
              <a:rPr lang="en-US" altLang="en-US" sz="1000" smtClean="0"/>
              <a:pPr/>
              <a:t>11</a:t>
            </a:fld>
            <a:endParaRPr lang="en-US" sz="1000" dirty="0"/>
          </a:p>
        </p:txBody>
      </p:sp>
      <p:sp>
        <p:nvSpPr>
          <p:cNvPr id="588" name="text">
            <a:extLst>
              <a:ext uri="{FF2B5EF4-FFF2-40B4-BE49-F238E27FC236}">
                <a16:creationId xmlns:a16="http://schemas.microsoft.com/office/drawing/2014/main" id="{7AE5CE29-3BA3-C46B-FB0E-FD906FE5F6F6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10212389" y="2122488"/>
            <a:ext cx="1762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1EECCD8-AE7E-4553-9A4B-DDAC62665DE4}" type="datetime'''1''''''''''''''''''2'">
              <a:rPr lang="en-US" altLang="en-US" sz="1000" smtClean="0"/>
              <a:pPr/>
              <a:t>12</a:t>
            </a:fld>
            <a:endParaRPr lang="en-US" sz="1000" dirty="0"/>
          </a:p>
        </p:txBody>
      </p:sp>
      <p:cxnSp>
        <p:nvCxnSpPr>
          <p:cNvPr id="73" name="Gerader Verbinder 72">
            <a:extLst>
              <a:ext uri="{FF2B5EF4-FFF2-40B4-BE49-F238E27FC236}">
                <a16:creationId xmlns:a16="http://schemas.microsoft.com/office/drawing/2014/main" id="{D3FF7191-6F0E-54F3-7D04-5D41F9DFEB1C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>
            <a:off x="11663363" y="2309812"/>
            <a:ext cx="0" cy="33337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Gerader Verbinder 62">
            <a:extLst>
              <a:ext uri="{FF2B5EF4-FFF2-40B4-BE49-F238E27FC236}">
                <a16:creationId xmlns:a16="http://schemas.microsoft.com/office/drawing/2014/main" id="{C862A4D3-0A3B-B7F1-BCE2-28865FD1178E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>
            <a:off x="525463" y="2309812"/>
            <a:ext cx="0" cy="33337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1FDDC2FF-3C04-349C-93F0-03BA33A1DAE2}"/>
              </a:ext>
            </a:extLst>
          </p:cNvPr>
          <p:cNvCxnSpPr/>
          <p:nvPr>
            <p:custDataLst>
              <p:tags r:id="rId76"/>
            </p:custDataLst>
          </p:nvPr>
        </p:nvCxnSpPr>
        <p:spPr bwMode="auto">
          <a:xfrm>
            <a:off x="10388600" y="2309812"/>
            <a:ext cx="0" cy="33337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2B6359CD-5857-B3FA-4DE2-B0FE89B2CDCC}"/>
              </a:ext>
            </a:extLst>
          </p:cNvPr>
          <p:cNvCxnSpPr/>
          <p:nvPr>
            <p:custDataLst>
              <p:tags r:id="rId77"/>
            </p:custDataLst>
          </p:nvPr>
        </p:nvCxnSpPr>
        <p:spPr bwMode="auto">
          <a:xfrm>
            <a:off x="2082800" y="2309812"/>
            <a:ext cx="0" cy="33337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1" name="Gerader Verbinder 420">
            <a:extLst>
              <a:ext uri="{FF2B5EF4-FFF2-40B4-BE49-F238E27FC236}">
                <a16:creationId xmlns:a16="http://schemas.microsoft.com/office/drawing/2014/main" id="{D5DD293D-C9D3-93B2-DB6A-C1E9B802057F}"/>
              </a:ext>
            </a:extLst>
          </p:cNvPr>
          <p:cNvCxnSpPr/>
          <p:nvPr>
            <p:custDataLst>
              <p:tags r:id="rId78"/>
            </p:custDataLst>
          </p:nvPr>
        </p:nvCxnSpPr>
        <p:spPr bwMode="auto">
          <a:xfrm>
            <a:off x="6232525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0" name="Gerader Verbinder 419">
            <a:extLst>
              <a:ext uri="{FF2B5EF4-FFF2-40B4-BE49-F238E27FC236}">
                <a16:creationId xmlns:a16="http://schemas.microsoft.com/office/drawing/2014/main" id="{511F244F-0575-B1B0-69B7-7F53E38EF312}"/>
              </a:ext>
            </a:extLst>
          </p:cNvPr>
          <p:cNvCxnSpPr/>
          <p:nvPr>
            <p:custDataLst>
              <p:tags r:id="rId79"/>
            </p:custDataLst>
          </p:nvPr>
        </p:nvCxnSpPr>
        <p:spPr bwMode="auto">
          <a:xfrm>
            <a:off x="4157663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7" name="Gerader Verbinder 506">
            <a:extLst>
              <a:ext uri="{FF2B5EF4-FFF2-40B4-BE49-F238E27FC236}">
                <a16:creationId xmlns:a16="http://schemas.microsoft.com/office/drawing/2014/main" id="{226BD1F4-02BD-B96C-3571-FD1714AA5C2E}"/>
              </a:ext>
            </a:extLst>
          </p:cNvPr>
          <p:cNvCxnSpPr/>
          <p:nvPr>
            <p:custDataLst>
              <p:tags r:id="rId80"/>
            </p:custDataLst>
          </p:nvPr>
        </p:nvCxnSpPr>
        <p:spPr bwMode="auto">
          <a:xfrm>
            <a:off x="8307388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9" name="Gerader Verbinder 438">
            <a:extLst>
              <a:ext uri="{FF2B5EF4-FFF2-40B4-BE49-F238E27FC236}">
                <a16:creationId xmlns:a16="http://schemas.microsoft.com/office/drawing/2014/main" id="{145D5245-4EDB-DFAB-E11E-9A10FAA0B925}"/>
              </a:ext>
            </a:extLst>
          </p:cNvPr>
          <p:cNvCxnSpPr/>
          <p:nvPr>
            <p:custDataLst>
              <p:tags r:id="rId81"/>
            </p:custDataLst>
          </p:nvPr>
        </p:nvCxnSpPr>
        <p:spPr bwMode="auto">
          <a:xfrm>
            <a:off x="7261225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0" name="Gerader Verbinder 439">
            <a:extLst>
              <a:ext uri="{FF2B5EF4-FFF2-40B4-BE49-F238E27FC236}">
                <a16:creationId xmlns:a16="http://schemas.microsoft.com/office/drawing/2014/main" id="{028DBBA1-4FD4-43B9-ED7D-BCBF7382BF76}"/>
              </a:ext>
            </a:extLst>
          </p:cNvPr>
          <p:cNvCxnSpPr/>
          <p:nvPr>
            <p:custDataLst>
              <p:tags r:id="rId82"/>
            </p:custDataLst>
          </p:nvPr>
        </p:nvCxnSpPr>
        <p:spPr bwMode="auto">
          <a:xfrm>
            <a:off x="7785100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9" name="Gerader Verbinder 508">
            <a:extLst>
              <a:ext uri="{FF2B5EF4-FFF2-40B4-BE49-F238E27FC236}">
                <a16:creationId xmlns:a16="http://schemas.microsoft.com/office/drawing/2014/main" id="{EC64AB60-1EC2-67A1-0C24-B7620778E352}"/>
              </a:ext>
            </a:extLst>
          </p:cNvPr>
          <p:cNvCxnSpPr/>
          <p:nvPr>
            <p:custDataLst>
              <p:tags r:id="rId83"/>
            </p:custDataLst>
          </p:nvPr>
        </p:nvCxnSpPr>
        <p:spPr bwMode="auto">
          <a:xfrm>
            <a:off x="8824913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F10E6EDE-87C3-8A4C-1AAC-61B825B9E172}"/>
              </a:ext>
            </a:extLst>
          </p:cNvPr>
          <p:cNvCxnSpPr/>
          <p:nvPr>
            <p:custDataLst>
              <p:tags r:id="rId84"/>
            </p:custDataLst>
          </p:nvPr>
        </p:nvCxnSpPr>
        <p:spPr bwMode="auto">
          <a:xfrm>
            <a:off x="9342438" y="2309813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2C01386D-0D72-BFF8-2AAE-91499A8861BC}"/>
              </a:ext>
            </a:extLst>
          </p:cNvPr>
          <p:cNvCxnSpPr/>
          <p:nvPr>
            <p:custDataLst>
              <p:tags r:id="rId85"/>
            </p:custDataLst>
          </p:nvPr>
        </p:nvCxnSpPr>
        <p:spPr bwMode="auto">
          <a:xfrm>
            <a:off x="9866313" y="2309813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2" name="Gerader Verbinder 411">
            <a:extLst>
              <a:ext uri="{FF2B5EF4-FFF2-40B4-BE49-F238E27FC236}">
                <a16:creationId xmlns:a16="http://schemas.microsoft.com/office/drawing/2014/main" id="{0D018C6F-BEC9-7BBC-87C5-FF0B148212A3}"/>
              </a:ext>
            </a:extLst>
          </p:cNvPr>
          <p:cNvCxnSpPr/>
          <p:nvPr>
            <p:custDataLst>
              <p:tags r:id="rId86"/>
            </p:custDataLst>
          </p:nvPr>
        </p:nvCxnSpPr>
        <p:spPr bwMode="auto">
          <a:xfrm>
            <a:off x="5186363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8" name="Gerader Verbinder 407">
            <a:extLst>
              <a:ext uri="{FF2B5EF4-FFF2-40B4-BE49-F238E27FC236}">
                <a16:creationId xmlns:a16="http://schemas.microsoft.com/office/drawing/2014/main" id="{4C95D998-82AE-E9FF-4989-242339B3625F}"/>
              </a:ext>
            </a:extLst>
          </p:cNvPr>
          <p:cNvCxnSpPr/>
          <p:nvPr>
            <p:custDataLst>
              <p:tags r:id="rId87"/>
            </p:custDataLst>
          </p:nvPr>
        </p:nvCxnSpPr>
        <p:spPr bwMode="auto">
          <a:xfrm>
            <a:off x="2593975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9" name="Gerader Verbinder 408">
            <a:extLst>
              <a:ext uri="{FF2B5EF4-FFF2-40B4-BE49-F238E27FC236}">
                <a16:creationId xmlns:a16="http://schemas.microsoft.com/office/drawing/2014/main" id="{02D093CD-BE72-4095-4A65-7925B0D9E892}"/>
              </a:ext>
            </a:extLst>
          </p:cNvPr>
          <p:cNvCxnSpPr/>
          <p:nvPr>
            <p:custDataLst>
              <p:tags r:id="rId88"/>
            </p:custDataLst>
          </p:nvPr>
        </p:nvCxnSpPr>
        <p:spPr bwMode="auto">
          <a:xfrm>
            <a:off x="3111500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0" name="Gerader Verbinder 409">
            <a:extLst>
              <a:ext uri="{FF2B5EF4-FFF2-40B4-BE49-F238E27FC236}">
                <a16:creationId xmlns:a16="http://schemas.microsoft.com/office/drawing/2014/main" id="{C5FE855C-0B56-0002-D498-F8E2320A7E6B}"/>
              </a:ext>
            </a:extLst>
          </p:cNvPr>
          <p:cNvCxnSpPr/>
          <p:nvPr>
            <p:custDataLst>
              <p:tags r:id="rId89"/>
            </p:custDataLst>
          </p:nvPr>
        </p:nvCxnSpPr>
        <p:spPr bwMode="auto">
          <a:xfrm>
            <a:off x="3635375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1" name="Gerader Verbinder 410">
            <a:extLst>
              <a:ext uri="{FF2B5EF4-FFF2-40B4-BE49-F238E27FC236}">
                <a16:creationId xmlns:a16="http://schemas.microsoft.com/office/drawing/2014/main" id="{D28FC52B-6444-4E3D-8AEB-C527277C943E}"/>
              </a:ext>
            </a:extLst>
          </p:cNvPr>
          <p:cNvCxnSpPr/>
          <p:nvPr>
            <p:custDataLst>
              <p:tags r:id="rId90"/>
            </p:custDataLst>
          </p:nvPr>
        </p:nvCxnSpPr>
        <p:spPr bwMode="auto">
          <a:xfrm>
            <a:off x="4668838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3" name="Gerader Verbinder 412">
            <a:extLst>
              <a:ext uri="{FF2B5EF4-FFF2-40B4-BE49-F238E27FC236}">
                <a16:creationId xmlns:a16="http://schemas.microsoft.com/office/drawing/2014/main" id="{F14C1BED-3135-25B8-3572-BC95088C7F66}"/>
              </a:ext>
            </a:extLst>
          </p:cNvPr>
          <p:cNvCxnSpPr/>
          <p:nvPr>
            <p:custDataLst>
              <p:tags r:id="rId91"/>
            </p:custDataLst>
          </p:nvPr>
        </p:nvCxnSpPr>
        <p:spPr bwMode="auto">
          <a:xfrm>
            <a:off x="5710238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8" name="Gerader Verbinder 437">
            <a:extLst>
              <a:ext uri="{FF2B5EF4-FFF2-40B4-BE49-F238E27FC236}">
                <a16:creationId xmlns:a16="http://schemas.microsoft.com/office/drawing/2014/main" id="{19EEEDF3-D3D3-4C37-8FCD-1315AAF87974}"/>
              </a:ext>
            </a:extLst>
          </p:cNvPr>
          <p:cNvCxnSpPr/>
          <p:nvPr>
            <p:custDataLst>
              <p:tags r:id="rId92"/>
            </p:custDataLst>
          </p:nvPr>
        </p:nvCxnSpPr>
        <p:spPr bwMode="auto">
          <a:xfrm>
            <a:off x="6745288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4" name="Gerader Verbinder 463">
            <a:extLst>
              <a:ext uri="{FF2B5EF4-FFF2-40B4-BE49-F238E27FC236}">
                <a16:creationId xmlns:a16="http://schemas.microsoft.com/office/drawing/2014/main" id="{94E15F62-F2D2-19D7-7662-425ECC4592AE}"/>
              </a:ext>
            </a:extLst>
          </p:cNvPr>
          <p:cNvCxnSpPr/>
          <p:nvPr>
            <p:custDataLst>
              <p:tags r:id="rId93"/>
            </p:custDataLst>
          </p:nvPr>
        </p:nvCxnSpPr>
        <p:spPr bwMode="auto">
          <a:xfrm>
            <a:off x="525463" y="5073650"/>
            <a:ext cx="111379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3" name="Gerader Verbinder 462">
            <a:extLst>
              <a:ext uri="{FF2B5EF4-FFF2-40B4-BE49-F238E27FC236}">
                <a16:creationId xmlns:a16="http://schemas.microsoft.com/office/drawing/2014/main" id="{BC9020DD-DA7E-2AC2-096A-3EA64B1D6C76}"/>
              </a:ext>
            </a:extLst>
          </p:cNvPr>
          <p:cNvCxnSpPr/>
          <p:nvPr>
            <p:custDataLst>
              <p:tags r:id="rId94"/>
            </p:custDataLst>
          </p:nvPr>
        </p:nvCxnSpPr>
        <p:spPr bwMode="auto">
          <a:xfrm>
            <a:off x="525463" y="3421063"/>
            <a:ext cx="111379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38D67AA4-C1B4-664D-38F4-FBF0E19CF1D5}"/>
              </a:ext>
            </a:extLst>
          </p:cNvPr>
          <p:cNvCxnSpPr/>
          <p:nvPr>
            <p:custDataLst>
              <p:tags r:id="rId95"/>
            </p:custDataLst>
          </p:nvPr>
        </p:nvCxnSpPr>
        <p:spPr bwMode="auto">
          <a:xfrm>
            <a:off x="525463" y="5643563"/>
            <a:ext cx="111379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A647B02A-04E7-62D7-4EC5-A7F5DC75AA08}"/>
              </a:ext>
            </a:extLst>
          </p:cNvPr>
          <p:cNvCxnSpPr/>
          <p:nvPr>
            <p:custDataLst>
              <p:tags r:id="rId96"/>
            </p:custDataLst>
          </p:nvPr>
        </p:nvCxnSpPr>
        <p:spPr bwMode="auto">
          <a:xfrm>
            <a:off x="3582988" y="2309813"/>
            <a:ext cx="0" cy="34972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198569EC-E25E-6828-9DCA-043842F4BEBF}"/>
              </a:ext>
            </a:extLst>
          </p:cNvPr>
          <p:cNvCxnSpPr/>
          <p:nvPr>
            <p:custDataLst>
              <p:tags r:id="rId97"/>
            </p:custDataLst>
          </p:nvPr>
        </p:nvCxnSpPr>
        <p:spPr bwMode="auto">
          <a:xfrm>
            <a:off x="525463" y="2309813"/>
            <a:ext cx="111379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3" name="Rechteck 472">
            <a:extLst>
              <a:ext uri="{FF2B5EF4-FFF2-40B4-BE49-F238E27FC236}">
                <a16:creationId xmlns:a16="http://schemas.microsoft.com/office/drawing/2014/main" id="{7C9F3E17-BA5D-2208-9D83-DE311AA43002}"/>
              </a:ext>
            </a:extLst>
          </p:cNvPr>
          <p:cNvSpPr/>
          <p:nvPr>
            <p:custDataLst>
              <p:tags r:id="rId98"/>
            </p:custDataLst>
          </p:nvPr>
        </p:nvSpPr>
        <p:spPr bwMode="auto">
          <a:xfrm>
            <a:off x="6608763" y="4325938"/>
            <a:ext cx="147638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68" name="Rechteck 467">
            <a:extLst>
              <a:ext uri="{FF2B5EF4-FFF2-40B4-BE49-F238E27FC236}">
                <a16:creationId xmlns:a16="http://schemas.microsoft.com/office/drawing/2014/main" id="{EE5C8125-170E-4DDA-7032-2B5B31713E62}"/>
              </a:ext>
            </a:extLst>
          </p:cNvPr>
          <p:cNvSpPr/>
          <p:nvPr>
            <p:custDataLst>
              <p:tags r:id="rId99"/>
            </p:custDataLst>
          </p:nvPr>
        </p:nvSpPr>
        <p:spPr bwMode="auto">
          <a:xfrm>
            <a:off x="6727825" y="4595813"/>
            <a:ext cx="147638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51" name="Rechteck 450">
            <a:extLst>
              <a:ext uri="{FF2B5EF4-FFF2-40B4-BE49-F238E27FC236}">
                <a16:creationId xmlns:a16="http://schemas.microsoft.com/office/drawing/2014/main" id="{AA3B6CF2-9E62-B952-386C-BA9228613E18}"/>
              </a:ext>
            </a:extLst>
          </p:cNvPr>
          <p:cNvSpPr/>
          <p:nvPr>
            <p:custDataLst>
              <p:tags r:id="rId100"/>
            </p:custDataLst>
          </p:nvPr>
        </p:nvSpPr>
        <p:spPr bwMode="auto">
          <a:xfrm>
            <a:off x="6516689" y="4054475"/>
            <a:ext cx="119063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62" name="Rechteck 461">
            <a:extLst>
              <a:ext uri="{FF2B5EF4-FFF2-40B4-BE49-F238E27FC236}">
                <a16:creationId xmlns:a16="http://schemas.microsoft.com/office/drawing/2014/main" id="{3F594176-B622-4FF7-5AB1-BFB89E5D69BD}"/>
              </a:ext>
            </a:extLst>
          </p:cNvPr>
          <p:cNvSpPr/>
          <p:nvPr>
            <p:custDataLst>
              <p:tags r:id="rId101"/>
            </p:custDataLst>
          </p:nvPr>
        </p:nvSpPr>
        <p:spPr bwMode="auto">
          <a:xfrm>
            <a:off x="6369050" y="3784600"/>
            <a:ext cx="147638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6BCA4FFB-2166-7406-5242-6E4AD8211DB4}"/>
              </a:ext>
            </a:extLst>
          </p:cNvPr>
          <p:cNvSpPr/>
          <p:nvPr>
            <p:custDataLst>
              <p:tags r:id="rId102"/>
            </p:custDataLst>
          </p:nvPr>
        </p:nvSpPr>
        <p:spPr bwMode="auto">
          <a:xfrm>
            <a:off x="4459288" y="2401888"/>
            <a:ext cx="266700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D2C18883-3136-BC78-68CF-559096A14A03}"/>
              </a:ext>
            </a:extLst>
          </p:cNvPr>
          <p:cNvSpPr/>
          <p:nvPr>
            <p:custDataLst>
              <p:tags r:id="rId103"/>
            </p:custDataLst>
          </p:nvPr>
        </p:nvSpPr>
        <p:spPr bwMode="auto">
          <a:xfrm>
            <a:off x="5653088" y="3214688"/>
            <a:ext cx="506413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FAD080B-B554-50EE-AC37-70DD4B3D25D0}"/>
              </a:ext>
            </a:extLst>
          </p:cNvPr>
          <p:cNvSpPr/>
          <p:nvPr>
            <p:custDataLst>
              <p:tags r:id="rId104"/>
            </p:custDataLst>
          </p:nvPr>
        </p:nvSpPr>
        <p:spPr bwMode="auto">
          <a:xfrm>
            <a:off x="5175250" y="2943225"/>
            <a:ext cx="506413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85" name="Rechteck 484">
            <a:extLst>
              <a:ext uri="{FF2B5EF4-FFF2-40B4-BE49-F238E27FC236}">
                <a16:creationId xmlns:a16="http://schemas.microsoft.com/office/drawing/2014/main" id="{89FE339D-B639-6370-ED1C-8AD68579182B}"/>
              </a:ext>
            </a:extLst>
          </p:cNvPr>
          <p:cNvSpPr/>
          <p:nvPr>
            <p:custDataLst>
              <p:tags r:id="rId105"/>
            </p:custDataLst>
          </p:nvPr>
        </p:nvSpPr>
        <p:spPr bwMode="auto">
          <a:xfrm>
            <a:off x="6130925" y="3513138"/>
            <a:ext cx="266700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70" name="Rechteck 469">
            <a:extLst>
              <a:ext uri="{FF2B5EF4-FFF2-40B4-BE49-F238E27FC236}">
                <a16:creationId xmlns:a16="http://schemas.microsoft.com/office/drawing/2014/main" id="{52E05D25-3DAA-173D-11C3-236C35D54AE6}"/>
              </a:ext>
            </a:extLst>
          </p:cNvPr>
          <p:cNvSpPr/>
          <p:nvPr>
            <p:custDataLst>
              <p:tags r:id="rId106"/>
            </p:custDataLst>
          </p:nvPr>
        </p:nvSpPr>
        <p:spPr bwMode="auto">
          <a:xfrm>
            <a:off x="6846888" y="4867275"/>
            <a:ext cx="107950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80F121EF-5958-07FC-81D2-2F9C6759057D}"/>
              </a:ext>
            </a:extLst>
          </p:cNvPr>
          <p:cNvSpPr/>
          <p:nvPr>
            <p:custDataLst>
              <p:tags r:id="rId107"/>
            </p:custDataLst>
          </p:nvPr>
        </p:nvSpPr>
        <p:spPr bwMode="auto">
          <a:xfrm>
            <a:off x="4697413" y="2673350"/>
            <a:ext cx="506413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48" name="Rechteck 447">
            <a:extLst>
              <a:ext uri="{FF2B5EF4-FFF2-40B4-BE49-F238E27FC236}">
                <a16:creationId xmlns:a16="http://schemas.microsoft.com/office/drawing/2014/main" id="{A57A2BC2-3A01-C511-CC2E-AD4C5AD9E2CF}"/>
              </a:ext>
            </a:extLst>
          </p:cNvPr>
          <p:cNvSpPr/>
          <p:nvPr>
            <p:custDataLst>
              <p:tags r:id="rId108"/>
            </p:custDataLst>
          </p:nvPr>
        </p:nvSpPr>
        <p:spPr bwMode="auto">
          <a:xfrm>
            <a:off x="6937375" y="5165725"/>
            <a:ext cx="1200150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49" name="Rechteck 448">
            <a:extLst>
              <a:ext uri="{FF2B5EF4-FFF2-40B4-BE49-F238E27FC236}">
                <a16:creationId xmlns:a16="http://schemas.microsoft.com/office/drawing/2014/main" id="{93CCEF46-DBBC-0950-00C7-E260289A60D9}"/>
              </a:ext>
            </a:extLst>
          </p:cNvPr>
          <p:cNvSpPr/>
          <p:nvPr>
            <p:custDataLst>
              <p:tags r:id="rId109"/>
            </p:custDataLst>
          </p:nvPr>
        </p:nvSpPr>
        <p:spPr bwMode="auto">
          <a:xfrm>
            <a:off x="8177213" y="5437188"/>
            <a:ext cx="1006475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4755F1D8-1CA3-8AB2-D55A-818DE6D799C0}"/>
              </a:ext>
            </a:extLst>
          </p:cNvPr>
          <p:cNvSpPr/>
          <p:nvPr>
            <p:custDataLst>
              <p:tags r:id="rId110"/>
            </p:custDataLst>
          </p:nvPr>
        </p:nvSpPr>
        <p:spPr bwMode="auto">
          <a:xfrm>
            <a:off x="3049588" y="2682876"/>
            <a:ext cx="1647825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DBD64B8E-409B-DD54-39F2-A7EE54140CAB}"/>
              </a:ext>
            </a:extLst>
          </p:cNvPr>
          <p:cNvSpPr/>
          <p:nvPr>
            <p:custDataLst>
              <p:tags r:id="rId111"/>
            </p:custDataLst>
          </p:nvPr>
        </p:nvSpPr>
        <p:spPr bwMode="auto">
          <a:xfrm>
            <a:off x="3798888" y="2411413"/>
            <a:ext cx="660400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4A14DE52-23C4-31A2-F632-D0CCC46E33E2}"/>
              </a:ext>
            </a:extLst>
          </p:cNvPr>
          <p:cNvSpPr/>
          <p:nvPr>
            <p:custDataLst>
              <p:tags r:id="rId112"/>
            </p:custDataLst>
          </p:nvPr>
        </p:nvSpPr>
        <p:spPr bwMode="auto">
          <a:xfrm>
            <a:off x="4237039" y="2952750"/>
            <a:ext cx="938213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05FF510F-C053-4C8A-210A-7D9667B666D1}"/>
              </a:ext>
            </a:extLst>
          </p:cNvPr>
          <p:cNvSpPr/>
          <p:nvPr>
            <p:custDataLst>
              <p:tags r:id="rId113"/>
            </p:custDataLst>
          </p:nvPr>
        </p:nvSpPr>
        <p:spPr bwMode="auto">
          <a:xfrm>
            <a:off x="5499100" y="3522663"/>
            <a:ext cx="631825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7C419358-E6A1-C460-551A-B31E2347DD7C}"/>
              </a:ext>
            </a:extLst>
          </p:cNvPr>
          <p:cNvSpPr/>
          <p:nvPr>
            <p:custDataLst>
              <p:tags r:id="rId114"/>
            </p:custDataLst>
          </p:nvPr>
        </p:nvSpPr>
        <p:spPr bwMode="auto">
          <a:xfrm>
            <a:off x="5976938" y="4064000"/>
            <a:ext cx="539750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53" name="Rechteck 452">
            <a:extLst>
              <a:ext uri="{FF2B5EF4-FFF2-40B4-BE49-F238E27FC236}">
                <a16:creationId xmlns:a16="http://schemas.microsoft.com/office/drawing/2014/main" id="{FB21E0DB-7190-209E-D088-DF61961A9958}"/>
              </a:ext>
            </a:extLst>
          </p:cNvPr>
          <p:cNvSpPr/>
          <p:nvPr>
            <p:custDataLst>
              <p:tags r:id="rId115"/>
            </p:custDataLst>
          </p:nvPr>
        </p:nvSpPr>
        <p:spPr bwMode="auto">
          <a:xfrm>
            <a:off x="6296025" y="4335463"/>
            <a:ext cx="312738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50A981FD-487E-1F34-98C3-C8D571F2E4A9}"/>
              </a:ext>
            </a:extLst>
          </p:cNvPr>
          <p:cNvSpPr/>
          <p:nvPr>
            <p:custDataLst>
              <p:tags r:id="rId116"/>
            </p:custDataLst>
          </p:nvPr>
        </p:nvSpPr>
        <p:spPr bwMode="auto">
          <a:xfrm>
            <a:off x="5818188" y="3794125"/>
            <a:ext cx="550863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0FF35C01-CC09-CE30-2EEB-DA9E0D57F81E}"/>
              </a:ext>
            </a:extLst>
          </p:cNvPr>
          <p:cNvSpPr/>
          <p:nvPr>
            <p:custDataLst>
              <p:tags r:id="rId117"/>
            </p:custDataLst>
          </p:nvPr>
        </p:nvSpPr>
        <p:spPr bwMode="auto">
          <a:xfrm>
            <a:off x="6296025" y="4605338"/>
            <a:ext cx="431800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52" name="Rechteck 451">
            <a:extLst>
              <a:ext uri="{FF2B5EF4-FFF2-40B4-BE49-F238E27FC236}">
                <a16:creationId xmlns:a16="http://schemas.microsoft.com/office/drawing/2014/main" id="{0CCDB582-405B-06F6-6E89-959BA906B16F}"/>
              </a:ext>
            </a:extLst>
          </p:cNvPr>
          <p:cNvSpPr/>
          <p:nvPr>
            <p:custDataLst>
              <p:tags r:id="rId118"/>
            </p:custDataLst>
          </p:nvPr>
        </p:nvSpPr>
        <p:spPr bwMode="auto">
          <a:xfrm>
            <a:off x="6454775" y="4876800"/>
            <a:ext cx="392113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319409CB-BAB9-1E72-70A4-E2E860D68499}"/>
              </a:ext>
            </a:extLst>
          </p:cNvPr>
          <p:cNvSpPr/>
          <p:nvPr>
            <p:custDataLst>
              <p:tags r:id="rId119"/>
            </p:custDataLst>
          </p:nvPr>
        </p:nvSpPr>
        <p:spPr bwMode="auto">
          <a:xfrm>
            <a:off x="5181600" y="3224213"/>
            <a:ext cx="471488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35" name="Raute 34">
            <a:extLst>
              <a:ext uri="{FF2B5EF4-FFF2-40B4-BE49-F238E27FC236}">
                <a16:creationId xmlns:a16="http://schemas.microsoft.com/office/drawing/2014/main" id="{2CDEA6ED-9860-7264-A228-28F762E3779D}"/>
              </a:ext>
            </a:extLst>
          </p:cNvPr>
          <p:cNvSpPr/>
          <p:nvPr>
            <p:custDataLst>
              <p:tags r:id="rId120"/>
            </p:custDataLst>
          </p:nvPr>
        </p:nvSpPr>
        <p:spPr bwMode="gray">
          <a:xfrm>
            <a:off x="2992438" y="2665413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34" name="Raute 33">
            <a:extLst>
              <a:ext uri="{FF2B5EF4-FFF2-40B4-BE49-F238E27FC236}">
                <a16:creationId xmlns:a16="http://schemas.microsoft.com/office/drawing/2014/main" id="{7D42D413-9CDC-F9AA-2AD4-F5BCCC9F95BB}"/>
              </a:ext>
            </a:extLst>
          </p:cNvPr>
          <p:cNvSpPr/>
          <p:nvPr>
            <p:custDataLst>
              <p:tags r:id="rId121"/>
            </p:custDataLst>
          </p:nvPr>
        </p:nvSpPr>
        <p:spPr bwMode="gray">
          <a:xfrm>
            <a:off x="2724150" y="2665413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3" name="Raute 522">
            <a:extLst>
              <a:ext uri="{FF2B5EF4-FFF2-40B4-BE49-F238E27FC236}">
                <a16:creationId xmlns:a16="http://schemas.microsoft.com/office/drawing/2014/main" id="{1FF22D74-4062-5F29-CF6A-CB840AE6EAE1}"/>
              </a:ext>
            </a:extLst>
          </p:cNvPr>
          <p:cNvSpPr/>
          <p:nvPr>
            <p:custDataLst>
              <p:tags r:id="rId122"/>
            </p:custDataLst>
          </p:nvPr>
        </p:nvSpPr>
        <p:spPr bwMode="gray">
          <a:xfrm>
            <a:off x="5124450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5" name="Raute 574">
            <a:extLst>
              <a:ext uri="{FF2B5EF4-FFF2-40B4-BE49-F238E27FC236}">
                <a16:creationId xmlns:a16="http://schemas.microsoft.com/office/drawing/2014/main" id="{CE02AF75-A0ED-13B1-1E10-16CFA49CA8F6}"/>
              </a:ext>
            </a:extLst>
          </p:cNvPr>
          <p:cNvSpPr/>
          <p:nvPr>
            <p:custDataLst>
              <p:tags r:id="rId123"/>
            </p:custDataLst>
          </p:nvPr>
        </p:nvSpPr>
        <p:spPr bwMode="gray">
          <a:xfrm>
            <a:off x="9001125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47" name="Raute 446">
            <a:extLst>
              <a:ext uri="{FF2B5EF4-FFF2-40B4-BE49-F238E27FC236}">
                <a16:creationId xmlns:a16="http://schemas.microsoft.com/office/drawing/2014/main" id="{9E62339F-2232-946F-E5DA-E761B041EC10}"/>
              </a:ext>
            </a:extLst>
          </p:cNvPr>
          <p:cNvSpPr/>
          <p:nvPr>
            <p:custDataLst>
              <p:tags r:id="rId124"/>
            </p:custDataLst>
          </p:nvPr>
        </p:nvSpPr>
        <p:spPr bwMode="gray">
          <a:xfrm>
            <a:off x="3741738" y="23939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2" name="Raute 521">
            <a:extLst>
              <a:ext uri="{FF2B5EF4-FFF2-40B4-BE49-F238E27FC236}">
                <a16:creationId xmlns:a16="http://schemas.microsoft.com/office/drawing/2014/main" id="{3183FA2D-263A-CEA7-6F67-43A928F423A3}"/>
              </a:ext>
            </a:extLst>
          </p:cNvPr>
          <p:cNvSpPr/>
          <p:nvPr>
            <p:custDataLst>
              <p:tags r:id="rId125"/>
            </p:custDataLst>
          </p:nvPr>
        </p:nvSpPr>
        <p:spPr bwMode="gray">
          <a:xfrm>
            <a:off x="4964113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7" name="Raute 566">
            <a:extLst>
              <a:ext uri="{FF2B5EF4-FFF2-40B4-BE49-F238E27FC236}">
                <a16:creationId xmlns:a16="http://schemas.microsoft.com/office/drawing/2014/main" id="{7A5EF64A-4AF9-1609-8724-60D332320F30}"/>
              </a:ext>
            </a:extLst>
          </p:cNvPr>
          <p:cNvSpPr/>
          <p:nvPr>
            <p:custDataLst>
              <p:tags r:id="rId126"/>
            </p:custDataLst>
          </p:nvPr>
        </p:nvSpPr>
        <p:spPr bwMode="gray">
          <a:xfrm>
            <a:off x="7954963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4" name="Raute 573">
            <a:extLst>
              <a:ext uri="{FF2B5EF4-FFF2-40B4-BE49-F238E27FC236}">
                <a16:creationId xmlns:a16="http://schemas.microsoft.com/office/drawing/2014/main" id="{7889E7FC-D62F-5C56-C6AD-E23C1B1D804D}"/>
              </a:ext>
            </a:extLst>
          </p:cNvPr>
          <p:cNvSpPr/>
          <p:nvPr>
            <p:custDataLst>
              <p:tags r:id="rId127"/>
            </p:custDataLst>
          </p:nvPr>
        </p:nvSpPr>
        <p:spPr bwMode="gray">
          <a:xfrm>
            <a:off x="8670925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1" name="Raute 520">
            <a:extLst>
              <a:ext uri="{FF2B5EF4-FFF2-40B4-BE49-F238E27FC236}">
                <a16:creationId xmlns:a16="http://schemas.microsoft.com/office/drawing/2014/main" id="{A7F1ECF8-DF64-7300-50F4-2683520D3090}"/>
              </a:ext>
            </a:extLst>
          </p:cNvPr>
          <p:cNvSpPr/>
          <p:nvPr>
            <p:custDataLst>
              <p:tags r:id="rId128"/>
            </p:custDataLst>
          </p:nvPr>
        </p:nvSpPr>
        <p:spPr bwMode="gray">
          <a:xfrm>
            <a:off x="4805363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16" name="Raute 515">
            <a:extLst>
              <a:ext uri="{FF2B5EF4-FFF2-40B4-BE49-F238E27FC236}">
                <a16:creationId xmlns:a16="http://schemas.microsoft.com/office/drawing/2014/main" id="{F957E0EE-080B-DBB8-DEE0-7F438989B558}"/>
              </a:ext>
            </a:extLst>
          </p:cNvPr>
          <p:cNvSpPr/>
          <p:nvPr>
            <p:custDataLst>
              <p:tags r:id="rId129"/>
            </p:custDataLst>
          </p:nvPr>
        </p:nvSpPr>
        <p:spPr bwMode="gray">
          <a:xfrm>
            <a:off x="4179888" y="29352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3" name="Raute 572">
            <a:extLst>
              <a:ext uri="{FF2B5EF4-FFF2-40B4-BE49-F238E27FC236}">
                <a16:creationId xmlns:a16="http://schemas.microsoft.com/office/drawing/2014/main" id="{B3582C3F-11E2-11FB-A3FA-2AFF716ADBAF}"/>
              </a:ext>
            </a:extLst>
          </p:cNvPr>
          <p:cNvSpPr/>
          <p:nvPr>
            <p:custDataLst>
              <p:tags r:id="rId130"/>
            </p:custDataLst>
          </p:nvPr>
        </p:nvSpPr>
        <p:spPr bwMode="gray">
          <a:xfrm>
            <a:off x="8512175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4" name="Raute 563">
            <a:extLst>
              <a:ext uri="{FF2B5EF4-FFF2-40B4-BE49-F238E27FC236}">
                <a16:creationId xmlns:a16="http://schemas.microsoft.com/office/drawing/2014/main" id="{2B3B4555-4BB6-E472-BB63-57BC1133E1AE}"/>
              </a:ext>
            </a:extLst>
          </p:cNvPr>
          <p:cNvSpPr/>
          <p:nvPr>
            <p:custDataLst>
              <p:tags r:id="rId131"/>
            </p:custDataLst>
          </p:nvPr>
        </p:nvSpPr>
        <p:spPr bwMode="gray">
          <a:xfrm>
            <a:off x="7785100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19" name="Raute 518">
            <a:extLst>
              <a:ext uri="{FF2B5EF4-FFF2-40B4-BE49-F238E27FC236}">
                <a16:creationId xmlns:a16="http://schemas.microsoft.com/office/drawing/2014/main" id="{3FD1A44D-ECDC-F0DE-EA7F-8670FF04C705}"/>
              </a:ext>
            </a:extLst>
          </p:cNvPr>
          <p:cNvSpPr/>
          <p:nvPr>
            <p:custDataLst>
              <p:tags r:id="rId132"/>
            </p:custDataLst>
          </p:nvPr>
        </p:nvSpPr>
        <p:spPr bwMode="gray">
          <a:xfrm>
            <a:off x="4657725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2" name="Raute 571">
            <a:extLst>
              <a:ext uri="{FF2B5EF4-FFF2-40B4-BE49-F238E27FC236}">
                <a16:creationId xmlns:a16="http://schemas.microsoft.com/office/drawing/2014/main" id="{93C9F1F2-F968-74EC-BA8F-FB922909EE4A}"/>
              </a:ext>
            </a:extLst>
          </p:cNvPr>
          <p:cNvSpPr/>
          <p:nvPr>
            <p:custDataLst>
              <p:tags r:id="rId133"/>
            </p:custDataLst>
          </p:nvPr>
        </p:nvSpPr>
        <p:spPr bwMode="gray">
          <a:xfrm>
            <a:off x="8432800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71" name="Raute 470">
            <a:extLst>
              <a:ext uri="{FF2B5EF4-FFF2-40B4-BE49-F238E27FC236}">
                <a16:creationId xmlns:a16="http://schemas.microsoft.com/office/drawing/2014/main" id="{6F58700E-AC23-5E1C-6425-903F96C3D450}"/>
              </a:ext>
            </a:extLst>
          </p:cNvPr>
          <p:cNvSpPr/>
          <p:nvPr>
            <p:custDataLst>
              <p:tags r:id="rId134"/>
            </p:custDataLst>
          </p:nvPr>
        </p:nvSpPr>
        <p:spPr bwMode="gray">
          <a:xfrm>
            <a:off x="4043363" y="29352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3" name="Raute 562">
            <a:extLst>
              <a:ext uri="{FF2B5EF4-FFF2-40B4-BE49-F238E27FC236}">
                <a16:creationId xmlns:a16="http://schemas.microsoft.com/office/drawing/2014/main" id="{2C64F971-C7CB-0FCA-019A-62FB1FE836B4}"/>
              </a:ext>
            </a:extLst>
          </p:cNvPr>
          <p:cNvSpPr/>
          <p:nvPr>
            <p:custDataLst>
              <p:tags r:id="rId135"/>
            </p:custDataLst>
          </p:nvPr>
        </p:nvSpPr>
        <p:spPr bwMode="gray">
          <a:xfrm>
            <a:off x="7637463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45" name="Raute 544">
            <a:extLst>
              <a:ext uri="{FF2B5EF4-FFF2-40B4-BE49-F238E27FC236}">
                <a16:creationId xmlns:a16="http://schemas.microsoft.com/office/drawing/2014/main" id="{73D7A267-F753-1163-94C8-E949C6B71081}"/>
              </a:ext>
            </a:extLst>
          </p:cNvPr>
          <p:cNvSpPr/>
          <p:nvPr>
            <p:custDataLst>
              <p:tags r:id="rId136"/>
            </p:custDataLst>
          </p:nvPr>
        </p:nvSpPr>
        <p:spPr bwMode="gray">
          <a:xfrm>
            <a:off x="6238875" y="4587875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99" name="Raute 598">
            <a:extLst>
              <a:ext uri="{FF2B5EF4-FFF2-40B4-BE49-F238E27FC236}">
                <a16:creationId xmlns:a16="http://schemas.microsoft.com/office/drawing/2014/main" id="{2D9B9577-2FCC-D734-E3F3-0D3ADBF0ECE2}"/>
              </a:ext>
            </a:extLst>
          </p:cNvPr>
          <p:cNvSpPr/>
          <p:nvPr>
            <p:custDataLst>
              <p:tags r:id="rId137"/>
            </p:custDataLst>
          </p:nvPr>
        </p:nvSpPr>
        <p:spPr bwMode="gray">
          <a:xfrm>
            <a:off x="5761038" y="3776663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3" name="Raute 552">
            <a:extLst>
              <a:ext uri="{FF2B5EF4-FFF2-40B4-BE49-F238E27FC236}">
                <a16:creationId xmlns:a16="http://schemas.microsoft.com/office/drawing/2014/main" id="{03EAC1FB-3F12-B90C-14FA-65E583E5E554}"/>
              </a:ext>
            </a:extLst>
          </p:cNvPr>
          <p:cNvSpPr/>
          <p:nvPr>
            <p:custDataLst>
              <p:tags r:id="rId138"/>
            </p:custDataLst>
          </p:nvPr>
        </p:nvSpPr>
        <p:spPr bwMode="gray">
          <a:xfrm>
            <a:off x="5441950" y="350520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0" name="Raute 519">
            <a:extLst>
              <a:ext uri="{FF2B5EF4-FFF2-40B4-BE49-F238E27FC236}">
                <a16:creationId xmlns:a16="http://schemas.microsoft.com/office/drawing/2014/main" id="{0ED104D0-0195-4B91-B372-0DBBA7CF7B8C}"/>
              </a:ext>
            </a:extLst>
          </p:cNvPr>
          <p:cNvSpPr/>
          <p:nvPr>
            <p:custDataLst>
              <p:tags r:id="rId139"/>
            </p:custDataLst>
          </p:nvPr>
        </p:nvSpPr>
        <p:spPr bwMode="gray">
          <a:xfrm>
            <a:off x="4498975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1" name="Raute 570">
            <a:extLst>
              <a:ext uri="{FF2B5EF4-FFF2-40B4-BE49-F238E27FC236}">
                <a16:creationId xmlns:a16="http://schemas.microsoft.com/office/drawing/2014/main" id="{6ED68A3E-59A2-530D-4B46-ADBD1A71A156}"/>
              </a:ext>
            </a:extLst>
          </p:cNvPr>
          <p:cNvSpPr/>
          <p:nvPr>
            <p:custDataLst>
              <p:tags r:id="rId140"/>
            </p:custDataLst>
          </p:nvPr>
        </p:nvSpPr>
        <p:spPr bwMode="gray">
          <a:xfrm>
            <a:off x="8274050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67" name="Raute 466">
            <a:extLst>
              <a:ext uri="{FF2B5EF4-FFF2-40B4-BE49-F238E27FC236}">
                <a16:creationId xmlns:a16="http://schemas.microsoft.com/office/drawing/2014/main" id="{BD45F352-5905-28E1-31D9-18D5047D668F}"/>
              </a:ext>
            </a:extLst>
          </p:cNvPr>
          <p:cNvSpPr/>
          <p:nvPr>
            <p:custDataLst>
              <p:tags r:id="rId141"/>
            </p:custDataLst>
          </p:nvPr>
        </p:nvSpPr>
        <p:spPr bwMode="gray">
          <a:xfrm>
            <a:off x="3884613" y="29352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5" name="Raute 564">
            <a:extLst>
              <a:ext uri="{FF2B5EF4-FFF2-40B4-BE49-F238E27FC236}">
                <a16:creationId xmlns:a16="http://schemas.microsoft.com/office/drawing/2014/main" id="{DD76A659-B00A-DBAB-CB59-D6686BDDB454}"/>
              </a:ext>
            </a:extLst>
          </p:cNvPr>
          <p:cNvSpPr/>
          <p:nvPr>
            <p:custDataLst>
              <p:tags r:id="rId142"/>
            </p:custDataLst>
          </p:nvPr>
        </p:nvSpPr>
        <p:spPr bwMode="gray">
          <a:xfrm>
            <a:off x="6875463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0" name="Raute 569">
            <a:extLst>
              <a:ext uri="{FF2B5EF4-FFF2-40B4-BE49-F238E27FC236}">
                <a16:creationId xmlns:a16="http://schemas.microsoft.com/office/drawing/2014/main" id="{5741B8AA-F0A4-B692-1F93-6F6883722114}"/>
              </a:ext>
            </a:extLst>
          </p:cNvPr>
          <p:cNvSpPr/>
          <p:nvPr>
            <p:custDataLst>
              <p:tags r:id="rId143"/>
            </p:custDataLst>
          </p:nvPr>
        </p:nvSpPr>
        <p:spPr bwMode="gray">
          <a:xfrm>
            <a:off x="8194675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5" name="Raute 524">
            <a:extLst>
              <a:ext uri="{FF2B5EF4-FFF2-40B4-BE49-F238E27FC236}">
                <a16:creationId xmlns:a16="http://schemas.microsoft.com/office/drawing/2014/main" id="{67C083C6-79C6-C198-CB3D-268EF9A06587}"/>
              </a:ext>
            </a:extLst>
          </p:cNvPr>
          <p:cNvSpPr/>
          <p:nvPr>
            <p:custDataLst>
              <p:tags r:id="rId144"/>
            </p:custDataLst>
          </p:nvPr>
        </p:nvSpPr>
        <p:spPr bwMode="gray">
          <a:xfrm>
            <a:off x="5283200" y="4587875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1" name="Raute 560">
            <a:extLst>
              <a:ext uri="{FF2B5EF4-FFF2-40B4-BE49-F238E27FC236}">
                <a16:creationId xmlns:a16="http://schemas.microsoft.com/office/drawing/2014/main" id="{0433E9EC-F4F3-9CEE-9027-2C8E5B211D55}"/>
              </a:ext>
            </a:extLst>
          </p:cNvPr>
          <p:cNvSpPr/>
          <p:nvPr>
            <p:custDataLst>
              <p:tags r:id="rId145"/>
            </p:custDataLst>
          </p:nvPr>
        </p:nvSpPr>
        <p:spPr bwMode="gray">
          <a:xfrm>
            <a:off x="6397625" y="485933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8" name="Raute 557">
            <a:extLst>
              <a:ext uri="{FF2B5EF4-FFF2-40B4-BE49-F238E27FC236}">
                <a16:creationId xmlns:a16="http://schemas.microsoft.com/office/drawing/2014/main" id="{1C06B8CC-CB98-A3C6-4387-705DEF7FEBE7}"/>
              </a:ext>
            </a:extLst>
          </p:cNvPr>
          <p:cNvSpPr/>
          <p:nvPr>
            <p:custDataLst>
              <p:tags r:id="rId146"/>
            </p:custDataLst>
          </p:nvPr>
        </p:nvSpPr>
        <p:spPr bwMode="gray">
          <a:xfrm>
            <a:off x="5919788" y="404653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6" name="Raute 565">
            <a:extLst>
              <a:ext uri="{FF2B5EF4-FFF2-40B4-BE49-F238E27FC236}">
                <a16:creationId xmlns:a16="http://schemas.microsoft.com/office/drawing/2014/main" id="{870AF526-6584-A07C-536E-598E49BEE1A1}"/>
              </a:ext>
            </a:extLst>
          </p:cNvPr>
          <p:cNvSpPr/>
          <p:nvPr>
            <p:custDataLst>
              <p:tags r:id="rId147"/>
            </p:custDataLst>
          </p:nvPr>
        </p:nvSpPr>
        <p:spPr bwMode="gray">
          <a:xfrm>
            <a:off x="6715125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0" name="Raute 559">
            <a:extLst>
              <a:ext uri="{FF2B5EF4-FFF2-40B4-BE49-F238E27FC236}">
                <a16:creationId xmlns:a16="http://schemas.microsoft.com/office/drawing/2014/main" id="{1270AF40-D868-B4E1-8CE4-8B2105FCF98A}"/>
              </a:ext>
            </a:extLst>
          </p:cNvPr>
          <p:cNvSpPr/>
          <p:nvPr>
            <p:custDataLst>
              <p:tags r:id="rId148"/>
            </p:custDataLst>
          </p:nvPr>
        </p:nvSpPr>
        <p:spPr bwMode="gray">
          <a:xfrm>
            <a:off x="6238875" y="431800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18" name="Raute 517">
            <a:extLst>
              <a:ext uri="{FF2B5EF4-FFF2-40B4-BE49-F238E27FC236}">
                <a16:creationId xmlns:a16="http://schemas.microsoft.com/office/drawing/2014/main" id="{0148BEE3-8EE1-9B75-9F73-577A9A1D1D42}"/>
              </a:ext>
            </a:extLst>
          </p:cNvPr>
          <p:cNvSpPr/>
          <p:nvPr>
            <p:custDataLst>
              <p:tags r:id="rId149"/>
            </p:custDataLst>
          </p:nvPr>
        </p:nvSpPr>
        <p:spPr bwMode="gray">
          <a:xfrm>
            <a:off x="4340225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2" name="Raute 551">
            <a:extLst>
              <a:ext uri="{FF2B5EF4-FFF2-40B4-BE49-F238E27FC236}">
                <a16:creationId xmlns:a16="http://schemas.microsoft.com/office/drawing/2014/main" id="{4B14F66B-32B3-7677-87F4-C5DB28F6755D}"/>
              </a:ext>
            </a:extLst>
          </p:cNvPr>
          <p:cNvSpPr/>
          <p:nvPr>
            <p:custDataLst>
              <p:tags r:id="rId150"/>
            </p:custDataLst>
          </p:nvPr>
        </p:nvSpPr>
        <p:spPr bwMode="gray">
          <a:xfrm>
            <a:off x="5441950" y="350520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66" name="Raute 465">
            <a:extLst>
              <a:ext uri="{FF2B5EF4-FFF2-40B4-BE49-F238E27FC236}">
                <a16:creationId xmlns:a16="http://schemas.microsoft.com/office/drawing/2014/main" id="{CBFE982D-D0FF-08F3-0116-F082F6AA7733}"/>
              </a:ext>
            </a:extLst>
          </p:cNvPr>
          <p:cNvSpPr/>
          <p:nvPr>
            <p:custDataLst>
              <p:tags r:id="rId151"/>
            </p:custDataLst>
          </p:nvPr>
        </p:nvSpPr>
        <p:spPr bwMode="gray">
          <a:xfrm>
            <a:off x="3748088" y="29352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6" name="Raute 555">
            <a:extLst>
              <a:ext uri="{FF2B5EF4-FFF2-40B4-BE49-F238E27FC236}">
                <a16:creationId xmlns:a16="http://schemas.microsoft.com/office/drawing/2014/main" id="{D043A9F3-C0CD-966E-4004-E687025F1C6E}"/>
              </a:ext>
            </a:extLst>
          </p:cNvPr>
          <p:cNvSpPr/>
          <p:nvPr>
            <p:custDataLst>
              <p:tags r:id="rId152"/>
            </p:custDataLst>
          </p:nvPr>
        </p:nvSpPr>
        <p:spPr bwMode="gray">
          <a:xfrm>
            <a:off x="5602288" y="3776663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9" name="Raute 568">
            <a:extLst>
              <a:ext uri="{FF2B5EF4-FFF2-40B4-BE49-F238E27FC236}">
                <a16:creationId xmlns:a16="http://schemas.microsoft.com/office/drawing/2014/main" id="{B1F88CBB-A845-65EA-0734-5248FDD405A1}"/>
              </a:ext>
            </a:extLst>
          </p:cNvPr>
          <p:cNvSpPr/>
          <p:nvPr>
            <p:custDataLst>
              <p:tags r:id="rId153"/>
            </p:custDataLst>
          </p:nvPr>
        </p:nvSpPr>
        <p:spPr bwMode="gray">
          <a:xfrm>
            <a:off x="8113713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2" name="Gleichschenkliges Dreieck 41">
            <a:extLst>
              <a:ext uri="{FF2B5EF4-FFF2-40B4-BE49-F238E27FC236}">
                <a16:creationId xmlns:a16="http://schemas.microsoft.com/office/drawing/2014/main" id="{E7F033F8-9D48-F32F-7058-D8A7FA64C1B6}"/>
              </a:ext>
            </a:extLst>
          </p:cNvPr>
          <p:cNvSpPr/>
          <p:nvPr>
            <p:custDataLst>
              <p:tags r:id="rId154"/>
            </p:custDataLst>
          </p:nvPr>
        </p:nvSpPr>
        <p:spPr bwMode="gray">
          <a:xfrm>
            <a:off x="3525838" y="5749925"/>
            <a:ext cx="114300" cy="114300"/>
          </a:xfrm>
          <a:prstGeom prst="triangle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" name="Raute 54">
            <a:extLst>
              <a:ext uri="{FF2B5EF4-FFF2-40B4-BE49-F238E27FC236}">
                <a16:creationId xmlns:a16="http://schemas.microsoft.com/office/drawing/2014/main" id="{DDC7B2DE-D1B8-1924-B882-40EEA461A88F}"/>
              </a:ext>
            </a:extLst>
          </p:cNvPr>
          <p:cNvSpPr/>
          <p:nvPr>
            <p:custDataLst>
              <p:tags r:id="rId155"/>
            </p:custDataLst>
          </p:nvPr>
        </p:nvSpPr>
        <p:spPr bwMode="gray">
          <a:xfrm>
            <a:off x="3389313" y="29352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7" name="Raute 556">
            <a:extLst>
              <a:ext uri="{FF2B5EF4-FFF2-40B4-BE49-F238E27FC236}">
                <a16:creationId xmlns:a16="http://schemas.microsoft.com/office/drawing/2014/main" id="{99A98A1B-6FE6-8DA9-E836-D9B505AD2FF3}"/>
              </a:ext>
            </a:extLst>
          </p:cNvPr>
          <p:cNvSpPr/>
          <p:nvPr>
            <p:custDataLst>
              <p:tags r:id="rId156"/>
            </p:custDataLst>
          </p:nvPr>
        </p:nvSpPr>
        <p:spPr bwMode="gray">
          <a:xfrm>
            <a:off x="5761038" y="404653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5" name="Raute 554">
            <a:extLst>
              <a:ext uri="{FF2B5EF4-FFF2-40B4-BE49-F238E27FC236}">
                <a16:creationId xmlns:a16="http://schemas.microsoft.com/office/drawing/2014/main" id="{02B8C3A7-B6A5-C1CA-BB80-97A71128B799}"/>
              </a:ext>
            </a:extLst>
          </p:cNvPr>
          <p:cNvSpPr/>
          <p:nvPr>
            <p:custDataLst>
              <p:tags r:id="rId157"/>
            </p:custDataLst>
          </p:nvPr>
        </p:nvSpPr>
        <p:spPr bwMode="gray">
          <a:xfrm>
            <a:off x="5589588" y="3776663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9" name="Raute 558">
            <a:extLst>
              <a:ext uri="{FF2B5EF4-FFF2-40B4-BE49-F238E27FC236}">
                <a16:creationId xmlns:a16="http://schemas.microsoft.com/office/drawing/2014/main" id="{2CEA43D8-F65B-3A3D-3123-5C1C5C6B2A3D}"/>
              </a:ext>
            </a:extLst>
          </p:cNvPr>
          <p:cNvSpPr/>
          <p:nvPr>
            <p:custDataLst>
              <p:tags r:id="rId158"/>
            </p:custDataLst>
          </p:nvPr>
        </p:nvSpPr>
        <p:spPr bwMode="gray">
          <a:xfrm>
            <a:off x="6078538" y="431800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4" name="Raute 523">
            <a:extLst>
              <a:ext uri="{FF2B5EF4-FFF2-40B4-BE49-F238E27FC236}">
                <a16:creationId xmlns:a16="http://schemas.microsoft.com/office/drawing/2014/main" id="{FA5F346E-D7DE-51A1-2D72-487A222E315C}"/>
              </a:ext>
            </a:extLst>
          </p:cNvPr>
          <p:cNvSpPr/>
          <p:nvPr>
            <p:custDataLst>
              <p:tags r:id="rId159"/>
            </p:custDataLst>
          </p:nvPr>
        </p:nvSpPr>
        <p:spPr bwMode="gray">
          <a:xfrm>
            <a:off x="5124450" y="4587875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2" name="Raute 561">
            <a:extLst>
              <a:ext uri="{FF2B5EF4-FFF2-40B4-BE49-F238E27FC236}">
                <a16:creationId xmlns:a16="http://schemas.microsoft.com/office/drawing/2014/main" id="{7C274478-036C-ED1F-C4F7-EEAEE9C42230}"/>
              </a:ext>
            </a:extLst>
          </p:cNvPr>
          <p:cNvSpPr/>
          <p:nvPr>
            <p:custDataLst>
              <p:tags r:id="rId160"/>
            </p:custDataLst>
          </p:nvPr>
        </p:nvSpPr>
        <p:spPr bwMode="gray">
          <a:xfrm>
            <a:off x="6357938" y="485933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8" name="Raute 567">
            <a:extLst>
              <a:ext uri="{FF2B5EF4-FFF2-40B4-BE49-F238E27FC236}">
                <a16:creationId xmlns:a16="http://schemas.microsoft.com/office/drawing/2014/main" id="{74D51151-C289-727E-1DCA-6A07814FE41B}"/>
              </a:ext>
            </a:extLst>
          </p:cNvPr>
          <p:cNvSpPr/>
          <p:nvPr>
            <p:custDataLst>
              <p:tags r:id="rId161"/>
            </p:custDataLst>
          </p:nvPr>
        </p:nvSpPr>
        <p:spPr bwMode="gray">
          <a:xfrm>
            <a:off x="6556375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1" name="Raute 550">
            <a:extLst>
              <a:ext uri="{FF2B5EF4-FFF2-40B4-BE49-F238E27FC236}">
                <a16:creationId xmlns:a16="http://schemas.microsoft.com/office/drawing/2014/main" id="{7C9FB657-4211-8139-F38E-56208A30D290}"/>
              </a:ext>
            </a:extLst>
          </p:cNvPr>
          <p:cNvSpPr/>
          <p:nvPr>
            <p:custDataLst>
              <p:tags r:id="rId162"/>
            </p:custDataLst>
          </p:nvPr>
        </p:nvSpPr>
        <p:spPr bwMode="gray">
          <a:xfrm>
            <a:off x="5283200" y="350520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17" name="Raute 516">
            <a:extLst>
              <a:ext uri="{FF2B5EF4-FFF2-40B4-BE49-F238E27FC236}">
                <a16:creationId xmlns:a16="http://schemas.microsoft.com/office/drawing/2014/main" id="{553C7BF0-53D3-6DC3-DA1E-E44E2BFAD647}"/>
              </a:ext>
            </a:extLst>
          </p:cNvPr>
          <p:cNvSpPr/>
          <p:nvPr>
            <p:custDataLst>
              <p:tags r:id="rId163"/>
            </p:custDataLst>
          </p:nvPr>
        </p:nvSpPr>
        <p:spPr bwMode="gray">
          <a:xfrm>
            <a:off x="4179888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1" name="text">
            <a:extLst>
              <a:ext uri="{FF2B5EF4-FFF2-40B4-BE49-F238E27FC236}">
                <a16:creationId xmlns:a16="http://schemas.microsoft.com/office/drawing/2014/main" id="{1D8F680E-C507-3CB7-780E-96E183C43D1C}"/>
              </a:ext>
            </a:extLst>
          </p:cNvPr>
          <p:cNvSpPr>
            <a:spLocks noGrp="1"/>
          </p:cNvSpPr>
          <p:nvPr>
            <p:custDataLst>
              <p:tags r:id="rId164"/>
            </p:custDataLst>
          </p:nvPr>
        </p:nvSpPr>
        <p:spPr bwMode="auto">
          <a:xfrm>
            <a:off x="3198813" y="5886450"/>
            <a:ext cx="7699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B5857AE-A69B-49E6-B0EF-C0E89D1D18B4}" type="datetime'''''''''9/2''''''''''''''''''''2/''''''20''''''''2''''''5'''">
              <a:rPr lang="en-US" altLang="en-US" smtClean="0"/>
              <a:pPr/>
              <a:t>9/22/2025</a:t>
            </a:fld>
            <a:endParaRPr lang="en-US" dirty="0"/>
          </a:p>
        </p:txBody>
      </p:sp>
      <p:sp>
        <p:nvSpPr>
          <p:cNvPr id="69" name="text">
            <a:extLst>
              <a:ext uri="{FF2B5EF4-FFF2-40B4-BE49-F238E27FC236}">
                <a16:creationId xmlns:a16="http://schemas.microsoft.com/office/drawing/2014/main" id="{C998FF79-0848-2ACF-1096-0FD6A1831CF1}"/>
              </a:ext>
            </a:extLst>
          </p:cNvPr>
          <p:cNvSpPr>
            <a:spLocks noGrp="1"/>
          </p:cNvSpPr>
          <p:nvPr>
            <p:custDataLst>
              <p:tags r:id="rId165"/>
            </p:custDataLst>
          </p:nvPr>
        </p:nvSpPr>
        <p:spPr bwMode="auto">
          <a:xfrm>
            <a:off x="596900" y="3463925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Type 2.123 S2</a:t>
            </a:r>
            <a:endParaRPr lang="en-US" dirty="0"/>
          </a:p>
        </p:txBody>
      </p:sp>
      <p:sp>
        <p:nvSpPr>
          <p:cNvPr id="92" name="text">
            <a:extLst>
              <a:ext uri="{FF2B5EF4-FFF2-40B4-BE49-F238E27FC236}">
                <a16:creationId xmlns:a16="http://schemas.microsoft.com/office/drawing/2014/main" id="{42044942-86BB-060E-BC97-E6547AB0989F}"/>
              </a:ext>
            </a:extLst>
          </p:cNvPr>
          <p:cNvSpPr>
            <a:spLocks noGrp="1"/>
          </p:cNvSpPr>
          <p:nvPr>
            <p:custDataLst>
              <p:tags r:id="rId166"/>
            </p:custDataLst>
          </p:nvPr>
        </p:nvSpPr>
        <p:spPr bwMode="auto">
          <a:xfrm>
            <a:off x="10460038" y="3463925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  <a:endParaRPr lang="en-US" dirty="0"/>
          </a:p>
        </p:txBody>
      </p:sp>
      <p:sp>
        <p:nvSpPr>
          <p:cNvPr id="100" name="text">
            <a:extLst>
              <a:ext uri="{FF2B5EF4-FFF2-40B4-BE49-F238E27FC236}">
                <a16:creationId xmlns:a16="http://schemas.microsoft.com/office/drawing/2014/main" id="{B5DCB554-56C2-581D-F6B7-BA702001347C}"/>
              </a:ext>
            </a:extLst>
          </p:cNvPr>
          <p:cNvSpPr>
            <a:spLocks noGrp="1"/>
          </p:cNvSpPr>
          <p:nvPr>
            <p:custDataLst>
              <p:tags r:id="rId167"/>
            </p:custDataLst>
          </p:nvPr>
        </p:nvSpPr>
        <p:spPr bwMode="auto">
          <a:xfrm>
            <a:off x="10460038" y="4818063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</a:p>
        </p:txBody>
      </p:sp>
      <p:sp>
        <p:nvSpPr>
          <p:cNvPr id="76" name="text">
            <a:extLst>
              <a:ext uri="{FF2B5EF4-FFF2-40B4-BE49-F238E27FC236}">
                <a16:creationId xmlns:a16="http://schemas.microsoft.com/office/drawing/2014/main" id="{DA185F21-5C2C-B5AA-BFF0-508274AF6E18}"/>
              </a:ext>
            </a:extLst>
          </p:cNvPr>
          <p:cNvSpPr>
            <a:spLocks noGrp="1"/>
          </p:cNvSpPr>
          <p:nvPr>
            <p:custDataLst>
              <p:tags r:id="rId168"/>
            </p:custDataLst>
          </p:nvPr>
        </p:nvSpPr>
        <p:spPr bwMode="auto">
          <a:xfrm>
            <a:off x="10460038" y="2624138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Curve</a:t>
            </a:r>
            <a:endParaRPr lang="en-US" dirty="0"/>
          </a:p>
        </p:txBody>
      </p:sp>
      <p:sp>
        <p:nvSpPr>
          <p:cNvPr id="86" name="text">
            <a:extLst>
              <a:ext uri="{FF2B5EF4-FFF2-40B4-BE49-F238E27FC236}">
                <a16:creationId xmlns:a16="http://schemas.microsoft.com/office/drawing/2014/main" id="{8E088E11-2BEE-56E7-CC40-760B18AE7330}"/>
              </a:ext>
            </a:extLst>
          </p:cNvPr>
          <p:cNvSpPr>
            <a:spLocks noGrp="1"/>
          </p:cNvSpPr>
          <p:nvPr>
            <p:custDataLst>
              <p:tags r:id="rId169"/>
            </p:custDataLst>
          </p:nvPr>
        </p:nvSpPr>
        <p:spPr bwMode="auto">
          <a:xfrm>
            <a:off x="596900" y="4818063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/>
              <a:t>Type </a:t>
            </a:r>
            <a:r>
              <a:rPr lang="en-US" altLang="en-US" dirty="0"/>
              <a:t>2.123 S5</a:t>
            </a:r>
            <a:endParaRPr lang="en-US" dirty="0"/>
          </a:p>
        </p:txBody>
      </p:sp>
      <p:sp>
        <p:nvSpPr>
          <p:cNvPr id="102" name="text">
            <a:extLst>
              <a:ext uri="{FF2B5EF4-FFF2-40B4-BE49-F238E27FC236}">
                <a16:creationId xmlns:a16="http://schemas.microsoft.com/office/drawing/2014/main" id="{68B4B0E6-0D03-D2C9-7266-6F9DFFB4030A}"/>
              </a:ext>
            </a:extLst>
          </p:cNvPr>
          <p:cNvSpPr>
            <a:spLocks noGrp="1"/>
          </p:cNvSpPr>
          <p:nvPr>
            <p:custDataLst>
              <p:tags r:id="rId170"/>
            </p:custDataLst>
          </p:nvPr>
        </p:nvSpPr>
        <p:spPr bwMode="auto">
          <a:xfrm>
            <a:off x="10460038" y="5116513"/>
            <a:ext cx="11318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 / Curve</a:t>
            </a:r>
          </a:p>
        </p:txBody>
      </p:sp>
      <p:sp>
        <p:nvSpPr>
          <p:cNvPr id="82" name="text">
            <a:extLst>
              <a:ext uri="{FF2B5EF4-FFF2-40B4-BE49-F238E27FC236}">
                <a16:creationId xmlns:a16="http://schemas.microsoft.com/office/drawing/2014/main" id="{A659EA68-4FC1-4901-D1E8-4E6EFA4E5CE8}"/>
              </a:ext>
            </a:extLst>
          </p:cNvPr>
          <p:cNvSpPr>
            <a:spLocks noGrp="1"/>
          </p:cNvSpPr>
          <p:nvPr>
            <p:custDataLst>
              <p:tags r:id="rId171"/>
            </p:custDataLst>
          </p:nvPr>
        </p:nvSpPr>
        <p:spPr bwMode="auto">
          <a:xfrm>
            <a:off x="10460038" y="4546600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Straight</a:t>
            </a:r>
          </a:p>
        </p:txBody>
      </p:sp>
      <p:sp>
        <p:nvSpPr>
          <p:cNvPr id="67" name="text">
            <a:extLst>
              <a:ext uri="{FF2B5EF4-FFF2-40B4-BE49-F238E27FC236}">
                <a16:creationId xmlns:a16="http://schemas.microsoft.com/office/drawing/2014/main" id="{4F9D1B66-3E32-CA51-4AC1-99C30E569268}"/>
              </a:ext>
            </a:extLst>
          </p:cNvPr>
          <p:cNvSpPr>
            <a:spLocks noGrp="1"/>
          </p:cNvSpPr>
          <p:nvPr>
            <p:custDataLst>
              <p:tags r:id="rId172"/>
            </p:custDataLst>
          </p:nvPr>
        </p:nvSpPr>
        <p:spPr bwMode="auto">
          <a:xfrm>
            <a:off x="596900" y="4546600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Type 2.123 S1</a:t>
            </a:r>
            <a:endParaRPr lang="en-US" dirty="0"/>
          </a:p>
        </p:txBody>
      </p:sp>
      <p:sp>
        <p:nvSpPr>
          <p:cNvPr id="96" name="text">
            <a:extLst>
              <a:ext uri="{FF2B5EF4-FFF2-40B4-BE49-F238E27FC236}">
                <a16:creationId xmlns:a16="http://schemas.microsoft.com/office/drawing/2014/main" id="{48395093-CC6F-20C2-7EB4-7AA80A051DC1}"/>
              </a:ext>
            </a:extLst>
          </p:cNvPr>
          <p:cNvSpPr>
            <a:spLocks noGrp="1"/>
          </p:cNvSpPr>
          <p:nvPr>
            <p:custDataLst>
              <p:tags r:id="rId173"/>
            </p:custDataLst>
          </p:nvPr>
        </p:nvSpPr>
        <p:spPr bwMode="auto">
          <a:xfrm>
            <a:off x="10460038" y="4276725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  <a:endParaRPr lang="en-US" dirty="0"/>
          </a:p>
        </p:txBody>
      </p:sp>
      <p:sp>
        <p:nvSpPr>
          <p:cNvPr id="13" name="text">
            <a:extLst>
              <a:ext uri="{FF2B5EF4-FFF2-40B4-BE49-F238E27FC236}">
                <a16:creationId xmlns:a16="http://schemas.microsoft.com/office/drawing/2014/main" id="{D716D4B5-4892-5A2B-8BD6-2A2A8DA81812}"/>
              </a:ext>
            </a:extLst>
          </p:cNvPr>
          <p:cNvSpPr>
            <a:spLocks noGrp="1"/>
          </p:cNvSpPr>
          <p:nvPr>
            <p:custDataLst>
              <p:tags r:id="rId174"/>
            </p:custDataLst>
          </p:nvPr>
        </p:nvSpPr>
        <p:spPr bwMode="auto">
          <a:xfrm>
            <a:off x="596900" y="4276725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Type 2.123 S6</a:t>
            </a:r>
            <a:endParaRPr lang="en-US" dirty="0"/>
          </a:p>
        </p:txBody>
      </p:sp>
      <p:sp>
        <p:nvSpPr>
          <p:cNvPr id="450" name="text">
            <a:extLst>
              <a:ext uri="{FF2B5EF4-FFF2-40B4-BE49-F238E27FC236}">
                <a16:creationId xmlns:a16="http://schemas.microsoft.com/office/drawing/2014/main" id="{55F7F653-6BB2-7E28-670A-F2D7C45BEAB1}"/>
              </a:ext>
            </a:extLst>
          </p:cNvPr>
          <p:cNvSpPr>
            <a:spLocks noGrp="1"/>
          </p:cNvSpPr>
          <p:nvPr>
            <p:custDataLst>
              <p:tags r:id="rId175"/>
            </p:custDataLst>
          </p:nvPr>
        </p:nvSpPr>
        <p:spPr bwMode="auto">
          <a:xfrm>
            <a:off x="1660525" y="2139950"/>
            <a:ext cx="350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EBF3DDBE-A98C-4EAD-9052-5493DB14FD65}" type="datetime'''''''''M''''''''''''''''''o''n''''t''''''''''''''''h'''''''''">
              <a:rPr lang="en-US" altLang="en-US" sz="1000" smtClean="0"/>
              <a:pPr/>
              <a:t>Month</a:t>
            </a:fld>
            <a:endParaRPr lang="en-US" sz="1000" dirty="0"/>
          </a:p>
        </p:txBody>
      </p:sp>
      <p:sp>
        <p:nvSpPr>
          <p:cNvPr id="94" name="text">
            <a:extLst>
              <a:ext uri="{FF2B5EF4-FFF2-40B4-BE49-F238E27FC236}">
                <a16:creationId xmlns:a16="http://schemas.microsoft.com/office/drawing/2014/main" id="{4B6DB5E0-FFC2-A5A9-BE8B-E952079E07C9}"/>
              </a:ext>
            </a:extLst>
          </p:cNvPr>
          <p:cNvSpPr>
            <a:spLocks noGrp="1"/>
          </p:cNvSpPr>
          <p:nvPr>
            <p:custDataLst>
              <p:tags r:id="rId176"/>
            </p:custDataLst>
          </p:nvPr>
        </p:nvSpPr>
        <p:spPr bwMode="auto">
          <a:xfrm>
            <a:off x="10460038" y="4005263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  <a:endParaRPr lang="en-US" dirty="0"/>
          </a:p>
        </p:txBody>
      </p:sp>
      <p:sp>
        <p:nvSpPr>
          <p:cNvPr id="90" name="text">
            <a:extLst>
              <a:ext uri="{FF2B5EF4-FFF2-40B4-BE49-F238E27FC236}">
                <a16:creationId xmlns:a16="http://schemas.microsoft.com/office/drawing/2014/main" id="{41F64EA0-7C5C-2AF8-5542-1B3A60DE09E5}"/>
              </a:ext>
            </a:extLst>
          </p:cNvPr>
          <p:cNvSpPr>
            <a:spLocks noGrp="1"/>
          </p:cNvSpPr>
          <p:nvPr>
            <p:custDataLst>
              <p:tags r:id="rId177"/>
            </p:custDataLst>
          </p:nvPr>
        </p:nvSpPr>
        <p:spPr bwMode="auto">
          <a:xfrm>
            <a:off x="596900" y="5387975"/>
            <a:ext cx="14144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/>
              <a:t>Type </a:t>
            </a:r>
            <a:r>
              <a:rPr lang="en-US" altLang="en-US" dirty="0"/>
              <a:t>1.E / 2.4 S1-S6</a:t>
            </a:r>
            <a:endParaRPr lang="en-US" dirty="0"/>
          </a:p>
        </p:txBody>
      </p:sp>
      <p:sp>
        <p:nvSpPr>
          <p:cNvPr id="104" name="text">
            <a:extLst>
              <a:ext uri="{FF2B5EF4-FFF2-40B4-BE49-F238E27FC236}">
                <a16:creationId xmlns:a16="http://schemas.microsoft.com/office/drawing/2014/main" id="{F5A2CA6B-B370-CCD7-04FC-70966B0E2D41}"/>
              </a:ext>
            </a:extLst>
          </p:cNvPr>
          <p:cNvSpPr>
            <a:spLocks noGrp="1"/>
          </p:cNvSpPr>
          <p:nvPr>
            <p:custDataLst>
              <p:tags r:id="rId178"/>
            </p:custDataLst>
          </p:nvPr>
        </p:nvSpPr>
        <p:spPr bwMode="auto">
          <a:xfrm>
            <a:off x="10460038" y="5387975"/>
            <a:ext cx="11318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 / Curve</a:t>
            </a:r>
          </a:p>
        </p:txBody>
      </p:sp>
      <p:sp>
        <p:nvSpPr>
          <p:cNvPr id="88" name="text">
            <a:extLst>
              <a:ext uri="{FF2B5EF4-FFF2-40B4-BE49-F238E27FC236}">
                <a16:creationId xmlns:a16="http://schemas.microsoft.com/office/drawing/2014/main" id="{DF868FC9-8DB0-99D9-1B78-9F87351A6AD7}"/>
              </a:ext>
            </a:extLst>
          </p:cNvPr>
          <p:cNvSpPr>
            <a:spLocks noGrp="1"/>
          </p:cNvSpPr>
          <p:nvPr>
            <p:custDataLst>
              <p:tags r:id="rId179"/>
            </p:custDataLst>
          </p:nvPr>
        </p:nvSpPr>
        <p:spPr bwMode="auto">
          <a:xfrm>
            <a:off x="596900" y="5116513"/>
            <a:ext cx="10763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/>
              <a:t>Type </a:t>
            </a:r>
            <a:r>
              <a:rPr lang="en-US" altLang="en-US" dirty="0"/>
              <a:t>2.9 B1-B6</a:t>
            </a:r>
            <a:endParaRPr lang="en-US" dirty="0"/>
          </a:p>
        </p:txBody>
      </p:sp>
      <p:sp>
        <p:nvSpPr>
          <p:cNvPr id="14" name="text">
            <a:extLst>
              <a:ext uri="{FF2B5EF4-FFF2-40B4-BE49-F238E27FC236}">
                <a16:creationId xmlns:a16="http://schemas.microsoft.com/office/drawing/2014/main" id="{E9FB6742-3A33-EE2B-64CB-A6557557C04D}"/>
              </a:ext>
            </a:extLst>
          </p:cNvPr>
          <p:cNvSpPr>
            <a:spLocks noGrp="1"/>
          </p:cNvSpPr>
          <p:nvPr>
            <p:custDataLst>
              <p:tags r:id="rId180"/>
            </p:custDataLst>
          </p:nvPr>
        </p:nvSpPr>
        <p:spPr bwMode="auto">
          <a:xfrm>
            <a:off x="596900" y="2079625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DEC0F1C-E2C4-47F0-806C-88D7F6BAC7C9}" type="datetime'''''''A''''''''''c''t''i''''''''v''''ity'''''''''''''''''">
              <a:rPr lang="en-US" altLang="en-US" b="1" smtClean="0">
                <a:effectLst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lang="en-US" b="1" dirty="0"/>
          </a:p>
        </p:txBody>
      </p:sp>
      <p:sp>
        <p:nvSpPr>
          <p:cNvPr id="71" name="text">
            <a:extLst>
              <a:ext uri="{FF2B5EF4-FFF2-40B4-BE49-F238E27FC236}">
                <a16:creationId xmlns:a16="http://schemas.microsoft.com/office/drawing/2014/main" id="{DA72BFB9-B4EA-30C2-9C7A-597B93A0506B}"/>
              </a:ext>
            </a:extLst>
          </p:cNvPr>
          <p:cNvSpPr>
            <a:spLocks noGrp="1"/>
          </p:cNvSpPr>
          <p:nvPr>
            <p:custDataLst>
              <p:tags r:id="rId181"/>
            </p:custDataLst>
          </p:nvPr>
        </p:nvSpPr>
        <p:spPr bwMode="auto">
          <a:xfrm>
            <a:off x="10460038" y="2079625"/>
            <a:ext cx="8874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BCA7072-2ED5-4C4C-B531-C859FFC5020F}" type="datetime'R''''''''esp''o''''n''s''i''''''b''''''''l''''''e'''''">
              <a:rPr lang="en-US" altLang="en-US" b="1" smtClean="0">
                <a:effectLst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Responsible</a:t>
            </a:fld>
            <a:endParaRPr lang="en-US" b="1" dirty="0"/>
          </a:p>
        </p:txBody>
      </p:sp>
      <p:sp>
        <p:nvSpPr>
          <p:cNvPr id="78" name="text">
            <a:extLst>
              <a:ext uri="{FF2B5EF4-FFF2-40B4-BE49-F238E27FC236}">
                <a16:creationId xmlns:a16="http://schemas.microsoft.com/office/drawing/2014/main" id="{5F71AC17-A94E-5E53-D7CC-8820EFF65980}"/>
              </a:ext>
            </a:extLst>
          </p:cNvPr>
          <p:cNvSpPr>
            <a:spLocks noGrp="1"/>
          </p:cNvSpPr>
          <p:nvPr>
            <p:custDataLst>
              <p:tags r:id="rId182"/>
            </p:custDataLst>
          </p:nvPr>
        </p:nvSpPr>
        <p:spPr bwMode="auto">
          <a:xfrm>
            <a:off x="10460038" y="2894013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Curve</a:t>
            </a:r>
            <a:endParaRPr lang="en-US" dirty="0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29441692-160F-00E1-65DD-EE5CFB5E15CB}"/>
              </a:ext>
            </a:extLst>
          </p:cNvPr>
          <p:cNvSpPr>
            <a:spLocks noGrp="1"/>
          </p:cNvSpPr>
          <p:nvPr>
            <p:custDataLst>
              <p:tags r:id="rId183"/>
            </p:custDataLst>
          </p:nvPr>
        </p:nvSpPr>
        <p:spPr bwMode="auto">
          <a:xfrm>
            <a:off x="596900" y="2894013"/>
            <a:ext cx="11795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effectLst/>
              </a:rPr>
              <a:t>Type 1.6A B1-B6</a:t>
            </a:r>
            <a:endParaRPr lang="en-US" dirty="0"/>
          </a:p>
        </p:txBody>
      </p:sp>
      <p:sp>
        <p:nvSpPr>
          <p:cNvPr id="12" name="text">
            <a:extLst>
              <a:ext uri="{FF2B5EF4-FFF2-40B4-BE49-F238E27FC236}">
                <a16:creationId xmlns:a16="http://schemas.microsoft.com/office/drawing/2014/main" id="{EDDABFBC-604D-EE41-3AD2-DCE46F7C8286}"/>
              </a:ext>
            </a:extLst>
          </p:cNvPr>
          <p:cNvSpPr>
            <a:spLocks noGrp="1"/>
          </p:cNvSpPr>
          <p:nvPr>
            <p:custDataLst>
              <p:tags r:id="rId184"/>
            </p:custDataLst>
          </p:nvPr>
        </p:nvSpPr>
        <p:spPr bwMode="auto">
          <a:xfrm>
            <a:off x="596900" y="4005263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/>
              <a:t>Type </a:t>
            </a:r>
            <a:r>
              <a:rPr lang="en-US" altLang="en-US" dirty="0"/>
              <a:t>2.123 S4</a:t>
            </a:r>
            <a:endParaRPr lang="en-US" dirty="0"/>
          </a:p>
        </p:txBody>
      </p:sp>
      <p:sp>
        <p:nvSpPr>
          <p:cNvPr id="98" name="text">
            <a:extLst>
              <a:ext uri="{FF2B5EF4-FFF2-40B4-BE49-F238E27FC236}">
                <a16:creationId xmlns:a16="http://schemas.microsoft.com/office/drawing/2014/main" id="{0650013A-B0D2-CDC8-D78C-5F7682FF9F19}"/>
              </a:ext>
            </a:extLst>
          </p:cNvPr>
          <p:cNvSpPr>
            <a:spLocks noGrp="1"/>
          </p:cNvSpPr>
          <p:nvPr>
            <p:custDataLst>
              <p:tags r:id="rId185"/>
            </p:custDataLst>
          </p:nvPr>
        </p:nvSpPr>
        <p:spPr bwMode="auto">
          <a:xfrm>
            <a:off x="10460038" y="3735388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</a:p>
        </p:txBody>
      </p:sp>
      <p:sp>
        <p:nvSpPr>
          <p:cNvPr id="80" name="text">
            <a:extLst>
              <a:ext uri="{FF2B5EF4-FFF2-40B4-BE49-F238E27FC236}">
                <a16:creationId xmlns:a16="http://schemas.microsoft.com/office/drawing/2014/main" id="{72CB9EF4-4076-AD13-5636-950AB77116DB}"/>
              </a:ext>
            </a:extLst>
          </p:cNvPr>
          <p:cNvSpPr>
            <a:spLocks noGrp="1"/>
          </p:cNvSpPr>
          <p:nvPr>
            <p:custDataLst>
              <p:tags r:id="rId186"/>
            </p:custDataLst>
          </p:nvPr>
        </p:nvSpPr>
        <p:spPr bwMode="auto">
          <a:xfrm>
            <a:off x="10460038" y="3165475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Curve</a:t>
            </a:r>
            <a:endParaRPr lang="en-US" dirty="0"/>
          </a:p>
        </p:txBody>
      </p:sp>
      <p:sp>
        <p:nvSpPr>
          <p:cNvPr id="11" name="text">
            <a:extLst>
              <a:ext uri="{FF2B5EF4-FFF2-40B4-BE49-F238E27FC236}">
                <a16:creationId xmlns:a16="http://schemas.microsoft.com/office/drawing/2014/main" id="{A6C8940E-FDC9-5DC9-5DE2-6A6734A4B0F1}"/>
              </a:ext>
            </a:extLst>
          </p:cNvPr>
          <p:cNvSpPr>
            <a:spLocks noGrp="1"/>
          </p:cNvSpPr>
          <p:nvPr>
            <p:custDataLst>
              <p:tags r:id="rId187"/>
            </p:custDataLst>
          </p:nvPr>
        </p:nvSpPr>
        <p:spPr bwMode="auto">
          <a:xfrm>
            <a:off x="596900" y="3165475"/>
            <a:ext cx="1171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effectLst/>
              </a:rPr>
              <a:t>Type 2.8C B1-B6</a:t>
            </a:r>
            <a:endParaRPr lang="en-US" dirty="0"/>
          </a:p>
        </p:txBody>
      </p:sp>
      <p:sp>
        <p:nvSpPr>
          <p:cNvPr id="8" name="text">
            <a:extLst>
              <a:ext uri="{FF2B5EF4-FFF2-40B4-BE49-F238E27FC236}">
                <a16:creationId xmlns:a16="http://schemas.microsoft.com/office/drawing/2014/main" id="{28BD0DAA-3CA8-5F7F-FD78-854F866636B8}"/>
              </a:ext>
            </a:extLst>
          </p:cNvPr>
          <p:cNvSpPr>
            <a:spLocks noGrp="1"/>
          </p:cNvSpPr>
          <p:nvPr>
            <p:custDataLst>
              <p:tags r:id="rId188"/>
            </p:custDataLst>
          </p:nvPr>
        </p:nvSpPr>
        <p:spPr bwMode="auto">
          <a:xfrm>
            <a:off x="596900" y="2624138"/>
            <a:ext cx="11731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effectLst/>
              </a:rPr>
              <a:t>Type 1.7B B1-B6</a:t>
            </a:r>
            <a:endParaRPr lang="en-US" dirty="0"/>
          </a:p>
        </p:txBody>
      </p:sp>
      <p:sp>
        <p:nvSpPr>
          <p:cNvPr id="74" name="text">
            <a:extLst>
              <a:ext uri="{FF2B5EF4-FFF2-40B4-BE49-F238E27FC236}">
                <a16:creationId xmlns:a16="http://schemas.microsoft.com/office/drawing/2014/main" id="{EFAFE3A9-3DE0-6184-5F56-2B39F756EAF0}"/>
              </a:ext>
            </a:extLst>
          </p:cNvPr>
          <p:cNvSpPr>
            <a:spLocks noGrp="1"/>
          </p:cNvSpPr>
          <p:nvPr>
            <p:custDataLst>
              <p:tags r:id="rId189"/>
            </p:custDataLst>
          </p:nvPr>
        </p:nvSpPr>
        <p:spPr bwMode="auto">
          <a:xfrm>
            <a:off x="10460038" y="2352675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effectLst/>
              </a:rPr>
              <a:t>Curve</a:t>
            </a:r>
            <a:endParaRPr lang="en-US" dirty="0"/>
          </a:p>
        </p:txBody>
      </p:sp>
      <p:sp>
        <p:nvSpPr>
          <p:cNvPr id="84" name="text">
            <a:extLst>
              <a:ext uri="{FF2B5EF4-FFF2-40B4-BE49-F238E27FC236}">
                <a16:creationId xmlns:a16="http://schemas.microsoft.com/office/drawing/2014/main" id="{DF9D720C-8660-8A20-0127-7DC86956CA70}"/>
              </a:ext>
            </a:extLst>
          </p:cNvPr>
          <p:cNvSpPr>
            <a:spLocks noGrp="1"/>
          </p:cNvSpPr>
          <p:nvPr>
            <p:custDataLst>
              <p:tags r:id="rId190"/>
            </p:custDataLst>
          </p:nvPr>
        </p:nvSpPr>
        <p:spPr bwMode="auto">
          <a:xfrm>
            <a:off x="596900" y="3735388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Type 2.123 S3</a:t>
            </a:r>
            <a:endParaRPr lang="en-US" dirty="0"/>
          </a:p>
        </p:txBody>
      </p:sp>
      <p:sp>
        <p:nvSpPr>
          <p:cNvPr id="6" name="text">
            <a:extLst>
              <a:ext uri="{FF2B5EF4-FFF2-40B4-BE49-F238E27FC236}">
                <a16:creationId xmlns:a16="http://schemas.microsoft.com/office/drawing/2014/main" id="{575F653D-F966-172E-ACD4-A5870395A1D5}"/>
              </a:ext>
            </a:extLst>
          </p:cNvPr>
          <p:cNvSpPr>
            <a:spLocks noGrp="1"/>
          </p:cNvSpPr>
          <p:nvPr>
            <p:custDataLst>
              <p:tags r:id="rId191"/>
            </p:custDataLst>
          </p:nvPr>
        </p:nvSpPr>
        <p:spPr bwMode="auto">
          <a:xfrm>
            <a:off x="596900" y="2352675"/>
            <a:ext cx="10763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>
                <a:effectLst/>
              </a:rPr>
              <a:t>Type </a:t>
            </a:r>
            <a:r>
              <a:rPr lang="en-US" altLang="en-US" dirty="0">
                <a:effectLst/>
              </a:rPr>
              <a:t>2.5 B1-B6</a:t>
            </a:r>
            <a:endParaRPr lang="en-US" dirty="0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B9B54C60-AD08-DBB2-350E-A298820870DA}"/>
              </a:ext>
            </a:extLst>
          </p:cNvPr>
          <p:cNvSpPr/>
          <p:nvPr/>
        </p:nvSpPr>
        <p:spPr>
          <a:xfrm>
            <a:off x="2540833" y="2597813"/>
            <a:ext cx="1041816" cy="60258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31" name="Textfeld 430">
            <a:extLst>
              <a:ext uri="{FF2B5EF4-FFF2-40B4-BE49-F238E27FC236}">
                <a16:creationId xmlns:a16="http://schemas.microsoft.com/office/drawing/2014/main" id="{DF03B01D-70B3-934C-C4D3-5F3827C6F241}"/>
              </a:ext>
            </a:extLst>
          </p:cNvPr>
          <p:cNvSpPr txBox="1"/>
          <p:nvPr/>
        </p:nvSpPr>
        <p:spPr>
          <a:xfrm>
            <a:off x="6881814" y="2597813"/>
            <a:ext cx="3286304" cy="1785993"/>
          </a:xfrm>
          <a:prstGeom prst="rect">
            <a:avLst/>
          </a:prstGeom>
          <a:solidFill>
            <a:schemeClr val="bg1">
              <a:lumMod val="85000"/>
              <a:alpha val="25000"/>
            </a:schemeClr>
          </a:solidFill>
          <a:ln w="19050">
            <a:solidFill>
              <a:srgbClr val="FF0000"/>
            </a:solidFill>
          </a:ln>
        </p:spPr>
        <p:txBody>
          <a:bodyPr wrap="square" lIns="36000" tIns="36000" rIns="36000" bIns="36000" rtlCol="0">
            <a:spAutoFit/>
          </a:bodyPr>
          <a:lstStyle/>
          <a:p>
            <a:pPr algn="l">
              <a:spcBef>
                <a:spcPts val="400"/>
              </a:spcBef>
              <a:spcAft>
                <a:spcPts val="400"/>
              </a:spcAft>
            </a:pPr>
            <a:r>
              <a:rPr lang="en-US" sz="1400" dirty="0">
                <a:solidFill>
                  <a:schemeClr val="tx1"/>
                </a:solidFill>
                <a:latin typeface="+mn-lt"/>
              </a:rPr>
              <a:t>Some milestones for the delivery of the modules have been achieved but are not yet completed (according do the status in Planisware).</a:t>
            </a:r>
          </a:p>
          <a:p>
            <a:pPr algn="l">
              <a:spcBef>
                <a:spcPts val="400"/>
              </a:spcBef>
              <a:spcAft>
                <a:spcPts val="400"/>
              </a:spcAft>
            </a:pPr>
            <a:r>
              <a:rPr lang="en-US" sz="1400" dirty="0">
                <a:solidFill>
                  <a:schemeClr val="tx1"/>
                </a:solidFill>
                <a:latin typeface="+mn-lt"/>
              </a:rPr>
              <a:t>Recommendation:</a:t>
            </a:r>
          </a:p>
          <a:p>
            <a:pPr algn="l">
              <a:spcBef>
                <a:spcPts val="400"/>
              </a:spcBef>
              <a:spcAft>
                <a:spcPts val="400"/>
              </a:spcAft>
            </a:pPr>
            <a:r>
              <a:rPr lang="en-US" sz="1400" dirty="0"/>
              <a:t>Confirmation of the status of past delivery milestones.</a:t>
            </a:r>
            <a:endParaRPr lang="en-US" sz="1400" dirty="0">
              <a:solidFill>
                <a:schemeClr val="tx1"/>
              </a:solidFill>
              <a:latin typeface="+mn-lt"/>
            </a:endParaRPr>
          </a:p>
        </p:txBody>
      </p:sp>
      <p:cxnSp>
        <p:nvCxnSpPr>
          <p:cNvPr id="434" name="Verbinder: gekrümmt 433">
            <a:extLst>
              <a:ext uri="{FF2B5EF4-FFF2-40B4-BE49-F238E27FC236}">
                <a16:creationId xmlns:a16="http://schemas.microsoft.com/office/drawing/2014/main" id="{985850BA-09B1-7EF8-D15B-FB390AA8638C}"/>
              </a:ext>
            </a:extLst>
          </p:cNvPr>
          <p:cNvCxnSpPr>
            <a:cxnSpLocks/>
            <a:stCxn id="431" idx="1"/>
            <a:endCxn id="7" idx="5"/>
          </p:cNvCxnSpPr>
          <p:nvPr/>
        </p:nvCxnSpPr>
        <p:spPr>
          <a:xfrm rot="10800000">
            <a:off x="3430080" y="3112154"/>
            <a:ext cx="3451735" cy="378657"/>
          </a:xfrm>
          <a:prstGeom prst="curvedConnector2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0855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0C9607-33F6-1D3F-DC95-3504FA0EA4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" name="think-cell data - do not delete" hidden="1">
            <a:extLst>
              <a:ext uri="{FF2B5EF4-FFF2-40B4-BE49-F238E27FC236}">
                <a16:creationId xmlns:a16="http://schemas.microsoft.com/office/drawing/2014/main" id="{B61BF595-43FB-73FD-A462-BC800708BC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1862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2" imgW="473" imgH="473" progId="TCLayout.ActiveDocument.1">
                  <p:embed/>
                </p:oleObj>
              </mc:Choice>
              <mc:Fallback>
                <p:oleObj name="think-cell Folie" r:id="rId182" imgW="473" imgH="473" progId="TCLayout.ActiveDocument.1">
                  <p:embed/>
                  <p:pic>
                    <p:nvPicPr>
                      <p:cNvPr id="6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1BF595-43FB-73FD-A462-BC800708BC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D000F-E82A-7406-E4CD-BB42089B57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IS100 Workshop – Installation Plan Dipole and quadrupole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8BB42E8-6441-E2AC-ECFC-48205CAA8A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 dirty="0"/>
              <a:t>Open issues / to clarify (</a:t>
            </a:r>
            <a:r>
              <a:rPr lang="en-US" dirty="0"/>
              <a:t>non-working time at the turn of the year</a:t>
            </a:r>
            <a:r>
              <a:rPr lang="pt-BR" dirty="0"/>
              <a:t>)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EC52C1-21B0-B0E6-D815-7A6532AF35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6F52675-D2EB-D159-F346-2CD796B85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7C520ED-BD3E-16DD-9536-493DEB90DA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9449A-3FF3-45CE-9F4F-09BADC0910C6}" type="slidenum">
              <a:rPr lang="de-DE" noProof="0"/>
              <a:t>15</a:t>
            </a:fld>
            <a:endParaRPr lang="de-DE" noProof="0" dirty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30E9F572-734C-F55A-E09C-6941B66ACA68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0299700" y="2309812"/>
            <a:ext cx="84138" cy="3333750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913A70D5-C57E-E563-0756-12DB7EB09E58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3311525" y="2309812"/>
            <a:ext cx="134938" cy="3333750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BD0F1CA5-B9CE-6FDA-D198-B283979AAF79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5640388" y="2309812"/>
            <a:ext cx="134938" cy="3333750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EE8F7C8A-77FF-C545-842A-590C433E39EE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969250" y="2309812"/>
            <a:ext cx="134938" cy="3333750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19" name="text">
            <a:extLst>
              <a:ext uri="{FF2B5EF4-FFF2-40B4-BE49-F238E27FC236}">
                <a16:creationId xmlns:a16="http://schemas.microsoft.com/office/drawing/2014/main" id="{99D7F467-56ED-DB97-B0D0-997AC8FE3E1C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198688" y="1601788"/>
            <a:ext cx="117792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02F4FE3-1A2A-4D1E-B90B-6D4D4AE5980A}" type="datetime'''''''2''''025'''''''''''''''''''''''''''''">
              <a:rPr lang="en-US" altLang="en-US" b="1" smtClean="0"/>
              <a:pPr/>
              <a:t>2025</a:t>
            </a:fld>
            <a:endParaRPr lang="en-US" b="1" dirty="0"/>
          </a:p>
        </p:txBody>
      </p:sp>
      <p:sp>
        <p:nvSpPr>
          <p:cNvPr id="505" name="text">
            <a:extLst>
              <a:ext uri="{FF2B5EF4-FFF2-40B4-BE49-F238E27FC236}">
                <a16:creationId xmlns:a16="http://schemas.microsoft.com/office/drawing/2014/main" id="{B3138585-DC75-8CF5-37FC-B140049BE6D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376613" y="1601788"/>
            <a:ext cx="23352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14216BF-C595-40C5-BE77-C33A25291AE9}" type="datetime'''20''''''''''2''''''''''''''''''''''6'">
              <a:rPr lang="en-US" altLang="en-US" b="1" smtClean="0"/>
              <a:pPr/>
              <a:t>2026</a:t>
            </a:fld>
            <a:endParaRPr lang="en-US" b="1" dirty="0"/>
          </a:p>
        </p:txBody>
      </p:sp>
      <p:sp>
        <p:nvSpPr>
          <p:cNvPr id="544" name="text">
            <a:extLst>
              <a:ext uri="{FF2B5EF4-FFF2-40B4-BE49-F238E27FC236}">
                <a16:creationId xmlns:a16="http://schemas.microsoft.com/office/drawing/2014/main" id="{51635711-0EED-E22B-CF0E-0CA62D70E3F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711825" y="1601788"/>
            <a:ext cx="23352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F38DC23-C9E9-43FB-A5D4-8322146BEBBB}" type="datetime'''20''''''2''''''''''''''''''''''''''''''''7'''''''''''">
              <a:rPr lang="en-US" altLang="en-US" b="1" smtClean="0"/>
              <a:pPr/>
              <a:t>2027</a:t>
            </a:fld>
            <a:endParaRPr lang="en-US" b="1" dirty="0"/>
          </a:p>
        </p:txBody>
      </p:sp>
      <p:sp>
        <p:nvSpPr>
          <p:cNvPr id="593" name="text">
            <a:extLst>
              <a:ext uri="{FF2B5EF4-FFF2-40B4-BE49-F238E27FC236}">
                <a16:creationId xmlns:a16="http://schemas.microsoft.com/office/drawing/2014/main" id="{911419BC-FB2D-6794-1101-DD6DA7880E7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047038" y="1601788"/>
            <a:ext cx="23415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209150C-C0DE-4561-B062-B29A358BD156}" type="datetime'''''''2''''''0''''''''''2''''''''''''''''''8'''''''''''">
              <a:rPr lang="en-US" altLang="en-US" b="1" smtClean="0"/>
              <a:pPr/>
              <a:t>2028</a:t>
            </a:fld>
            <a:endParaRPr lang="en-US" b="1" dirty="0"/>
          </a:p>
        </p:txBody>
      </p:sp>
      <p:sp>
        <p:nvSpPr>
          <p:cNvPr id="406" name="text">
            <a:extLst>
              <a:ext uri="{FF2B5EF4-FFF2-40B4-BE49-F238E27FC236}">
                <a16:creationId xmlns:a16="http://schemas.microsoft.com/office/drawing/2014/main" id="{FDF847A5-BD35-0203-7466-336B40F9D88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198688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AD80CA9-3A45-47D4-A0F6-4F9DF0A26299}" type="datetime'''Q3'''''''''''''">
              <a:rPr lang="en-US" altLang="en-US" b="1" smtClean="0"/>
              <a:pPr/>
              <a:t>Q3</a:t>
            </a:fld>
            <a:endParaRPr lang="en-US" b="1" dirty="0"/>
          </a:p>
        </p:txBody>
      </p:sp>
      <p:sp>
        <p:nvSpPr>
          <p:cNvPr id="407" name="text">
            <a:extLst>
              <a:ext uri="{FF2B5EF4-FFF2-40B4-BE49-F238E27FC236}">
                <a16:creationId xmlns:a16="http://schemas.microsoft.com/office/drawing/2014/main" id="{D5886E37-0C79-8E3B-9104-DCCC2585B714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787650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D73C281-6788-4916-9632-5A2D9D5F72A2}" type="datetime'Q4'''''''''''">
              <a:rPr lang="en-US" altLang="en-US" b="1" smtClean="0"/>
              <a:pPr/>
              <a:t>Q4</a:t>
            </a:fld>
            <a:endParaRPr lang="en-US" b="1" dirty="0"/>
          </a:p>
        </p:txBody>
      </p:sp>
      <p:sp>
        <p:nvSpPr>
          <p:cNvPr id="497" name="text">
            <a:extLst>
              <a:ext uri="{FF2B5EF4-FFF2-40B4-BE49-F238E27FC236}">
                <a16:creationId xmlns:a16="http://schemas.microsoft.com/office/drawing/2014/main" id="{A14166FC-4B2E-B72A-353B-995C1135CF23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376614" y="1862138"/>
            <a:ext cx="57467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75BFCDF-E2A1-431E-8EE0-5000BA81F963}" type="datetime'''''''''''''''''''''''''Q1'''''">
              <a:rPr lang="en-US" altLang="en-US" b="1" smtClean="0"/>
              <a:pPr/>
              <a:t>Q1</a:t>
            </a:fld>
            <a:endParaRPr lang="en-US" b="1" dirty="0"/>
          </a:p>
        </p:txBody>
      </p:sp>
      <p:sp>
        <p:nvSpPr>
          <p:cNvPr id="498" name="text">
            <a:extLst>
              <a:ext uri="{FF2B5EF4-FFF2-40B4-BE49-F238E27FC236}">
                <a16:creationId xmlns:a16="http://schemas.microsoft.com/office/drawing/2014/main" id="{E0847F79-ECFF-0856-D4D1-E8C0028C873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951289" y="1862138"/>
            <a:ext cx="5826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0ADFC55-3886-4F74-8205-E6781F7E51EF}" type="datetime'''''''''''''''''''''''''''''''''''Q''''''''''''''2'''''''">
              <a:rPr lang="en-US" altLang="en-US" b="1" smtClean="0"/>
              <a:pPr/>
              <a:t>Q2</a:t>
            </a:fld>
            <a:endParaRPr lang="en-US" b="1" dirty="0"/>
          </a:p>
        </p:txBody>
      </p:sp>
      <p:sp>
        <p:nvSpPr>
          <p:cNvPr id="499" name="text">
            <a:extLst>
              <a:ext uri="{FF2B5EF4-FFF2-40B4-BE49-F238E27FC236}">
                <a16:creationId xmlns:a16="http://schemas.microsoft.com/office/drawing/2014/main" id="{52D5F791-4779-2E58-13E3-3B6EE4DEEA68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533900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A9D8F26-01FA-43D4-BB68-A2C11942FD84}" type="datetime'''Q''''''''''''''''''''''''''''''''''''''''''''''''''''3'''''">
              <a:rPr lang="en-US" altLang="en-US" b="1" smtClean="0"/>
              <a:pPr/>
              <a:t>Q3</a:t>
            </a:fld>
            <a:endParaRPr lang="en-US" b="1" dirty="0"/>
          </a:p>
        </p:txBody>
      </p:sp>
      <p:sp>
        <p:nvSpPr>
          <p:cNvPr id="500" name="text">
            <a:extLst>
              <a:ext uri="{FF2B5EF4-FFF2-40B4-BE49-F238E27FC236}">
                <a16:creationId xmlns:a16="http://schemas.microsoft.com/office/drawing/2014/main" id="{A547E109-B406-23CC-A8E3-B824EFD8AF1B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122863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1FC14B9-B0F7-49A3-B82F-6545FBC37EDC}" type="datetime'''''''''''Q''''''''''''''''''''''4'''''''">
              <a:rPr lang="en-US" altLang="en-US" b="1" smtClean="0"/>
              <a:pPr/>
              <a:t>Q4</a:t>
            </a:fld>
            <a:endParaRPr lang="en-US" b="1" dirty="0"/>
          </a:p>
        </p:txBody>
      </p:sp>
      <p:sp>
        <p:nvSpPr>
          <p:cNvPr id="540" name="text">
            <a:extLst>
              <a:ext uri="{FF2B5EF4-FFF2-40B4-BE49-F238E27FC236}">
                <a16:creationId xmlns:a16="http://schemas.microsoft.com/office/drawing/2014/main" id="{8329C9FD-5CA2-B510-5813-25FC71A911E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711826" y="1862138"/>
            <a:ext cx="57467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F913DF8-AF63-4911-9044-347BED8B935B}" type="datetime'''Q''''''''''''''''''''''''''''1'''''''''''">
              <a:rPr lang="en-US" altLang="en-US" b="1" smtClean="0"/>
              <a:pPr/>
              <a:t>Q1</a:t>
            </a:fld>
            <a:endParaRPr lang="en-US" b="1" dirty="0"/>
          </a:p>
        </p:txBody>
      </p:sp>
      <p:sp>
        <p:nvSpPr>
          <p:cNvPr id="541" name="text">
            <a:extLst>
              <a:ext uri="{FF2B5EF4-FFF2-40B4-BE49-F238E27FC236}">
                <a16:creationId xmlns:a16="http://schemas.microsoft.com/office/drawing/2014/main" id="{217D3745-5816-D4FE-8991-AAD7745B7418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286501" y="1862138"/>
            <a:ext cx="5826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23BB49B-F987-4D5E-B1FB-A45DC4DC2BAE}" type="datetime'''''''''''''''Q''''''''''''''''''''''2'''''''''''''''''''''">
              <a:rPr lang="en-US" altLang="en-US" b="1" smtClean="0"/>
              <a:pPr/>
              <a:t>Q2</a:t>
            </a:fld>
            <a:endParaRPr lang="en-US" b="1" dirty="0"/>
          </a:p>
        </p:txBody>
      </p:sp>
      <p:sp>
        <p:nvSpPr>
          <p:cNvPr id="542" name="text">
            <a:extLst>
              <a:ext uri="{FF2B5EF4-FFF2-40B4-BE49-F238E27FC236}">
                <a16:creationId xmlns:a16="http://schemas.microsoft.com/office/drawing/2014/main" id="{9A3C9E58-0B30-A213-5679-59F77D07A795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869113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4AF189E-61C0-4071-BABB-68D2781C0521}" type="datetime'''''''''''''Q3'">
              <a:rPr lang="en-US" altLang="en-US" b="1" smtClean="0"/>
              <a:pPr/>
              <a:t>Q3</a:t>
            </a:fld>
            <a:endParaRPr lang="en-US" b="1" dirty="0"/>
          </a:p>
        </p:txBody>
      </p:sp>
      <p:sp>
        <p:nvSpPr>
          <p:cNvPr id="543" name="text">
            <a:extLst>
              <a:ext uri="{FF2B5EF4-FFF2-40B4-BE49-F238E27FC236}">
                <a16:creationId xmlns:a16="http://schemas.microsoft.com/office/drawing/2014/main" id="{A93CBF24-21F0-9E47-C393-277E05C1AB43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458075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C44E379-C25F-4312-88C0-9E59046226C3}" type="datetime'''Q''''''''''''''''''''''4'''''''''''''''''''''">
              <a:rPr lang="en-US" altLang="en-US" b="1" smtClean="0"/>
              <a:pPr/>
              <a:t>Q4</a:t>
            </a:fld>
            <a:endParaRPr lang="en-US" b="1" dirty="0"/>
          </a:p>
        </p:txBody>
      </p:sp>
      <p:sp>
        <p:nvSpPr>
          <p:cNvPr id="589" name="text">
            <a:extLst>
              <a:ext uri="{FF2B5EF4-FFF2-40B4-BE49-F238E27FC236}">
                <a16:creationId xmlns:a16="http://schemas.microsoft.com/office/drawing/2014/main" id="{7104BD79-1B5B-3EFD-680B-C5D0A6311BDF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8047039" y="1862138"/>
            <a:ext cx="5826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EA13AA6-F14D-4345-812D-CE7997E98106}" type="datetime'''''''''''''''''''''''''''Q''''''''''''''''1'''''">
              <a:rPr lang="en-US" altLang="en-US" b="1" smtClean="0"/>
              <a:pPr/>
              <a:t>Q1</a:t>
            </a:fld>
            <a:endParaRPr lang="en-US" b="1" dirty="0"/>
          </a:p>
        </p:txBody>
      </p:sp>
      <p:sp>
        <p:nvSpPr>
          <p:cNvPr id="590" name="text">
            <a:extLst>
              <a:ext uri="{FF2B5EF4-FFF2-40B4-BE49-F238E27FC236}">
                <a16:creationId xmlns:a16="http://schemas.microsoft.com/office/drawing/2014/main" id="{C7178B2D-98FA-6A46-E10F-455B94CEA804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8629650" y="1862138"/>
            <a:ext cx="58102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C34017C-3044-42FD-BBEF-73F3DB32D6E7}" type="datetime'''''''''''Q''''''''''''''''''''''''''''''2'''">
              <a:rPr lang="en-US" altLang="en-US" b="1" smtClean="0"/>
              <a:pPr/>
              <a:t>Q2</a:t>
            </a:fld>
            <a:endParaRPr lang="en-US" b="1" dirty="0"/>
          </a:p>
        </p:txBody>
      </p:sp>
      <p:sp>
        <p:nvSpPr>
          <p:cNvPr id="591" name="text">
            <a:extLst>
              <a:ext uri="{FF2B5EF4-FFF2-40B4-BE49-F238E27FC236}">
                <a16:creationId xmlns:a16="http://schemas.microsoft.com/office/drawing/2014/main" id="{4F39111F-8266-6C49-1752-40938CACF1F6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9210676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426FF7B-0F60-4923-8BFC-AEE974644245}" type="datetime'''''''''''''''''''''''''''''''''''''''''''Q''''''3'''">
              <a:rPr lang="en-US" altLang="en-US" b="1" smtClean="0"/>
              <a:pPr/>
              <a:t>Q3</a:t>
            </a:fld>
            <a:endParaRPr lang="en-US" b="1" dirty="0"/>
          </a:p>
        </p:txBody>
      </p:sp>
      <p:sp>
        <p:nvSpPr>
          <p:cNvPr id="592" name="text">
            <a:extLst>
              <a:ext uri="{FF2B5EF4-FFF2-40B4-BE49-F238E27FC236}">
                <a16:creationId xmlns:a16="http://schemas.microsoft.com/office/drawing/2014/main" id="{6822357B-D6BA-9062-D27E-26263353934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9799638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FAB18D2-2786-4855-A580-645F2425FCE6}" type="datetime'''''''Q''''''''''''''''''''''''4'''''''''''''''''">
              <a:rPr lang="en-US" altLang="en-US" b="1" smtClean="0"/>
              <a:pPr/>
              <a:t>Q4</a:t>
            </a:fld>
            <a:endParaRPr lang="en-US" b="1" dirty="0"/>
          </a:p>
        </p:txBody>
      </p:sp>
      <p:sp>
        <p:nvSpPr>
          <p:cNvPr id="52" name="text">
            <a:extLst>
              <a:ext uri="{FF2B5EF4-FFF2-40B4-BE49-F238E27FC236}">
                <a16:creationId xmlns:a16="http://schemas.microsoft.com/office/drawing/2014/main" id="{6B00B91F-5203-ADE1-2F3F-E8A2B46E62A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2198688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6227835-67C0-4A02-912A-6D08E049CB27}" type="datetime'''''''''''''''''''''''''''''''''''''''''''''''''7'''''''''''''">
              <a:rPr lang="en-US" altLang="en-US" sz="1000" smtClean="0"/>
              <a:pPr/>
              <a:t>7</a:t>
            </a:fld>
            <a:endParaRPr lang="en-US" sz="1000" dirty="0"/>
          </a:p>
        </p:txBody>
      </p:sp>
      <p:sp>
        <p:nvSpPr>
          <p:cNvPr id="54" name="text">
            <a:extLst>
              <a:ext uri="{FF2B5EF4-FFF2-40B4-BE49-F238E27FC236}">
                <a16:creationId xmlns:a16="http://schemas.microsoft.com/office/drawing/2014/main" id="{F87CB597-56E4-E5E5-4681-387097BD192F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397125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1088191-E52A-442D-B344-7DF4E5447A3F}" type="datetime'''''''''''8'">
              <a:rPr lang="en-US" altLang="en-US" sz="1000" smtClean="0"/>
              <a:pPr/>
              <a:t>8</a:t>
            </a:fld>
            <a:endParaRPr lang="en-US" sz="1000" dirty="0"/>
          </a:p>
        </p:txBody>
      </p:sp>
      <p:sp>
        <p:nvSpPr>
          <p:cNvPr id="38" name="text">
            <a:extLst>
              <a:ext uri="{FF2B5EF4-FFF2-40B4-BE49-F238E27FC236}">
                <a16:creationId xmlns:a16="http://schemas.microsoft.com/office/drawing/2014/main" id="{8387E51B-5F83-632B-E80C-D6CD6AF1E0D1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595563" y="2122489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941CB51-7924-4FED-B609-7CAA243ED190}" type="datetime'''''''''''''''''''''''''''''''''''''''''''''''''9'''''">
              <a:rPr lang="en-US" altLang="en-US" sz="1000" smtClean="0"/>
              <a:pPr/>
              <a:t>9</a:t>
            </a:fld>
            <a:endParaRPr lang="en-US" sz="1000" dirty="0"/>
          </a:p>
        </p:txBody>
      </p:sp>
      <p:sp>
        <p:nvSpPr>
          <p:cNvPr id="39" name="text">
            <a:extLst>
              <a:ext uri="{FF2B5EF4-FFF2-40B4-BE49-F238E27FC236}">
                <a16:creationId xmlns:a16="http://schemas.microsoft.com/office/drawing/2014/main" id="{1DAFAB59-325C-E1DD-D52F-6E43C9FB9886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787650" y="2122489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80038D6-A1D4-4852-A2D8-3C728E888BA2}" type="datetime'''''''''''''''''''''''''''''''''''''''''''''''''10'''''">
              <a:rPr lang="en-US" altLang="en-US" sz="1000" smtClean="0"/>
              <a:pPr/>
              <a:t>10</a:t>
            </a:fld>
            <a:endParaRPr lang="en-US" sz="1000" dirty="0"/>
          </a:p>
        </p:txBody>
      </p:sp>
      <p:sp>
        <p:nvSpPr>
          <p:cNvPr id="40" name="text">
            <a:extLst>
              <a:ext uri="{FF2B5EF4-FFF2-40B4-BE49-F238E27FC236}">
                <a16:creationId xmlns:a16="http://schemas.microsoft.com/office/drawing/2014/main" id="{6E6414ED-6449-4BF5-3519-BEA58D064869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2986088" y="2122489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45B2CB4-4108-4D87-AF1D-C80954AAC9D4}" type="datetime'''''''''''''''''''1''''''''''''''''''1'''''''''''''''''''">
              <a:rPr lang="en-US" altLang="en-US" sz="1000" smtClean="0"/>
              <a:pPr/>
              <a:t>11</a:t>
            </a:fld>
            <a:endParaRPr lang="en-US" sz="1000" dirty="0"/>
          </a:p>
        </p:txBody>
      </p:sp>
      <p:sp>
        <p:nvSpPr>
          <p:cNvPr id="469" name="text">
            <a:extLst>
              <a:ext uri="{FF2B5EF4-FFF2-40B4-BE49-F238E27FC236}">
                <a16:creationId xmlns:a16="http://schemas.microsoft.com/office/drawing/2014/main" id="{9509170F-D069-7E62-AD4B-11FBE2960686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3178175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261B0F0-1350-45E5-817C-E87B899581AF}" type="datetime'''''''''''''''''''''1''''''''''2'''''''''''''">
              <a:rPr lang="en-US" altLang="en-US" sz="1000" smtClean="0"/>
              <a:pPr/>
              <a:t>12</a:t>
            </a:fld>
            <a:endParaRPr lang="en-US" sz="1000" dirty="0"/>
          </a:p>
        </p:txBody>
      </p:sp>
      <p:sp>
        <p:nvSpPr>
          <p:cNvPr id="472" name="text">
            <a:extLst>
              <a:ext uri="{FF2B5EF4-FFF2-40B4-BE49-F238E27FC236}">
                <a16:creationId xmlns:a16="http://schemas.microsoft.com/office/drawing/2014/main" id="{F14FC841-0CCE-E1C6-A054-C894F70F7913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3376613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F702AA0-B630-49E4-A60E-31CA08924D99}" type="datetime'''''''''''''1'''''''''''''''''''''''''''''''''''''''''''''''">
              <a:rPr lang="en-US" altLang="en-US" sz="1000" smtClean="0"/>
              <a:pPr/>
              <a:t>1</a:t>
            </a:fld>
            <a:endParaRPr lang="en-US" sz="1000" dirty="0"/>
          </a:p>
        </p:txBody>
      </p:sp>
      <p:sp>
        <p:nvSpPr>
          <p:cNvPr id="474" name="text">
            <a:extLst>
              <a:ext uri="{FF2B5EF4-FFF2-40B4-BE49-F238E27FC236}">
                <a16:creationId xmlns:a16="http://schemas.microsoft.com/office/drawing/2014/main" id="{0A204FCD-114F-2D45-3E2D-9EE34A13D631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3575050" y="2122488"/>
            <a:ext cx="17780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F63A27C-B2B0-4E3B-9F57-04710E53A2D8}" type="datetime'2'''''''''''''''''''''''''''''''''''''''''''''''''''''''">
              <a:rPr lang="en-US" altLang="en-US" sz="1000" smtClean="0"/>
              <a:pPr/>
              <a:t>2</a:t>
            </a:fld>
            <a:endParaRPr lang="en-US" sz="1000" dirty="0"/>
          </a:p>
        </p:txBody>
      </p:sp>
      <p:sp>
        <p:nvSpPr>
          <p:cNvPr id="475" name="text">
            <a:extLst>
              <a:ext uri="{FF2B5EF4-FFF2-40B4-BE49-F238E27FC236}">
                <a16:creationId xmlns:a16="http://schemas.microsoft.com/office/drawing/2014/main" id="{48F781F2-13B0-CA1A-E20E-08CBFE1E8757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3752850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16E0D43-444E-4C37-8D9E-A6EA60A4AA86}" type="datetime'''''''''''''''''''''3'''''''''''''''''''''''''''''''">
              <a:rPr lang="en-US" altLang="en-US" sz="1000" smtClean="0"/>
              <a:pPr/>
              <a:t>3</a:t>
            </a:fld>
            <a:endParaRPr lang="en-US" sz="1000" dirty="0"/>
          </a:p>
        </p:txBody>
      </p:sp>
      <p:sp>
        <p:nvSpPr>
          <p:cNvPr id="476" name="text">
            <a:extLst>
              <a:ext uri="{FF2B5EF4-FFF2-40B4-BE49-F238E27FC236}">
                <a16:creationId xmlns:a16="http://schemas.microsoft.com/office/drawing/2014/main" id="{A8844BDB-B02E-14B3-0D95-1235F2A2041D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3951288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51CC9CE-6B89-4724-8F7E-B907E19ADF70}" type="datetime'''''''''''''4'''''''''''''''''''''''''''''''''''''''''''''''''">
              <a:rPr lang="en-US" altLang="en-US" sz="1000" smtClean="0"/>
              <a:pPr/>
              <a:t>4</a:t>
            </a:fld>
            <a:endParaRPr lang="en-US" sz="1000" dirty="0"/>
          </a:p>
        </p:txBody>
      </p:sp>
      <p:sp>
        <p:nvSpPr>
          <p:cNvPr id="477" name="text">
            <a:extLst>
              <a:ext uri="{FF2B5EF4-FFF2-40B4-BE49-F238E27FC236}">
                <a16:creationId xmlns:a16="http://schemas.microsoft.com/office/drawing/2014/main" id="{E72F9028-D418-5ACE-83EB-656C098F2B15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4143375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3A3575F-0B79-4925-9241-6E52B7C864C1}" type="datetime'''''''5'''''''''''''''''''''''">
              <a:rPr lang="en-US" altLang="en-US" sz="1000" smtClean="0"/>
              <a:pPr/>
              <a:t>5</a:t>
            </a:fld>
            <a:endParaRPr lang="en-US" sz="1000" dirty="0"/>
          </a:p>
        </p:txBody>
      </p:sp>
      <p:sp>
        <p:nvSpPr>
          <p:cNvPr id="478" name="text">
            <a:extLst>
              <a:ext uri="{FF2B5EF4-FFF2-40B4-BE49-F238E27FC236}">
                <a16:creationId xmlns:a16="http://schemas.microsoft.com/office/drawing/2014/main" id="{5E2364BB-6D80-5D64-F48F-CBF76C1F2F06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4341813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72E5D5F-6973-402A-B6BD-D0EC83125BBF}" type="datetime'''''''''''''6'''''''">
              <a:rPr lang="en-US" altLang="en-US" sz="1000" smtClean="0"/>
              <a:pPr/>
              <a:t>6</a:t>
            </a:fld>
            <a:endParaRPr lang="en-US" sz="1000" dirty="0"/>
          </a:p>
        </p:txBody>
      </p:sp>
      <p:sp>
        <p:nvSpPr>
          <p:cNvPr id="479" name="text">
            <a:extLst>
              <a:ext uri="{FF2B5EF4-FFF2-40B4-BE49-F238E27FC236}">
                <a16:creationId xmlns:a16="http://schemas.microsoft.com/office/drawing/2014/main" id="{022AF48A-945A-ADA7-0384-AEC015F11BB7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4533900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2609581-7493-4850-869F-2CA03D157510}" type="datetime'''''''''''''''''''''7'''''''''''''''''''''''''''''''''''''''">
              <a:rPr lang="en-US" altLang="en-US" sz="1000" smtClean="0"/>
              <a:pPr/>
              <a:t>7</a:t>
            </a:fld>
            <a:endParaRPr lang="en-US" sz="1000" dirty="0"/>
          </a:p>
        </p:txBody>
      </p:sp>
      <p:sp>
        <p:nvSpPr>
          <p:cNvPr id="480" name="text">
            <a:extLst>
              <a:ext uri="{FF2B5EF4-FFF2-40B4-BE49-F238E27FC236}">
                <a16:creationId xmlns:a16="http://schemas.microsoft.com/office/drawing/2014/main" id="{841F7BC1-AC01-51DF-FBFC-738C9CDB498F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4732338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FA5D2F6-FB9F-4E2A-BBA8-3BA824B05D62}" type="datetime'''''''''''''''8'''''''''''''''">
              <a:rPr lang="en-US" altLang="en-US" sz="1000" smtClean="0"/>
              <a:pPr/>
              <a:t>8</a:t>
            </a:fld>
            <a:endParaRPr lang="en-US" sz="1000" dirty="0"/>
          </a:p>
        </p:txBody>
      </p:sp>
      <p:sp>
        <p:nvSpPr>
          <p:cNvPr id="481" name="text">
            <a:extLst>
              <a:ext uri="{FF2B5EF4-FFF2-40B4-BE49-F238E27FC236}">
                <a16:creationId xmlns:a16="http://schemas.microsoft.com/office/drawing/2014/main" id="{DE55BE0E-522C-2537-1982-B0F03B160C8B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4930775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1435BFF-DFC9-4147-88F1-BCCACEB53CEE}" type="datetime'''''''''''''''''''''''''''''''''''''''''''''9'''''''''">
              <a:rPr lang="en-US" altLang="en-US" sz="1000" smtClean="0"/>
              <a:pPr/>
              <a:t>9</a:t>
            </a:fld>
            <a:endParaRPr lang="en-US" sz="1000" dirty="0"/>
          </a:p>
        </p:txBody>
      </p:sp>
      <p:sp>
        <p:nvSpPr>
          <p:cNvPr id="482" name="text">
            <a:extLst>
              <a:ext uri="{FF2B5EF4-FFF2-40B4-BE49-F238E27FC236}">
                <a16:creationId xmlns:a16="http://schemas.microsoft.com/office/drawing/2014/main" id="{98E960CE-807A-458D-7787-CA602ECE636C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5122863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BEBA082-6A9D-4C56-B801-2ECB9299D062}" type="datetime'''''''''''''''1''''''''''''''''''''''''0'''''''">
              <a:rPr lang="en-US" altLang="en-US" sz="1000" smtClean="0"/>
              <a:pPr/>
              <a:t>10</a:t>
            </a:fld>
            <a:endParaRPr lang="en-US" sz="1000" dirty="0"/>
          </a:p>
        </p:txBody>
      </p:sp>
      <p:sp>
        <p:nvSpPr>
          <p:cNvPr id="483" name="text">
            <a:extLst>
              <a:ext uri="{FF2B5EF4-FFF2-40B4-BE49-F238E27FC236}">
                <a16:creationId xmlns:a16="http://schemas.microsoft.com/office/drawing/2014/main" id="{86864CE4-9252-E80B-B561-135BBDB0938A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5321300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40A09C1-742D-41F2-9AF0-588921E37397}" type="datetime'''''''''''''1''''''''''''''''''''1'''''''''''">
              <a:rPr lang="en-US" altLang="en-US" sz="1000" smtClean="0"/>
              <a:pPr/>
              <a:t>11</a:t>
            </a:fld>
            <a:endParaRPr lang="en-US" sz="1000" dirty="0"/>
          </a:p>
        </p:txBody>
      </p:sp>
      <p:sp>
        <p:nvSpPr>
          <p:cNvPr id="484" name="text">
            <a:extLst>
              <a:ext uri="{FF2B5EF4-FFF2-40B4-BE49-F238E27FC236}">
                <a16:creationId xmlns:a16="http://schemas.microsoft.com/office/drawing/2014/main" id="{ACFF1062-9320-A920-A6DB-D5FD86F43EC7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5513388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2F33090-FCF2-430E-B3CE-E17F5CE43FD3}" type="datetime'''''''''''''''''''''''''''''1''2'''''''''''''''''''''''">
              <a:rPr lang="en-US" altLang="en-US" sz="1000" smtClean="0"/>
              <a:pPr/>
              <a:t>12</a:t>
            </a:fld>
            <a:endParaRPr lang="en-US" sz="1000" dirty="0"/>
          </a:p>
        </p:txBody>
      </p:sp>
      <p:sp>
        <p:nvSpPr>
          <p:cNvPr id="527" name="text">
            <a:extLst>
              <a:ext uri="{FF2B5EF4-FFF2-40B4-BE49-F238E27FC236}">
                <a16:creationId xmlns:a16="http://schemas.microsoft.com/office/drawing/2014/main" id="{65F3DEB4-F6B5-558B-78DC-784083DFB8A4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5711825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39243F7-6AE0-4F61-8CA2-4AAB42070832}" type="datetime'''''''''''''''''''''''''''''''''''''''''''''''1'">
              <a:rPr lang="en-US" altLang="en-US" sz="1000" smtClean="0"/>
              <a:pPr/>
              <a:t>1</a:t>
            </a:fld>
            <a:endParaRPr lang="en-US" sz="1000" dirty="0"/>
          </a:p>
        </p:txBody>
      </p:sp>
      <p:sp>
        <p:nvSpPr>
          <p:cNvPr id="529" name="text">
            <a:extLst>
              <a:ext uri="{FF2B5EF4-FFF2-40B4-BE49-F238E27FC236}">
                <a16:creationId xmlns:a16="http://schemas.microsoft.com/office/drawing/2014/main" id="{931A356B-85AD-0FA8-3E1F-BA977B9D73DA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5910263" y="2122488"/>
            <a:ext cx="1793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3028098-8853-47CC-800B-442C74DAD03A}" type="datetime'''''''''''''''2'''''''''''''''''''''''''''''''''''''''">
              <a:rPr lang="en-US" altLang="en-US" sz="1000" smtClean="0"/>
              <a:pPr/>
              <a:t>2</a:t>
            </a:fld>
            <a:endParaRPr lang="en-US" sz="1000" dirty="0"/>
          </a:p>
        </p:txBody>
      </p:sp>
      <p:sp>
        <p:nvSpPr>
          <p:cNvPr id="530" name="text">
            <a:extLst>
              <a:ext uri="{FF2B5EF4-FFF2-40B4-BE49-F238E27FC236}">
                <a16:creationId xmlns:a16="http://schemas.microsoft.com/office/drawing/2014/main" id="{8C7CCEA1-56D6-5AF0-8A32-63095CA783B5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6089650" y="2122488"/>
            <a:ext cx="19685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6A288ED-8393-48D5-8225-CDE47C6C2733}" type="datetime'''''''''''''''''''''''''''''''''''''''''''''''3'">
              <a:rPr lang="en-US" altLang="en-US" sz="1000" smtClean="0"/>
              <a:pPr/>
              <a:t>3</a:t>
            </a:fld>
            <a:endParaRPr lang="en-US" sz="1000" dirty="0"/>
          </a:p>
        </p:txBody>
      </p:sp>
      <p:sp>
        <p:nvSpPr>
          <p:cNvPr id="531" name="text">
            <a:extLst>
              <a:ext uri="{FF2B5EF4-FFF2-40B4-BE49-F238E27FC236}">
                <a16:creationId xmlns:a16="http://schemas.microsoft.com/office/drawing/2014/main" id="{D8B5D341-DA14-141E-614A-8914E934D69D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6286500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81B3CCC-6197-4464-B812-1A074C1A2F89}" type="datetime'''''''''''''''''''''''''''''4'''''''''''''''''''''''''''">
              <a:rPr lang="en-US" altLang="en-US" sz="1000" smtClean="0"/>
              <a:pPr/>
              <a:t>4</a:t>
            </a:fld>
            <a:endParaRPr lang="en-US" sz="1000" dirty="0"/>
          </a:p>
        </p:txBody>
      </p:sp>
      <p:sp>
        <p:nvSpPr>
          <p:cNvPr id="532" name="text">
            <a:extLst>
              <a:ext uri="{FF2B5EF4-FFF2-40B4-BE49-F238E27FC236}">
                <a16:creationId xmlns:a16="http://schemas.microsoft.com/office/drawing/2014/main" id="{A7634048-D015-3EFE-FF0B-2BF3B1BC00BC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6478588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CDDE179-E239-4421-B10F-CF3454AD001A}" type="datetime'''''''''''''''''''''''''''''5'''''''''''''''''''''">
              <a:rPr lang="en-US" altLang="en-US" sz="1000" smtClean="0"/>
              <a:pPr/>
              <a:t>5</a:t>
            </a:fld>
            <a:endParaRPr lang="en-US" sz="1000" dirty="0"/>
          </a:p>
        </p:txBody>
      </p:sp>
      <p:sp>
        <p:nvSpPr>
          <p:cNvPr id="533" name="text">
            <a:extLst>
              <a:ext uri="{FF2B5EF4-FFF2-40B4-BE49-F238E27FC236}">
                <a16:creationId xmlns:a16="http://schemas.microsoft.com/office/drawing/2014/main" id="{4E5391B6-FA2D-D5ED-A154-6D30401C729F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6677025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50F0809-1C95-430B-A9B0-C252C67EBF19}" type="datetime'''6'''">
              <a:rPr lang="en-US" altLang="en-US" sz="1000" smtClean="0"/>
              <a:pPr/>
              <a:t>6</a:t>
            </a:fld>
            <a:endParaRPr lang="en-US" sz="1000" dirty="0"/>
          </a:p>
        </p:txBody>
      </p:sp>
      <p:sp>
        <p:nvSpPr>
          <p:cNvPr id="534" name="text">
            <a:extLst>
              <a:ext uri="{FF2B5EF4-FFF2-40B4-BE49-F238E27FC236}">
                <a16:creationId xmlns:a16="http://schemas.microsoft.com/office/drawing/2014/main" id="{4ECCAB05-55BD-B529-C9C0-3EA44E8A945A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6869113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2F3E5B2-CB35-4F03-86FC-208107C55968}" type="datetime'''''''''''7'''''''''''''''''''''''''''''">
              <a:rPr lang="en-US" altLang="en-US" sz="1000" smtClean="0"/>
              <a:pPr/>
              <a:t>7</a:t>
            </a:fld>
            <a:endParaRPr lang="en-US" sz="1000" dirty="0"/>
          </a:p>
        </p:txBody>
      </p:sp>
      <p:sp>
        <p:nvSpPr>
          <p:cNvPr id="535" name="text">
            <a:extLst>
              <a:ext uri="{FF2B5EF4-FFF2-40B4-BE49-F238E27FC236}">
                <a16:creationId xmlns:a16="http://schemas.microsoft.com/office/drawing/2014/main" id="{FDE2EB29-00C9-59A2-FE94-81E514C12FCE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7067550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6C1089A-5839-49A3-ABDF-C285907458E4}" type="datetime'''8'''''''''''''''''''">
              <a:rPr lang="en-US" altLang="en-US" sz="1000" smtClean="0"/>
              <a:pPr/>
              <a:t>8</a:t>
            </a:fld>
            <a:endParaRPr lang="en-US" sz="1000" dirty="0"/>
          </a:p>
        </p:txBody>
      </p:sp>
      <p:sp>
        <p:nvSpPr>
          <p:cNvPr id="536" name="text">
            <a:extLst>
              <a:ext uri="{FF2B5EF4-FFF2-40B4-BE49-F238E27FC236}">
                <a16:creationId xmlns:a16="http://schemas.microsoft.com/office/drawing/2014/main" id="{99A6A0B1-3F75-278D-295C-F6CEBC04FE29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7265988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3B7BF63-A0CC-4B9C-B226-DA542AA6FE5B}" type="datetime'''''''''''''''''''9'''''''''''''''">
              <a:rPr lang="en-US" altLang="en-US" sz="1000" smtClean="0"/>
              <a:pPr/>
              <a:t>9</a:t>
            </a:fld>
            <a:endParaRPr lang="en-US" sz="1000" dirty="0"/>
          </a:p>
        </p:txBody>
      </p:sp>
      <p:sp>
        <p:nvSpPr>
          <p:cNvPr id="537" name="text">
            <a:extLst>
              <a:ext uri="{FF2B5EF4-FFF2-40B4-BE49-F238E27FC236}">
                <a16:creationId xmlns:a16="http://schemas.microsoft.com/office/drawing/2014/main" id="{24FC01E1-1616-5E58-99A8-0B3E53ADA859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7458075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3EB577F-F016-46FF-848C-1D318DB8518A}" type="datetime'''''''''10'''''''''''''''">
              <a:rPr lang="en-US" altLang="en-US" sz="1000" smtClean="0"/>
              <a:pPr/>
              <a:t>10</a:t>
            </a:fld>
            <a:endParaRPr lang="en-US" sz="1000" dirty="0"/>
          </a:p>
        </p:txBody>
      </p:sp>
      <p:sp>
        <p:nvSpPr>
          <p:cNvPr id="538" name="text">
            <a:extLst>
              <a:ext uri="{FF2B5EF4-FFF2-40B4-BE49-F238E27FC236}">
                <a16:creationId xmlns:a16="http://schemas.microsoft.com/office/drawing/2014/main" id="{349CFB24-6661-3F59-8768-DB65A63E2EB6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7656513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D01DA93-0D56-41BF-A4ED-7AE7FB7DCC73}" type="datetime'''''''''''''''''''''''''''''11'''''''''''''">
              <a:rPr lang="en-US" altLang="en-US" sz="1000" smtClean="0"/>
              <a:pPr/>
              <a:t>11</a:t>
            </a:fld>
            <a:endParaRPr lang="en-US" sz="1000" dirty="0"/>
          </a:p>
        </p:txBody>
      </p:sp>
      <p:sp>
        <p:nvSpPr>
          <p:cNvPr id="539" name="text">
            <a:extLst>
              <a:ext uri="{FF2B5EF4-FFF2-40B4-BE49-F238E27FC236}">
                <a16:creationId xmlns:a16="http://schemas.microsoft.com/office/drawing/2014/main" id="{B1B40FAC-F815-4774-8F91-EF696BB35C17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7848600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AE0D544-F536-4FE0-86BE-460E4CDED38D}" type="datetime'''''''''''''''1''''''''''2'''''''''''''''''''''''''''''''''''">
              <a:rPr lang="en-US" altLang="en-US" sz="1000" smtClean="0"/>
              <a:pPr/>
              <a:t>12</a:t>
            </a:fld>
            <a:endParaRPr lang="en-US" sz="1000" dirty="0"/>
          </a:p>
        </p:txBody>
      </p:sp>
      <p:sp>
        <p:nvSpPr>
          <p:cNvPr id="576" name="text">
            <a:extLst>
              <a:ext uri="{FF2B5EF4-FFF2-40B4-BE49-F238E27FC236}">
                <a16:creationId xmlns:a16="http://schemas.microsoft.com/office/drawing/2014/main" id="{C899CAF8-EDA8-7FB7-72AF-E1084ADCBC86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8047038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5313415-F498-4A71-ADED-65660F1F50A3}" type="datetime'''''''1'''''''''''''''''''''''''''''''''''''''''''''''''''">
              <a:rPr lang="en-US" altLang="en-US" sz="1000" smtClean="0"/>
              <a:pPr/>
              <a:t>1</a:t>
            </a:fld>
            <a:endParaRPr lang="en-US" sz="1000" dirty="0"/>
          </a:p>
        </p:txBody>
      </p:sp>
      <p:sp>
        <p:nvSpPr>
          <p:cNvPr id="578" name="text">
            <a:extLst>
              <a:ext uri="{FF2B5EF4-FFF2-40B4-BE49-F238E27FC236}">
                <a16:creationId xmlns:a16="http://schemas.microsoft.com/office/drawing/2014/main" id="{BE5A5010-A29D-B9FE-5613-E26E67482675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8245475" y="2122488"/>
            <a:ext cx="1857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CD8674E-1ED6-4FB9-A882-BAC4751428CB}" type="datetime'''''''''''''''''''''''''''''''''''2'''''">
              <a:rPr lang="en-US" altLang="en-US" sz="1000" smtClean="0"/>
              <a:pPr/>
              <a:t>2</a:t>
            </a:fld>
            <a:endParaRPr lang="en-US" sz="1000" dirty="0"/>
          </a:p>
        </p:txBody>
      </p:sp>
      <p:sp>
        <p:nvSpPr>
          <p:cNvPr id="579" name="text">
            <a:extLst>
              <a:ext uri="{FF2B5EF4-FFF2-40B4-BE49-F238E27FC236}">
                <a16:creationId xmlns:a16="http://schemas.microsoft.com/office/drawing/2014/main" id="{14BD01FB-EC75-412D-5677-276E8057A48C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8431213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5200B7D-1976-45B8-8AC3-D675B0BAFF93}" type="datetime'3'''''''''''''">
              <a:rPr lang="en-US" altLang="en-US" sz="1000" smtClean="0"/>
              <a:pPr/>
              <a:t>3</a:t>
            </a:fld>
            <a:endParaRPr lang="en-US" sz="1000" dirty="0"/>
          </a:p>
        </p:txBody>
      </p:sp>
      <p:sp>
        <p:nvSpPr>
          <p:cNvPr id="580" name="text">
            <a:extLst>
              <a:ext uri="{FF2B5EF4-FFF2-40B4-BE49-F238E27FC236}">
                <a16:creationId xmlns:a16="http://schemas.microsoft.com/office/drawing/2014/main" id="{B8F44350-4858-2539-0309-2627EAFE2B0D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8629650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49AB53F-F3C8-4BF8-9492-BF2230157088}" type="datetime'''4'''''''''">
              <a:rPr lang="en-US" altLang="en-US" sz="1000" smtClean="0"/>
              <a:pPr/>
              <a:t>4</a:t>
            </a:fld>
            <a:endParaRPr lang="en-US" sz="1000" dirty="0"/>
          </a:p>
        </p:txBody>
      </p:sp>
      <p:sp>
        <p:nvSpPr>
          <p:cNvPr id="581" name="text">
            <a:extLst>
              <a:ext uri="{FF2B5EF4-FFF2-40B4-BE49-F238E27FC236}">
                <a16:creationId xmlns:a16="http://schemas.microsoft.com/office/drawing/2014/main" id="{3F44835F-F6A2-3DC4-5CAA-BD17F91AE5CA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8821738" y="2122488"/>
            <a:ext cx="19685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F1DF38D-D7DC-45C4-8790-B128A68ADD48}" type="datetime'''''''''''''''''5'''''''''''''''''''''''''''''''''''''''''''''">
              <a:rPr lang="en-US" altLang="en-US" sz="1000" smtClean="0"/>
              <a:pPr/>
              <a:t>5</a:t>
            </a:fld>
            <a:endParaRPr lang="en-US" sz="1000" dirty="0"/>
          </a:p>
        </p:txBody>
      </p:sp>
      <p:sp>
        <p:nvSpPr>
          <p:cNvPr id="582" name="text">
            <a:extLst>
              <a:ext uri="{FF2B5EF4-FFF2-40B4-BE49-F238E27FC236}">
                <a16:creationId xmlns:a16="http://schemas.microsoft.com/office/drawing/2014/main" id="{624C246C-F1AD-7C60-1DB2-0DAA854BB74E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9018588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4653903-5964-4CA5-B88A-F736D0970A98}" type="datetime'''6'''''''''''''''''''''''''">
              <a:rPr lang="en-US" altLang="en-US" sz="1000" smtClean="0"/>
              <a:pPr/>
              <a:t>6</a:t>
            </a:fld>
            <a:endParaRPr lang="en-US" sz="1000" dirty="0"/>
          </a:p>
        </p:txBody>
      </p:sp>
      <p:sp>
        <p:nvSpPr>
          <p:cNvPr id="583" name="text">
            <a:extLst>
              <a:ext uri="{FF2B5EF4-FFF2-40B4-BE49-F238E27FC236}">
                <a16:creationId xmlns:a16="http://schemas.microsoft.com/office/drawing/2014/main" id="{2447BCD7-CF20-1AAE-143F-F9E2680C4512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9210675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D208629-1994-415C-A962-3973D4DF1CB5}" type="datetime'7'''''''''''''">
              <a:rPr lang="en-US" altLang="en-US" sz="1000" smtClean="0"/>
              <a:pPr/>
              <a:t>7</a:t>
            </a:fld>
            <a:endParaRPr lang="en-US" sz="1000" dirty="0"/>
          </a:p>
        </p:txBody>
      </p:sp>
      <p:sp>
        <p:nvSpPr>
          <p:cNvPr id="584" name="text">
            <a:extLst>
              <a:ext uri="{FF2B5EF4-FFF2-40B4-BE49-F238E27FC236}">
                <a16:creationId xmlns:a16="http://schemas.microsoft.com/office/drawing/2014/main" id="{CAE386CE-A51D-FA11-13BF-F027690A628E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9409113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18CC8A2-C79B-41B3-8425-8457BED6E4AC}" type="datetime'''''''''''''''''''''8'''''''''''''''''''''''''''''''''''''''''">
              <a:rPr lang="en-US" altLang="en-US" sz="1000" smtClean="0"/>
              <a:pPr/>
              <a:t>8</a:t>
            </a:fld>
            <a:endParaRPr lang="en-US" sz="1000" dirty="0"/>
          </a:p>
        </p:txBody>
      </p:sp>
      <p:sp>
        <p:nvSpPr>
          <p:cNvPr id="585" name="text">
            <a:extLst>
              <a:ext uri="{FF2B5EF4-FFF2-40B4-BE49-F238E27FC236}">
                <a16:creationId xmlns:a16="http://schemas.microsoft.com/office/drawing/2014/main" id="{6655BE81-1390-0601-0FB7-7064D7BCBBD2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9607550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A9959FA-E362-46B8-89DD-389AFEC0B216}" type="datetime'''9'''''''''''''''''''''''''''''''''''''''''''''''''''''''''''">
              <a:rPr lang="en-US" altLang="en-US" sz="1000" smtClean="0"/>
              <a:pPr/>
              <a:t>9</a:t>
            </a:fld>
            <a:endParaRPr lang="en-US" sz="1000" dirty="0"/>
          </a:p>
        </p:txBody>
      </p:sp>
      <p:sp>
        <p:nvSpPr>
          <p:cNvPr id="586" name="text">
            <a:extLst>
              <a:ext uri="{FF2B5EF4-FFF2-40B4-BE49-F238E27FC236}">
                <a16:creationId xmlns:a16="http://schemas.microsoft.com/office/drawing/2014/main" id="{01BDBBA2-7A88-8ECD-A2F4-C91BCCC9F09B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9799638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BDBEAC4-880F-4D2E-AB72-CE436A02E152}" type="datetime'1''''''''''''''''''''''''''''''0'">
              <a:rPr lang="en-US" altLang="en-US" sz="1000" smtClean="0"/>
              <a:pPr/>
              <a:t>10</a:t>
            </a:fld>
            <a:endParaRPr lang="en-US" sz="1000" dirty="0"/>
          </a:p>
        </p:txBody>
      </p:sp>
      <p:sp>
        <p:nvSpPr>
          <p:cNvPr id="587" name="text">
            <a:extLst>
              <a:ext uri="{FF2B5EF4-FFF2-40B4-BE49-F238E27FC236}">
                <a16:creationId xmlns:a16="http://schemas.microsoft.com/office/drawing/2014/main" id="{9E1F44F8-2BAE-A4E7-93C1-DAA90A7CA5A7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9998075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2EBA5AF-28B9-4446-8439-B9A7440702A9}" type="datetime'''''''''''''''''''''''''''''''''''''''''''11'''''''''''''''''">
              <a:rPr lang="en-US" altLang="en-US" sz="1000" smtClean="0"/>
              <a:pPr/>
              <a:t>11</a:t>
            </a:fld>
            <a:endParaRPr lang="en-US" sz="1000" dirty="0"/>
          </a:p>
        </p:txBody>
      </p:sp>
      <p:sp>
        <p:nvSpPr>
          <p:cNvPr id="588" name="text">
            <a:extLst>
              <a:ext uri="{FF2B5EF4-FFF2-40B4-BE49-F238E27FC236}">
                <a16:creationId xmlns:a16="http://schemas.microsoft.com/office/drawing/2014/main" id="{FB0E2DDB-C298-DFCB-6A5C-CD48E84173F7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10190163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1EECCD8-AE7E-4553-9A4B-DDAC62665DE4}" type="datetime'''1''''''''''''''''''2'">
              <a:rPr lang="en-US" altLang="en-US" sz="1000" smtClean="0"/>
              <a:pPr/>
              <a:t>12</a:t>
            </a:fld>
            <a:endParaRPr lang="en-US" sz="1000" dirty="0"/>
          </a:p>
        </p:txBody>
      </p:sp>
      <p:cxnSp>
        <p:nvCxnSpPr>
          <p:cNvPr id="507" name="Gerader Verbinder 506">
            <a:extLst>
              <a:ext uri="{FF2B5EF4-FFF2-40B4-BE49-F238E27FC236}">
                <a16:creationId xmlns:a16="http://schemas.microsoft.com/office/drawing/2014/main" id="{8C729106-08A8-AD74-B35C-B50425541CB3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>
            <a:off x="8047038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1" name="Gerader Verbinder 420">
            <a:extLst>
              <a:ext uri="{FF2B5EF4-FFF2-40B4-BE49-F238E27FC236}">
                <a16:creationId xmlns:a16="http://schemas.microsoft.com/office/drawing/2014/main" id="{B72611D6-ED6E-75F7-627C-0DF4AC4530A2}"/>
              </a:ext>
            </a:extLst>
          </p:cNvPr>
          <p:cNvCxnSpPr/>
          <p:nvPr>
            <p:custDataLst>
              <p:tags r:id="rId67"/>
            </p:custDataLst>
          </p:nvPr>
        </p:nvCxnSpPr>
        <p:spPr bwMode="auto">
          <a:xfrm>
            <a:off x="5711825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40BCFFB2-C8B1-CE5D-230B-F40201346767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>
            <a:off x="2198688" y="2309812"/>
            <a:ext cx="0" cy="33337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B0BA96CF-1516-83C4-02D2-66B011975D68}"/>
              </a:ext>
            </a:extLst>
          </p:cNvPr>
          <p:cNvCxnSpPr/>
          <p:nvPr>
            <p:custDataLst>
              <p:tags r:id="rId69"/>
            </p:custDataLst>
          </p:nvPr>
        </p:nvCxnSpPr>
        <p:spPr bwMode="auto">
          <a:xfrm>
            <a:off x="10388600" y="2309812"/>
            <a:ext cx="0" cy="33337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Gerader Verbinder 62">
            <a:extLst>
              <a:ext uri="{FF2B5EF4-FFF2-40B4-BE49-F238E27FC236}">
                <a16:creationId xmlns:a16="http://schemas.microsoft.com/office/drawing/2014/main" id="{B3F23442-D06F-C2C1-357E-1CE7893EB38D}"/>
              </a:ext>
            </a:extLst>
          </p:cNvPr>
          <p:cNvCxnSpPr/>
          <p:nvPr>
            <p:custDataLst>
              <p:tags r:id="rId70"/>
            </p:custDataLst>
          </p:nvPr>
        </p:nvCxnSpPr>
        <p:spPr bwMode="auto">
          <a:xfrm>
            <a:off x="525463" y="2309812"/>
            <a:ext cx="0" cy="33337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Gerader Verbinder 72">
            <a:extLst>
              <a:ext uri="{FF2B5EF4-FFF2-40B4-BE49-F238E27FC236}">
                <a16:creationId xmlns:a16="http://schemas.microsoft.com/office/drawing/2014/main" id="{55891C15-D052-B955-20F8-B96C97A1775A}"/>
              </a:ext>
            </a:extLst>
          </p:cNvPr>
          <p:cNvCxnSpPr/>
          <p:nvPr>
            <p:custDataLst>
              <p:tags r:id="rId71"/>
            </p:custDataLst>
          </p:nvPr>
        </p:nvCxnSpPr>
        <p:spPr bwMode="auto">
          <a:xfrm>
            <a:off x="11663363" y="2309812"/>
            <a:ext cx="0" cy="33337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0" name="Gerader Verbinder 419">
            <a:extLst>
              <a:ext uri="{FF2B5EF4-FFF2-40B4-BE49-F238E27FC236}">
                <a16:creationId xmlns:a16="http://schemas.microsoft.com/office/drawing/2014/main" id="{47F0B1C3-F3A3-F7C4-5A94-E75D5FF68399}"/>
              </a:ext>
            </a:extLst>
          </p:cNvPr>
          <p:cNvCxnSpPr/>
          <p:nvPr>
            <p:custDataLst>
              <p:tags r:id="rId72"/>
            </p:custDataLst>
          </p:nvPr>
        </p:nvCxnSpPr>
        <p:spPr bwMode="auto">
          <a:xfrm>
            <a:off x="3376613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2" name="Gerader Verbinder 411">
            <a:extLst>
              <a:ext uri="{FF2B5EF4-FFF2-40B4-BE49-F238E27FC236}">
                <a16:creationId xmlns:a16="http://schemas.microsoft.com/office/drawing/2014/main" id="{7CAD9478-7515-5950-256F-62C8719729A1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>
            <a:off x="6286500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3" name="Gerader Verbinder 412">
            <a:extLst>
              <a:ext uri="{FF2B5EF4-FFF2-40B4-BE49-F238E27FC236}">
                <a16:creationId xmlns:a16="http://schemas.microsoft.com/office/drawing/2014/main" id="{33583A7E-6911-8E84-8F4C-2FE011BD25E8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>
            <a:off x="6869113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9" name="Gerader Verbinder 438">
            <a:extLst>
              <a:ext uri="{FF2B5EF4-FFF2-40B4-BE49-F238E27FC236}">
                <a16:creationId xmlns:a16="http://schemas.microsoft.com/office/drawing/2014/main" id="{A4E28655-6C49-558A-3222-C0E70658BBDA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>
            <a:off x="8629650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0" name="Gerader Verbinder 439">
            <a:extLst>
              <a:ext uri="{FF2B5EF4-FFF2-40B4-BE49-F238E27FC236}">
                <a16:creationId xmlns:a16="http://schemas.microsoft.com/office/drawing/2014/main" id="{5B730036-66A4-DED7-4A86-229EA8F6E931}"/>
              </a:ext>
            </a:extLst>
          </p:cNvPr>
          <p:cNvCxnSpPr/>
          <p:nvPr>
            <p:custDataLst>
              <p:tags r:id="rId76"/>
            </p:custDataLst>
          </p:nvPr>
        </p:nvCxnSpPr>
        <p:spPr bwMode="auto">
          <a:xfrm>
            <a:off x="9210675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1" name="Gerader Verbinder 410">
            <a:extLst>
              <a:ext uri="{FF2B5EF4-FFF2-40B4-BE49-F238E27FC236}">
                <a16:creationId xmlns:a16="http://schemas.microsoft.com/office/drawing/2014/main" id="{A3651391-12A8-A028-1671-734575F638B6}"/>
              </a:ext>
            </a:extLst>
          </p:cNvPr>
          <p:cNvCxnSpPr/>
          <p:nvPr>
            <p:custDataLst>
              <p:tags r:id="rId77"/>
            </p:custDataLst>
          </p:nvPr>
        </p:nvCxnSpPr>
        <p:spPr bwMode="auto">
          <a:xfrm>
            <a:off x="5122863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8" name="Gerader Verbinder 437">
            <a:extLst>
              <a:ext uri="{FF2B5EF4-FFF2-40B4-BE49-F238E27FC236}">
                <a16:creationId xmlns:a16="http://schemas.microsoft.com/office/drawing/2014/main" id="{C0F6205A-EF1B-DCD3-8E46-3CDA1E2E2E21}"/>
              </a:ext>
            </a:extLst>
          </p:cNvPr>
          <p:cNvCxnSpPr/>
          <p:nvPr>
            <p:custDataLst>
              <p:tags r:id="rId78"/>
            </p:custDataLst>
          </p:nvPr>
        </p:nvCxnSpPr>
        <p:spPr bwMode="auto">
          <a:xfrm>
            <a:off x="7458075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0" name="Gerader Verbinder 409">
            <a:extLst>
              <a:ext uri="{FF2B5EF4-FFF2-40B4-BE49-F238E27FC236}">
                <a16:creationId xmlns:a16="http://schemas.microsoft.com/office/drawing/2014/main" id="{C5B07765-9157-8B38-35FB-89CB8A05914C}"/>
              </a:ext>
            </a:extLst>
          </p:cNvPr>
          <p:cNvCxnSpPr/>
          <p:nvPr>
            <p:custDataLst>
              <p:tags r:id="rId79"/>
            </p:custDataLst>
          </p:nvPr>
        </p:nvCxnSpPr>
        <p:spPr bwMode="auto">
          <a:xfrm>
            <a:off x="4533900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9" name="Gerader Verbinder 508">
            <a:extLst>
              <a:ext uri="{FF2B5EF4-FFF2-40B4-BE49-F238E27FC236}">
                <a16:creationId xmlns:a16="http://schemas.microsoft.com/office/drawing/2014/main" id="{7D16F3D1-1ACE-76C6-65B2-66285B12D4B5}"/>
              </a:ext>
            </a:extLst>
          </p:cNvPr>
          <p:cNvCxnSpPr/>
          <p:nvPr>
            <p:custDataLst>
              <p:tags r:id="rId80"/>
            </p:custDataLst>
          </p:nvPr>
        </p:nvCxnSpPr>
        <p:spPr bwMode="auto">
          <a:xfrm>
            <a:off x="9799638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9" name="Gerader Verbinder 408">
            <a:extLst>
              <a:ext uri="{FF2B5EF4-FFF2-40B4-BE49-F238E27FC236}">
                <a16:creationId xmlns:a16="http://schemas.microsoft.com/office/drawing/2014/main" id="{FFA3B349-E211-7630-0CBC-A0B89A00725E}"/>
              </a:ext>
            </a:extLst>
          </p:cNvPr>
          <p:cNvCxnSpPr/>
          <p:nvPr>
            <p:custDataLst>
              <p:tags r:id="rId81"/>
            </p:custDataLst>
          </p:nvPr>
        </p:nvCxnSpPr>
        <p:spPr bwMode="auto">
          <a:xfrm>
            <a:off x="3951288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8" name="Gerader Verbinder 407">
            <a:extLst>
              <a:ext uri="{FF2B5EF4-FFF2-40B4-BE49-F238E27FC236}">
                <a16:creationId xmlns:a16="http://schemas.microsoft.com/office/drawing/2014/main" id="{CC8709D9-9726-4257-5A5B-48BCCA0D17F0}"/>
              </a:ext>
            </a:extLst>
          </p:cNvPr>
          <p:cNvCxnSpPr/>
          <p:nvPr>
            <p:custDataLst>
              <p:tags r:id="rId82"/>
            </p:custDataLst>
          </p:nvPr>
        </p:nvCxnSpPr>
        <p:spPr bwMode="auto">
          <a:xfrm>
            <a:off x="2787650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3" name="Gerader Verbinder 462">
            <a:extLst>
              <a:ext uri="{FF2B5EF4-FFF2-40B4-BE49-F238E27FC236}">
                <a16:creationId xmlns:a16="http://schemas.microsoft.com/office/drawing/2014/main" id="{693BD927-5FA4-9A26-522E-4A4475223AC5}"/>
              </a:ext>
            </a:extLst>
          </p:cNvPr>
          <p:cNvCxnSpPr/>
          <p:nvPr>
            <p:custDataLst>
              <p:tags r:id="rId83"/>
            </p:custDataLst>
          </p:nvPr>
        </p:nvCxnSpPr>
        <p:spPr bwMode="auto">
          <a:xfrm>
            <a:off x="525463" y="3421063"/>
            <a:ext cx="111379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4" name="Gerader Verbinder 463">
            <a:extLst>
              <a:ext uri="{FF2B5EF4-FFF2-40B4-BE49-F238E27FC236}">
                <a16:creationId xmlns:a16="http://schemas.microsoft.com/office/drawing/2014/main" id="{02A46CEB-ED4F-1D5C-1344-861A16E79F1D}"/>
              </a:ext>
            </a:extLst>
          </p:cNvPr>
          <p:cNvCxnSpPr/>
          <p:nvPr>
            <p:custDataLst>
              <p:tags r:id="rId84"/>
            </p:custDataLst>
          </p:nvPr>
        </p:nvCxnSpPr>
        <p:spPr bwMode="auto">
          <a:xfrm>
            <a:off x="525463" y="5073650"/>
            <a:ext cx="111379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B8004432-42F1-577C-3D80-213795AF37C8}"/>
              </a:ext>
            </a:extLst>
          </p:cNvPr>
          <p:cNvCxnSpPr/>
          <p:nvPr>
            <p:custDataLst>
              <p:tags r:id="rId85"/>
            </p:custDataLst>
          </p:nvPr>
        </p:nvCxnSpPr>
        <p:spPr bwMode="auto">
          <a:xfrm>
            <a:off x="525463" y="5643563"/>
            <a:ext cx="111379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FC10C7E1-95C5-648B-8A66-91D15615C6F5}"/>
              </a:ext>
            </a:extLst>
          </p:cNvPr>
          <p:cNvCxnSpPr/>
          <p:nvPr>
            <p:custDataLst>
              <p:tags r:id="rId86"/>
            </p:custDataLst>
          </p:nvPr>
        </p:nvCxnSpPr>
        <p:spPr bwMode="auto">
          <a:xfrm>
            <a:off x="2730500" y="2309813"/>
            <a:ext cx="0" cy="34972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439AE66A-9652-65F7-DFDC-76A81F9E1BDE}"/>
              </a:ext>
            </a:extLst>
          </p:cNvPr>
          <p:cNvCxnSpPr/>
          <p:nvPr>
            <p:custDataLst>
              <p:tags r:id="rId87"/>
            </p:custDataLst>
          </p:nvPr>
        </p:nvCxnSpPr>
        <p:spPr bwMode="auto">
          <a:xfrm>
            <a:off x="525463" y="2309813"/>
            <a:ext cx="111379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2A141DEC-AC6E-B07D-904C-84FD8AB4522D}"/>
              </a:ext>
            </a:extLst>
          </p:cNvPr>
          <p:cNvSpPr/>
          <p:nvPr>
            <p:custDataLst>
              <p:tags r:id="rId88"/>
            </p:custDataLst>
          </p:nvPr>
        </p:nvSpPr>
        <p:spPr bwMode="auto">
          <a:xfrm>
            <a:off x="3714750" y="2401888"/>
            <a:ext cx="301625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0892EDAD-9AD0-E2F7-FA5C-356AE922AA79}"/>
              </a:ext>
            </a:extLst>
          </p:cNvPr>
          <p:cNvSpPr/>
          <p:nvPr>
            <p:custDataLst>
              <p:tags r:id="rId89"/>
            </p:custDataLst>
          </p:nvPr>
        </p:nvSpPr>
        <p:spPr bwMode="auto">
          <a:xfrm>
            <a:off x="5059364" y="3214688"/>
            <a:ext cx="568325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70" name="Rechteck 469">
            <a:extLst>
              <a:ext uri="{FF2B5EF4-FFF2-40B4-BE49-F238E27FC236}">
                <a16:creationId xmlns:a16="http://schemas.microsoft.com/office/drawing/2014/main" id="{E1DF5143-4607-6B9E-B614-9A7FC4F23F5F}"/>
              </a:ext>
            </a:extLst>
          </p:cNvPr>
          <p:cNvSpPr/>
          <p:nvPr>
            <p:custDataLst>
              <p:tags r:id="rId90"/>
            </p:custDataLst>
          </p:nvPr>
        </p:nvSpPr>
        <p:spPr bwMode="auto">
          <a:xfrm>
            <a:off x="6402388" y="4867275"/>
            <a:ext cx="122238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68" name="Rechteck 467">
            <a:extLst>
              <a:ext uri="{FF2B5EF4-FFF2-40B4-BE49-F238E27FC236}">
                <a16:creationId xmlns:a16="http://schemas.microsoft.com/office/drawing/2014/main" id="{C6F901C9-0E6C-75D8-4C98-D43F1A496311}"/>
              </a:ext>
            </a:extLst>
          </p:cNvPr>
          <p:cNvSpPr/>
          <p:nvPr>
            <p:custDataLst>
              <p:tags r:id="rId91"/>
            </p:custDataLst>
          </p:nvPr>
        </p:nvSpPr>
        <p:spPr bwMode="auto">
          <a:xfrm>
            <a:off x="6267450" y="4595813"/>
            <a:ext cx="166688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73" name="Rechteck 472">
            <a:extLst>
              <a:ext uri="{FF2B5EF4-FFF2-40B4-BE49-F238E27FC236}">
                <a16:creationId xmlns:a16="http://schemas.microsoft.com/office/drawing/2014/main" id="{CA505280-7A6E-68C7-CA4E-20075CFFB055}"/>
              </a:ext>
            </a:extLst>
          </p:cNvPr>
          <p:cNvSpPr/>
          <p:nvPr>
            <p:custDataLst>
              <p:tags r:id="rId92"/>
            </p:custDataLst>
          </p:nvPr>
        </p:nvSpPr>
        <p:spPr bwMode="auto">
          <a:xfrm>
            <a:off x="6134100" y="4325938"/>
            <a:ext cx="166688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85" name="Rechteck 484">
            <a:extLst>
              <a:ext uri="{FF2B5EF4-FFF2-40B4-BE49-F238E27FC236}">
                <a16:creationId xmlns:a16="http://schemas.microsoft.com/office/drawing/2014/main" id="{6483A835-E113-45F2-2500-F8370169BE81}"/>
              </a:ext>
            </a:extLst>
          </p:cNvPr>
          <p:cNvSpPr/>
          <p:nvPr>
            <p:custDataLst>
              <p:tags r:id="rId93"/>
            </p:custDataLst>
          </p:nvPr>
        </p:nvSpPr>
        <p:spPr bwMode="auto">
          <a:xfrm>
            <a:off x="5595938" y="3513138"/>
            <a:ext cx="301625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62" name="Rechteck 461">
            <a:extLst>
              <a:ext uri="{FF2B5EF4-FFF2-40B4-BE49-F238E27FC236}">
                <a16:creationId xmlns:a16="http://schemas.microsoft.com/office/drawing/2014/main" id="{4F9BB224-561F-93FB-3640-F869069E3505}"/>
              </a:ext>
            </a:extLst>
          </p:cNvPr>
          <p:cNvSpPr/>
          <p:nvPr>
            <p:custDataLst>
              <p:tags r:id="rId94"/>
            </p:custDataLst>
          </p:nvPr>
        </p:nvSpPr>
        <p:spPr bwMode="auto">
          <a:xfrm>
            <a:off x="5864225" y="3784600"/>
            <a:ext cx="166688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51" name="Rechteck 450">
            <a:extLst>
              <a:ext uri="{FF2B5EF4-FFF2-40B4-BE49-F238E27FC236}">
                <a16:creationId xmlns:a16="http://schemas.microsoft.com/office/drawing/2014/main" id="{AF179A38-F37E-7678-48CC-BB1A7DF9E30B}"/>
              </a:ext>
            </a:extLst>
          </p:cNvPr>
          <p:cNvSpPr/>
          <p:nvPr>
            <p:custDataLst>
              <p:tags r:id="rId95"/>
            </p:custDataLst>
          </p:nvPr>
        </p:nvSpPr>
        <p:spPr bwMode="auto">
          <a:xfrm>
            <a:off x="6030913" y="4054475"/>
            <a:ext cx="134938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6B4AF03A-8970-477A-F669-AFD0E1A5F6F5}"/>
              </a:ext>
            </a:extLst>
          </p:cNvPr>
          <p:cNvSpPr/>
          <p:nvPr>
            <p:custDataLst>
              <p:tags r:id="rId96"/>
            </p:custDataLst>
          </p:nvPr>
        </p:nvSpPr>
        <p:spPr bwMode="auto">
          <a:xfrm>
            <a:off x="3984626" y="2673350"/>
            <a:ext cx="568325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76E8E792-8C97-3E5D-DE26-A07DE64D0311}"/>
              </a:ext>
            </a:extLst>
          </p:cNvPr>
          <p:cNvSpPr/>
          <p:nvPr>
            <p:custDataLst>
              <p:tags r:id="rId97"/>
            </p:custDataLst>
          </p:nvPr>
        </p:nvSpPr>
        <p:spPr bwMode="auto">
          <a:xfrm>
            <a:off x="4521201" y="2943225"/>
            <a:ext cx="569913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48" name="Rechteck 447">
            <a:extLst>
              <a:ext uri="{FF2B5EF4-FFF2-40B4-BE49-F238E27FC236}">
                <a16:creationId xmlns:a16="http://schemas.microsoft.com/office/drawing/2014/main" id="{FDFFB7A7-7542-9A5C-53DC-10D64ED773A4}"/>
              </a:ext>
            </a:extLst>
          </p:cNvPr>
          <p:cNvSpPr/>
          <p:nvPr>
            <p:custDataLst>
              <p:tags r:id="rId98"/>
            </p:custDataLst>
          </p:nvPr>
        </p:nvSpPr>
        <p:spPr bwMode="auto">
          <a:xfrm>
            <a:off x="6505575" y="5165725"/>
            <a:ext cx="1349375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49" name="Rechteck 448">
            <a:extLst>
              <a:ext uri="{FF2B5EF4-FFF2-40B4-BE49-F238E27FC236}">
                <a16:creationId xmlns:a16="http://schemas.microsoft.com/office/drawing/2014/main" id="{5E1597FE-88D5-598F-B421-F0F9B8C9342E}"/>
              </a:ext>
            </a:extLst>
          </p:cNvPr>
          <p:cNvSpPr/>
          <p:nvPr>
            <p:custDataLst>
              <p:tags r:id="rId99"/>
            </p:custDataLst>
          </p:nvPr>
        </p:nvSpPr>
        <p:spPr bwMode="auto">
          <a:xfrm>
            <a:off x="7899400" y="5437188"/>
            <a:ext cx="1133475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26" name="Pfeil: nach links 25">
            <a:extLst>
              <a:ext uri="{FF2B5EF4-FFF2-40B4-BE49-F238E27FC236}">
                <a16:creationId xmlns:a16="http://schemas.microsoft.com/office/drawing/2014/main" id="{17384C18-A720-EBC2-77F7-A62051681614}"/>
              </a:ext>
            </a:extLst>
          </p:cNvPr>
          <p:cNvSpPr/>
          <p:nvPr>
            <p:custDataLst>
              <p:tags r:id="rId100"/>
            </p:custDataLst>
          </p:nvPr>
        </p:nvSpPr>
        <p:spPr bwMode="auto">
          <a:xfrm>
            <a:off x="2082800" y="2643187"/>
            <a:ext cx="1901825" cy="158750"/>
          </a:xfrm>
          <a:prstGeom prst="leftArrow">
            <a:avLst>
              <a:gd name="adj1" fmla="val 50000"/>
              <a:gd name="adj2" fmla="val 40660"/>
            </a:avLst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CA35F59B-26A9-163C-2569-7C5C74E7A688}"/>
              </a:ext>
            </a:extLst>
          </p:cNvPr>
          <p:cNvSpPr/>
          <p:nvPr>
            <p:custDataLst>
              <p:tags r:id="rId101"/>
            </p:custDataLst>
          </p:nvPr>
        </p:nvSpPr>
        <p:spPr bwMode="auto">
          <a:xfrm>
            <a:off x="3465513" y="2952750"/>
            <a:ext cx="1055688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D65F5752-7B93-3A32-24DB-6A4A85E244FA}"/>
              </a:ext>
            </a:extLst>
          </p:cNvPr>
          <p:cNvSpPr/>
          <p:nvPr>
            <p:custDataLst>
              <p:tags r:id="rId102"/>
            </p:custDataLst>
          </p:nvPr>
        </p:nvSpPr>
        <p:spPr bwMode="auto">
          <a:xfrm>
            <a:off x="4527551" y="3224213"/>
            <a:ext cx="531813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53" name="Rechteck 452">
            <a:extLst>
              <a:ext uri="{FF2B5EF4-FFF2-40B4-BE49-F238E27FC236}">
                <a16:creationId xmlns:a16="http://schemas.microsoft.com/office/drawing/2014/main" id="{2BFB2CE6-A39F-A147-D37F-117207B9F1DB}"/>
              </a:ext>
            </a:extLst>
          </p:cNvPr>
          <p:cNvSpPr/>
          <p:nvPr>
            <p:custDataLst>
              <p:tags r:id="rId103"/>
            </p:custDataLst>
          </p:nvPr>
        </p:nvSpPr>
        <p:spPr bwMode="auto">
          <a:xfrm>
            <a:off x="5781676" y="4335463"/>
            <a:ext cx="352425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E47184C-154C-E1AD-60B6-9F3A64F4AC94}"/>
              </a:ext>
            </a:extLst>
          </p:cNvPr>
          <p:cNvSpPr/>
          <p:nvPr>
            <p:custDataLst>
              <p:tags r:id="rId104"/>
            </p:custDataLst>
          </p:nvPr>
        </p:nvSpPr>
        <p:spPr bwMode="auto">
          <a:xfrm>
            <a:off x="2973388" y="2411413"/>
            <a:ext cx="741363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E373FDE9-17A9-6A4A-7B75-5469C73850EB}"/>
              </a:ext>
            </a:extLst>
          </p:cNvPr>
          <p:cNvSpPr/>
          <p:nvPr>
            <p:custDataLst>
              <p:tags r:id="rId105"/>
            </p:custDataLst>
          </p:nvPr>
        </p:nvSpPr>
        <p:spPr bwMode="auto">
          <a:xfrm>
            <a:off x="4886326" y="3522663"/>
            <a:ext cx="709613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F7F03108-6754-F19B-9649-968F5AFB0F7B}"/>
              </a:ext>
            </a:extLst>
          </p:cNvPr>
          <p:cNvSpPr/>
          <p:nvPr>
            <p:custDataLst>
              <p:tags r:id="rId106"/>
            </p:custDataLst>
          </p:nvPr>
        </p:nvSpPr>
        <p:spPr bwMode="auto">
          <a:xfrm>
            <a:off x="5245100" y="3794125"/>
            <a:ext cx="619125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E6F1232C-97B9-B10A-8D5E-ACD62E4B8FEA}"/>
              </a:ext>
            </a:extLst>
          </p:cNvPr>
          <p:cNvSpPr/>
          <p:nvPr>
            <p:custDataLst>
              <p:tags r:id="rId107"/>
            </p:custDataLst>
          </p:nvPr>
        </p:nvSpPr>
        <p:spPr bwMode="auto">
          <a:xfrm>
            <a:off x="5422900" y="4064000"/>
            <a:ext cx="608013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917595E2-52B2-1B7D-A32C-5CE0438DDF8F}"/>
              </a:ext>
            </a:extLst>
          </p:cNvPr>
          <p:cNvSpPr/>
          <p:nvPr>
            <p:custDataLst>
              <p:tags r:id="rId108"/>
            </p:custDataLst>
          </p:nvPr>
        </p:nvSpPr>
        <p:spPr bwMode="auto">
          <a:xfrm>
            <a:off x="5781675" y="4605338"/>
            <a:ext cx="485775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52" name="Rechteck 451">
            <a:extLst>
              <a:ext uri="{FF2B5EF4-FFF2-40B4-BE49-F238E27FC236}">
                <a16:creationId xmlns:a16="http://schemas.microsoft.com/office/drawing/2014/main" id="{67FF91C5-3998-4DF8-3E03-1171C22581C4}"/>
              </a:ext>
            </a:extLst>
          </p:cNvPr>
          <p:cNvSpPr/>
          <p:nvPr>
            <p:custDataLst>
              <p:tags r:id="rId109"/>
            </p:custDataLst>
          </p:nvPr>
        </p:nvSpPr>
        <p:spPr bwMode="auto">
          <a:xfrm>
            <a:off x="5961064" y="4876800"/>
            <a:ext cx="441325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3" name="Raute 522">
            <a:extLst>
              <a:ext uri="{FF2B5EF4-FFF2-40B4-BE49-F238E27FC236}">
                <a16:creationId xmlns:a16="http://schemas.microsoft.com/office/drawing/2014/main" id="{D0EFE944-63B2-12B1-9B84-A6977F8FFFCC}"/>
              </a:ext>
            </a:extLst>
          </p:cNvPr>
          <p:cNvSpPr/>
          <p:nvPr>
            <p:custDataLst>
              <p:tags r:id="rId110"/>
            </p:custDataLst>
          </p:nvPr>
        </p:nvSpPr>
        <p:spPr bwMode="gray">
          <a:xfrm>
            <a:off x="4470400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5" name="Raute 574">
            <a:extLst>
              <a:ext uri="{FF2B5EF4-FFF2-40B4-BE49-F238E27FC236}">
                <a16:creationId xmlns:a16="http://schemas.microsoft.com/office/drawing/2014/main" id="{75D03F58-FA9B-89DA-6EE9-E493D2083AB9}"/>
              </a:ext>
            </a:extLst>
          </p:cNvPr>
          <p:cNvSpPr/>
          <p:nvPr>
            <p:custDataLst>
              <p:tags r:id="rId111"/>
            </p:custDataLst>
          </p:nvPr>
        </p:nvSpPr>
        <p:spPr bwMode="gray">
          <a:xfrm>
            <a:off x="8834438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2" name="Raute 521">
            <a:extLst>
              <a:ext uri="{FF2B5EF4-FFF2-40B4-BE49-F238E27FC236}">
                <a16:creationId xmlns:a16="http://schemas.microsoft.com/office/drawing/2014/main" id="{C947E9D9-BAAB-7350-3AD1-E14F9232E355}"/>
              </a:ext>
            </a:extLst>
          </p:cNvPr>
          <p:cNvSpPr/>
          <p:nvPr>
            <p:custDataLst>
              <p:tags r:id="rId112"/>
            </p:custDataLst>
          </p:nvPr>
        </p:nvSpPr>
        <p:spPr bwMode="gray">
          <a:xfrm>
            <a:off x="4291013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7" name="Raute 566">
            <a:extLst>
              <a:ext uri="{FF2B5EF4-FFF2-40B4-BE49-F238E27FC236}">
                <a16:creationId xmlns:a16="http://schemas.microsoft.com/office/drawing/2014/main" id="{E7CC102E-4C58-3F0A-7DC8-E797261BDA4C}"/>
              </a:ext>
            </a:extLst>
          </p:cNvPr>
          <p:cNvSpPr/>
          <p:nvPr>
            <p:custDataLst>
              <p:tags r:id="rId113"/>
            </p:custDataLst>
          </p:nvPr>
        </p:nvSpPr>
        <p:spPr bwMode="gray">
          <a:xfrm>
            <a:off x="7656513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47" name="Raute 446">
            <a:extLst>
              <a:ext uri="{FF2B5EF4-FFF2-40B4-BE49-F238E27FC236}">
                <a16:creationId xmlns:a16="http://schemas.microsoft.com/office/drawing/2014/main" id="{0BD51BF9-783A-B6F4-5F85-8E119C580055}"/>
              </a:ext>
            </a:extLst>
          </p:cNvPr>
          <p:cNvSpPr/>
          <p:nvPr>
            <p:custDataLst>
              <p:tags r:id="rId114"/>
            </p:custDataLst>
          </p:nvPr>
        </p:nvSpPr>
        <p:spPr bwMode="gray">
          <a:xfrm>
            <a:off x="2916238" y="23939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4" name="Raute 573">
            <a:extLst>
              <a:ext uri="{FF2B5EF4-FFF2-40B4-BE49-F238E27FC236}">
                <a16:creationId xmlns:a16="http://schemas.microsoft.com/office/drawing/2014/main" id="{7D21A798-8846-E2C6-EDA4-1791C0DA30A8}"/>
              </a:ext>
            </a:extLst>
          </p:cNvPr>
          <p:cNvSpPr/>
          <p:nvPr>
            <p:custDataLst>
              <p:tags r:id="rId115"/>
            </p:custDataLst>
          </p:nvPr>
        </p:nvSpPr>
        <p:spPr bwMode="gray">
          <a:xfrm>
            <a:off x="8462963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1" name="Raute 520">
            <a:extLst>
              <a:ext uri="{FF2B5EF4-FFF2-40B4-BE49-F238E27FC236}">
                <a16:creationId xmlns:a16="http://schemas.microsoft.com/office/drawing/2014/main" id="{A9B25A70-2FFA-8860-DBDB-5D3790B2748B}"/>
              </a:ext>
            </a:extLst>
          </p:cNvPr>
          <p:cNvSpPr/>
          <p:nvPr>
            <p:custDataLst>
              <p:tags r:id="rId116"/>
            </p:custDataLst>
          </p:nvPr>
        </p:nvSpPr>
        <p:spPr bwMode="gray">
          <a:xfrm>
            <a:off x="4111625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4" name="Raute 563">
            <a:extLst>
              <a:ext uri="{FF2B5EF4-FFF2-40B4-BE49-F238E27FC236}">
                <a16:creationId xmlns:a16="http://schemas.microsoft.com/office/drawing/2014/main" id="{1BDE3CF8-03F2-EA04-AE36-A356D36FD208}"/>
              </a:ext>
            </a:extLst>
          </p:cNvPr>
          <p:cNvSpPr/>
          <p:nvPr>
            <p:custDataLst>
              <p:tags r:id="rId117"/>
            </p:custDataLst>
          </p:nvPr>
        </p:nvSpPr>
        <p:spPr bwMode="gray">
          <a:xfrm>
            <a:off x="7464425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16" name="Raute 515">
            <a:extLst>
              <a:ext uri="{FF2B5EF4-FFF2-40B4-BE49-F238E27FC236}">
                <a16:creationId xmlns:a16="http://schemas.microsoft.com/office/drawing/2014/main" id="{2D934F85-10C7-BEB8-9A8A-E2080FFB827C}"/>
              </a:ext>
            </a:extLst>
          </p:cNvPr>
          <p:cNvSpPr/>
          <p:nvPr>
            <p:custDataLst>
              <p:tags r:id="rId118"/>
            </p:custDataLst>
          </p:nvPr>
        </p:nvSpPr>
        <p:spPr bwMode="gray">
          <a:xfrm>
            <a:off x="3408363" y="29352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3" name="Raute 572">
            <a:extLst>
              <a:ext uri="{FF2B5EF4-FFF2-40B4-BE49-F238E27FC236}">
                <a16:creationId xmlns:a16="http://schemas.microsoft.com/office/drawing/2014/main" id="{8D3549E5-5E16-DFAD-41EB-0405BB3CE442}"/>
              </a:ext>
            </a:extLst>
          </p:cNvPr>
          <p:cNvSpPr/>
          <p:nvPr>
            <p:custDataLst>
              <p:tags r:id="rId119"/>
            </p:custDataLst>
          </p:nvPr>
        </p:nvSpPr>
        <p:spPr bwMode="gray">
          <a:xfrm>
            <a:off x="8283575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3" name="Raute 562">
            <a:extLst>
              <a:ext uri="{FF2B5EF4-FFF2-40B4-BE49-F238E27FC236}">
                <a16:creationId xmlns:a16="http://schemas.microsoft.com/office/drawing/2014/main" id="{BC80CAD7-C35E-E9D9-1A67-93BFB96D6F30}"/>
              </a:ext>
            </a:extLst>
          </p:cNvPr>
          <p:cNvSpPr/>
          <p:nvPr>
            <p:custDataLst>
              <p:tags r:id="rId120"/>
            </p:custDataLst>
          </p:nvPr>
        </p:nvSpPr>
        <p:spPr bwMode="gray">
          <a:xfrm>
            <a:off x="7299325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71" name="Raute 470">
            <a:extLst>
              <a:ext uri="{FF2B5EF4-FFF2-40B4-BE49-F238E27FC236}">
                <a16:creationId xmlns:a16="http://schemas.microsoft.com/office/drawing/2014/main" id="{9C2512DB-6B45-5AA1-8296-9A9551B04548}"/>
              </a:ext>
            </a:extLst>
          </p:cNvPr>
          <p:cNvSpPr/>
          <p:nvPr>
            <p:custDataLst>
              <p:tags r:id="rId121"/>
            </p:custDataLst>
          </p:nvPr>
        </p:nvSpPr>
        <p:spPr bwMode="gray">
          <a:xfrm>
            <a:off x="3254375" y="29352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19" name="Raute 518">
            <a:extLst>
              <a:ext uri="{FF2B5EF4-FFF2-40B4-BE49-F238E27FC236}">
                <a16:creationId xmlns:a16="http://schemas.microsoft.com/office/drawing/2014/main" id="{9FC8A11B-9D8F-A06B-2277-396318781EAE}"/>
              </a:ext>
            </a:extLst>
          </p:cNvPr>
          <p:cNvSpPr/>
          <p:nvPr>
            <p:custDataLst>
              <p:tags r:id="rId122"/>
            </p:custDataLst>
          </p:nvPr>
        </p:nvSpPr>
        <p:spPr bwMode="gray">
          <a:xfrm>
            <a:off x="3946525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2" name="Raute 571">
            <a:extLst>
              <a:ext uri="{FF2B5EF4-FFF2-40B4-BE49-F238E27FC236}">
                <a16:creationId xmlns:a16="http://schemas.microsoft.com/office/drawing/2014/main" id="{78F17068-A033-F7CD-3321-80D2E387351F}"/>
              </a:ext>
            </a:extLst>
          </p:cNvPr>
          <p:cNvSpPr/>
          <p:nvPr>
            <p:custDataLst>
              <p:tags r:id="rId123"/>
            </p:custDataLst>
          </p:nvPr>
        </p:nvSpPr>
        <p:spPr bwMode="gray">
          <a:xfrm>
            <a:off x="8194675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67" name="Raute 466">
            <a:extLst>
              <a:ext uri="{FF2B5EF4-FFF2-40B4-BE49-F238E27FC236}">
                <a16:creationId xmlns:a16="http://schemas.microsoft.com/office/drawing/2014/main" id="{1664339D-AE3A-03E0-787B-A82A6B6C8152}"/>
              </a:ext>
            </a:extLst>
          </p:cNvPr>
          <p:cNvSpPr/>
          <p:nvPr>
            <p:custDataLst>
              <p:tags r:id="rId124"/>
            </p:custDataLst>
          </p:nvPr>
        </p:nvSpPr>
        <p:spPr bwMode="gray">
          <a:xfrm>
            <a:off x="3074988" y="29352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45" name="Raute 544">
            <a:extLst>
              <a:ext uri="{FF2B5EF4-FFF2-40B4-BE49-F238E27FC236}">
                <a16:creationId xmlns:a16="http://schemas.microsoft.com/office/drawing/2014/main" id="{1B2F221E-759D-5C30-48ED-C3EFA14EE4E0}"/>
              </a:ext>
            </a:extLst>
          </p:cNvPr>
          <p:cNvSpPr/>
          <p:nvPr>
            <p:custDataLst>
              <p:tags r:id="rId125"/>
            </p:custDataLst>
          </p:nvPr>
        </p:nvSpPr>
        <p:spPr bwMode="gray">
          <a:xfrm>
            <a:off x="5724525" y="4587875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99" name="Raute 598">
            <a:extLst>
              <a:ext uri="{FF2B5EF4-FFF2-40B4-BE49-F238E27FC236}">
                <a16:creationId xmlns:a16="http://schemas.microsoft.com/office/drawing/2014/main" id="{5A33893A-670D-3600-12FF-46319A972554}"/>
              </a:ext>
            </a:extLst>
          </p:cNvPr>
          <p:cNvSpPr/>
          <p:nvPr>
            <p:custDataLst>
              <p:tags r:id="rId126"/>
            </p:custDataLst>
          </p:nvPr>
        </p:nvSpPr>
        <p:spPr bwMode="gray">
          <a:xfrm>
            <a:off x="5187950" y="3776663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1" name="Raute 570">
            <a:extLst>
              <a:ext uri="{FF2B5EF4-FFF2-40B4-BE49-F238E27FC236}">
                <a16:creationId xmlns:a16="http://schemas.microsoft.com/office/drawing/2014/main" id="{0A4EE8B2-E6E9-9101-2082-40ABCBEAD99C}"/>
              </a:ext>
            </a:extLst>
          </p:cNvPr>
          <p:cNvSpPr/>
          <p:nvPr>
            <p:custDataLst>
              <p:tags r:id="rId127"/>
            </p:custDataLst>
          </p:nvPr>
        </p:nvSpPr>
        <p:spPr bwMode="gray">
          <a:xfrm>
            <a:off x="8015288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5" name="Raute 564">
            <a:extLst>
              <a:ext uri="{FF2B5EF4-FFF2-40B4-BE49-F238E27FC236}">
                <a16:creationId xmlns:a16="http://schemas.microsoft.com/office/drawing/2014/main" id="{D4DB9D54-A4E2-2770-699C-521F6E2EE0C5}"/>
              </a:ext>
            </a:extLst>
          </p:cNvPr>
          <p:cNvSpPr/>
          <p:nvPr>
            <p:custDataLst>
              <p:tags r:id="rId128"/>
            </p:custDataLst>
          </p:nvPr>
        </p:nvSpPr>
        <p:spPr bwMode="gray">
          <a:xfrm>
            <a:off x="6440488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3" name="Raute 552">
            <a:extLst>
              <a:ext uri="{FF2B5EF4-FFF2-40B4-BE49-F238E27FC236}">
                <a16:creationId xmlns:a16="http://schemas.microsoft.com/office/drawing/2014/main" id="{AB688C70-E5A9-D058-B1FF-2EE9D99B2B21}"/>
              </a:ext>
            </a:extLst>
          </p:cNvPr>
          <p:cNvSpPr/>
          <p:nvPr>
            <p:custDataLst>
              <p:tags r:id="rId129"/>
            </p:custDataLst>
          </p:nvPr>
        </p:nvSpPr>
        <p:spPr bwMode="gray">
          <a:xfrm>
            <a:off x="4829175" y="350520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0" name="Raute 519">
            <a:extLst>
              <a:ext uri="{FF2B5EF4-FFF2-40B4-BE49-F238E27FC236}">
                <a16:creationId xmlns:a16="http://schemas.microsoft.com/office/drawing/2014/main" id="{D1D04715-F926-9BFB-0F41-BE1FD7813F04}"/>
              </a:ext>
            </a:extLst>
          </p:cNvPr>
          <p:cNvSpPr/>
          <p:nvPr>
            <p:custDataLst>
              <p:tags r:id="rId130"/>
            </p:custDataLst>
          </p:nvPr>
        </p:nvSpPr>
        <p:spPr bwMode="gray">
          <a:xfrm>
            <a:off x="3767138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0" name="Raute 559">
            <a:extLst>
              <a:ext uri="{FF2B5EF4-FFF2-40B4-BE49-F238E27FC236}">
                <a16:creationId xmlns:a16="http://schemas.microsoft.com/office/drawing/2014/main" id="{DC4B7734-CD0F-BE20-F52C-106D1658C93C}"/>
              </a:ext>
            </a:extLst>
          </p:cNvPr>
          <p:cNvSpPr/>
          <p:nvPr>
            <p:custDataLst>
              <p:tags r:id="rId131"/>
            </p:custDataLst>
          </p:nvPr>
        </p:nvSpPr>
        <p:spPr bwMode="gray">
          <a:xfrm>
            <a:off x="5724525" y="431800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6" name="Raute 555">
            <a:extLst>
              <a:ext uri="{FF2B5EF4-FFF2-40B4-BE49-F238E27FC236}">
                <a16:creationId xmlns:a16="http://schemas.microsoft.com/office/drawing/2014/main" id="{4B1E386D-DCB3-B363-E40D-7E0CB8B4825D}"/>
              </a:ext>
            </a:extLst>
          </p:cNvPr>
          <p:cNvSpPr/>
          <p:nvPr>
            <p:custDataLst>
              <p:tags r:id="rId132"/>
            </p:custDataLst>
          </p:nvPr>
        </p:nvSpPr>
        <p:spPr bwMode="gray">
          <a:xfrm>
            <a:off x="5008563" y="3776663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8" name="Raute 557">
            <a:extLst>
              <a:ext uri="{FF2B5EF4-FFF2-40B4-BE49-F238E27FC236}">
                <a16:creationId xmlns:a16="http://schemas.microsoft.com/office/drawing/2014/main" id="{FD41B0D0-9B4F-2A89-BA1F-E6318484A44B}"/>
              </a:ext>
            </a:extLst>
          </p:cNvPr>
          <p:cNvSpPr/>
          <p:nvPr>
            <p:custDataLst>
              <p:tags r:id="rId133"/>
            </p:custDataLst>
          </p:nvPr>
        </p:nvSpPr>
        <p:spPr bwMode="gray">
          <a:xfrm>
            <a:off x="5365750" y="404653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1" name="Raute 560">
            <a:extLst>
              <a:ext uri="{FF2B5EF4-FFF2-40B4-BE49-F238E27FC236}">
                <a16:creationId xmlns:a16="http://schemas.microsoft.com/office/drawing/2014/main" id="{47F9A99F-3E83-50A8-F776-B7A6CDC244FD}"/>
              </a:ext>
            </a:extLst>
          </p:cNvPr>
          <p:cNvSpPr/>
          <p:nvPr>
            <p:custDataLst>
              <p:tags r:id="rId134"/>
            </p:custDataLst>
          </p:nvPr>
        </p:nvSpPr>
        <p:spPr bwMode="gray">
          <a:xfrm>
            <a:off x="5903913" y="485933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2" name="Raute 551">
            <a:extLst>
              <a:ext uri="{FF2B5EF4-FFF2-40B4-BE49-F238E27FC236}">
                <a16:creationId xmlns:a16="http://schemas.microsoft.com/office/drawing/2014/main" id="{E71DFCA4-71A3-DEC8-DC62-9F3216E351FA}"/>
              </a:ext>
            </a:extLst>
          </p:cNvPr>
          <p:cNvSpPr/>
          <p:nvPr>
            <p:custDataLst>
              <p:tags r:id="rId135"/>
            </p:custDataLst>
          </p:nvPr>
        </p:nvSpPr>
        <p:spPr bwMode="gray">
          <a:xfrm>
            <a:off x="4829175" y="350520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6" name="Raute 565">
            <a:extLst>
              <a:ext uri="{FF2B5EF4-FFF2-40B4-BE49-F238E27FC236}">
                <a16:creationId xmlns:a16="http://schemas.microsoft.com/office/drawing/2014/main" id="{3A54636B-7D2D-673F-5BEF-9D99D25C1884}"/>
              </a:ext>
            </a:extLst>
          </p:cNvPr>
          <p:cNvSpPr/>
          <p:nvPr>
            <p:custDataLst>
              <p:tags r:id="rId136"/>
            </p:custDataLst>
          </p:nvPr>
        </p:nvSpPr>
        <p:spPr bwMode="gray">
          <a:xfrm>
            <a:off x="6262688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5" name="Raute 524">
            <a:extLst>
              <a:ext uri="{FF2B5EF4-FFF2-40B4-BE49-F238E27FC236}">
                <a16:creationId xmlns:a16="http://schemas.microsoft.com/office/drawing/2014/main" id="{087480DF-D570-F21C-92A5-40EEF688CB82}"/>
              </a:ext>
            </a:extLst>
          </p:cNvPr>
          <p:cNvSpPr/>
          <p:nvPr>
            <p:custDataLst>
              <p:tags r:id="rId137"/>
            </p:custDataLst>
          </p:nvPr>
        </p:nvSpPr>
        <p:spPr bwMode="gray">
          <a:xfrm>
            <a:off x="4649788" y="4587875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0" name="Raute 569">
            <a:extLst>
              <a:ext uri="{FF2B5EF4-FFF2-40B4-BE49-F238E27FC236}">
                <a16:creationId xmlns:a16="http://schemas.microsoft.com/office/drawing/2014/main" id="{F08C3DE3-6509-F75B-58FC-C74931755110}"/>
              </a:ext>
            </a:extLst>
          </p:cNvPr>
          <p:cNvSpPr/>
          <p:nvPr>
            <p:custDataLst>
              <p:tags r:id="rId138"/>
            </p:custDataLst>
          </p:nvPr>
        </p:nvSpPr>
        <p:spPr bwMode="gray">
          <a:xfrm>
            <a:off x="7926388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18" name="Raute 517">
            <a:extLst>
              <a:ext uri="{FF2B5EF4-FFF2-40B4-BE49-F238E27FC236}">
                <a16:creationId xmlns:a16="http://schemas.microsoft.com/office/drawing/2014/main" id="{3E7BEEBF-3234-D7A3-90D5-0947E17E126B}"/>
              </a:ext>
            </a:extLst>
          </p:cNvPr>
          <p:cNvSpPr/>
          <p:nvPr>
            <p:custDataLst>
              <p:tags r:id="rId139"/>
            </p:custDataLst>
          </p:nvPr>
        </p:nvSpPr>
        <p:spPr bwMode="gray">
          <a:xfrm>
            <a:off x="3587750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66" name="Raute 465">
            <a:extLst>
              <a:ext uri="{FF2B5EF4-FFF2-40B4-BE49-F238E27FC236}">
                <a16:creationId xmlns:a16="http://schemas.microsoft.com/office/drawing/2014/main" id="{BC19DDDA-DA51-2AF4-A7FF-864FA3BD9EAC}"/>
              </a:ext>
            </a:extLst>
          </p:cNvPr>
          <p:cNvSpPr/>
          <p:nvPr>
            <p:custDataLst>
              <p:tags r:id="rId140"/>
            </p:custDataLst>
          </p:nvPr>
        </p:nvSpPr>
        <p:spPr bwMode="gray">
          <a:xfrm>
            <a:off x="2922588" y="29352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4" name="Raute 523">
            <a:extLst>
              <a:ext uri="{FF2B5EF4-FFF2-40B4-BE49-F238E27FC236}">
                <a16:creationId xmlns:a16="http://schemas.microsoft.com/office/drawing/2014/main" id="{2B51DCE0-C4AF-159B-40D2-0FDD603130CB}"/>
              </a:ext>
            </a:extLst>
          </p:cNvPr>
          <p:cNvSpPr/>
          <p:nvPr>
            <p:custDataLst>
              <p:tags r:id="rId141"/>
            </p:custDataLst>
          </p:nvPr>
        </p:nvSpPr>
        <p:spPr bwMode="gray">
          <a:xfrm>
            <a:off x="4470400" y="4587875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8" name="Raute 567">
            <a:extLst>
              <a:ext uri="{FF2B5EF4-FFF2-40B4-BE49-F238E27FC236}">
                <a16:creationId xmlns:a16="http://schemas.microsoft.com/office/drawing/2014/main" id="{2C49A363-896D-F67F-4E71-9361069693C5}"/>
              </a:ext>
            </a:extLst>
          </p:cNvPr>
          <p:cNvSpPr/>
          <p:nvPr>
            <p:custDataLst>
              <p:tags r:id="rId142"/>
            </p:custDataLst>
          </p:nvPr>
        </p:nvSpPr>
        <p:spPr bwMode="gray">
          <a:xfrm>
            <a:off x="6083300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9" name="Raute 568">
            <a:extLst>
              <a:ext uri="{FF2B5EF4-FFF2-40B4-BE49-F238E27FC236}">
                <a16:creationId xmlns:a16="http://schemas.microsoft.com/office/drawing/2014/main" id="{335B3AFC-6D2B-5A18-F28D-59EBEDEBD3AB}"/>
              </a:ext>
            </a:extLst>
          </p:cNvPr>
          <p:cNvSpPr/>
          <p:nvPr>
            <p:custDataLst>
              <p:tags r:id="rId143"/>
            </p:custDataLst>
          </p:nvPr>
        </p:nvSpPr>
        <p:spPr bwMode="gray">
          <a:xfrm>
            <a:off x="7835900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17" name="Raute 516">
            <a:extLst>
              <a:ext uri="{FF2B5EF4-FFF2-40B4-BE49-F238E27FC236}">
                <a16:creationId xmlns:a16="http://schemas.microsoft.com/office/drawing/2014/main" id="{EE265A32-26E2-400B-214B-094813E70276}"/>
              </a:ext>
            </a:extLst>
          </p:cNvPr>
          <p:cNvSpPr/>
          <p:nvPr>
            <p:custDataLst>
              <p:tags r:id="rId144"/>
            </p:custDataLst>
          </p:nvPr>
        </p:nvSpPr>
        <p:spPr bwMode="gray">
          <a:xfrm>
            <a:off x="3408363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2" name="Raute 561">
            <a:extLst>
              <a:ext uri="{FF2B5EF4-FFF2-40B4-BE49-F238E27FC236}">
                <a16:creationId xmlns:a16="http://schemas.microsoft.com/office/drawing/2014/main" id="{4C44E9A4-AF8F-2FE4-78D2-7EE9012DCA08}"/>
              </a:ext>
            </a:extLst>
          </p:cNvPr>
          <p:cNvSpPr/>
          <p:nvPr>
            <p:custDataLst>
              <p:tags r:id="rId145"/>
            </p:custDataLst>
          </p:nvPr>
        </p:nvSpPr>
        <p:spPr bwMode="gray">
          <a:xfrm>
            <a:off x="5859463" y="485933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2" name="Gleichschenkliges Dreieck 41">
            <a:extLst>
              <a:ext uri="{FF2B5EF4-FFF2-40B4-BE49-F238E27FC236}">
                <a16:creationId xmlns:a16="http://schemas.microsoft.com/office/drawing/2014/main" id="{DBC6B233-6F0E-3B09-9010-ECEA516545AE}"/>
              </a:ext>
            </a:extLst>
          </p:cNvPr>
          <p:cNvSpPr/>
          <p:nvPr>
            <p:custDataLst>
              <p:tags r:id="rId146"/>
            </p:custDataLst>
          </p:nvPr>
        </p:nvSpPr>
        <p:spPr bwMode="gray">
          <a:xfrm>
            <a:off x="2673350" y="5749925"/>
            <a:ext cx="114300" cy="114300"/>
          </a:xfrm>
          <a:prstGeom prst="triangle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5" name="Raute 554">
            <a:extLst>
              <a:ext uri="{FF2B5EF4-FFF2-40B4-BE49-F238E27FC236}">
                <a16:creationId xmlns:a16="http://schemas.microsoft.com/office/drawing/2014/main" id="{D7BE842B-582F-6195-33F0-DDD78CC78AA5}"/>
              </a:ext>
            </a:extLst>
          </p:cNvPr>
          <p:cNvSpPr/>
          <p:nvPr>
            <p:custDataLst>
              <p:tags r:id="rId147"/>
            </p:custDataLst>
          </p:nvPr>
        </p:nvSpPr>
        <p:spPr bwMode="gray">
          <a:xfrm>
            <a:off x="4995863" y="3776663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7" name="Raute 556">
            <a:extLst>
              <a:ext uri="{FF2B5EF4-FFF2-40B4-BE49-F238E27FC236}">
                <a16:creationId xmlns:a16="http://schemas.microsoft.com/office/drawing/2014/main" id="{F61D7AC2-ED71-06B4-39C8-B25382C812C8}"/>
              </a:ext>
            </a:extLst>
          </p:cNvPr>
          <p:cNvSpPr/>
          <p:nvPr>
            <p:custDataLst>
              <p:tags r:id="rId148"/>
            </p:custDataLst>
          </p:nvPr>
        </p:nvSpPr>
        <p:spPr bwMode="gray">
          <a:xfrm>
            <a:off x="5187950" y="404653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" name="Raute 54">
            <a:extLst>
              <a:ext uri="{FF2B5EF4-FFF2-40B4-BE49-F238E27FC236}">
                <a16:creationId xmlns:a16="http://schemas.microsoft.com/office/drawing/2014/main" id="{CE9BDAAA-D876-DA12-CA91-FAB3B2D5EE8E}"/>
              </a:ext>
            </a:extLst>
          </p:cNvPr>
          <p:cNvSpPr/>
          <p:nvPr>
            <p:custDataLst>
              <p:tags r:id="rId149"/>
            </p:custDataLst>
          </p:nvPr>
        </p:nvSpPr>
        <p:spPr bwMode="gray">
          <a:xfrm>
            <a:off x="2519363" y="29352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9" name="Raute 558">
            <a:extLst>
              <a:ext uri="{FF2B5EF4-FFF2-40B4-BE49-F238E27FC236}">
                <a16:creationId xmlns:a16="http://schemas.microsoft.com/office/drawing/2014/main" id="{2F3CCAB6-3ECD-83EB-9036-2E6D6701AD7F}"/>
              </a:ext>
            </a:extLst>
          </p:cNvPr>
          <p:cNvSpPr/>
          <p:nvPr>
            <p:custDataLst>
              <p:tags r:id="rId150"/>
            </p:custDataLst>
          </p:nvPr>
        </p:nvSpPr>
        <p:spPr bwMode="gray">
          <a:xfrm>
            <a:off x="5545138" y="431800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1" name="Raute 550">
            <a:extLst>
              <a:ext uri="{FF2B5EF4-FFF2-40B4-BE49-F238E27FC236}">
                <a16:creationId xmlns:a16="http://schemas.microsoft.com/office/drawing/2014/main" id="{64DB83F4-DFD4-7701-F407-58C2B7B37327}"/>
              </a:ext>
            </a:extLst>
          </p:cNvPr>
          <p:cNvSpPr/>
          <p:nvPr>
            <p:custDataLst>
              <p:tags r:id="rId151"/>
            </p:custDataLst>
          </p:nvPr>
        </p:nvSpPr>
        <p:spPr bwMode="gray">
          <a:xfrm>
            <a:off x="4649788" y="350520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102" name="text">
            <a:extLst>
              <a:ext uri="{FF2B5EF4-FFF2-40B4-BE49-F238E27FC236}">
                <a16:creationId xmlns:a16="http://schemas.microsoft.com/office/drawing/2014/main" id="{82A69C58-60A9-B6FC-0ECB-2AA14C9807B3}"/>
              </a:ext>
            </a:extLst>
          </p:cNvPr>
          <p:cNvSpPr>
            <a:spLocks noGrp="1"/>
          </p:cNvSpPr>
          <p:nvPr>
            <p:custDataLst>
              <p:tags r:id="rId152"/>
            </p:custDataLst>
          </p:nvPr>
        </p:nvSpPr>
        <p:spPr bwMode="auto">
          <a:xfrm>
            <a:off x="10460038" y="5116513"/>
            <a:ext cx="11318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 / Curve</a:t>
            </a:r>
          </a:p>
        </p:txBody>
      </p:sp>
      <p:sp>
        <p:nvSpPr>
          <p:cNvPr id="74" name="text">
            <a:extLst>
              <a:ext uri="{FF2B5EF4-FFF2-40B4-BE49-F238E27FC236}">
                <a16:creationId xmlns:a16="http://schemas.microsoft.com/office/drawing/2014/main" id="{91BE09AB-73E8-11F4-49E4-5A790F689E5A}"/>
              </a:ext>
            </a:extLst>
          </p:cNvPr>
          <p:cNvSpPr>
            <a:spLocks noGrp="1"/>
          </p:cNvSpPr>
          <p:nvPr>
            <p:custDataLst>
              <p:tags r:id="rId153"/>
            </p:custDataLst>
          </p:nvPr>
        </p:nvSpPr>
        <p:spPr bwMode="auto">
          <a:xfrm>
            <a:off x="10460038" y="2352675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effectLst/>
              </a:rPr>
              <a:t>Curve</a:t>
            </a:r>
            <a:endParaRPr lang="en-US" dirty="0"/>
          </a:p>
        </p:txBody>
      </p:sp>
      <p:sp>
        <p:nvSpPr>
          <p:cNvPr id="6" name="text">
            <a:extLst>
              <a:ext uri="{FF2B5EF4-FFF2-40B4-BE49-F238E27FC236}">
                <a16:creationId xmlns:a16="http://schemas.microsoft.com/office/drawing/2014/main" id="{FE44E342-DE86-E5EF-6992-FF4B5A8E2FA8}"/>
              </a:ext>
            </a:extLst>
          </p:cNvPr>
          <p:cNvSpPr>
            <a:spLocks noGrp="1"/>
          </p:cNvSpPr>
          <p:nvPr>
            <p:custDataLst>
              <p:tags r:id="rId154"/>
            </p:custDataLst>
          </p:nvPr>
        </p:nvSpPr>
        <p:spPr bwMode="auto">
          <a:xfrm>
            <a:off x="596900" y="2352675"/>
            <a:ext cx="10763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>
                <a:effectLst/>
              </a:rPr>
              <a:t>Type </a:t>
            </a:r>
            <a:r>
              <a:rPr lang="en-US" altLang="en-US" dirty="0">
                <a:effectLst/>
              </a:rPr>
              <a:t>2.5 B1-B6</a:t>
            </a:r>
            <a:endParaRPr lang="en-US" dirty="0"/>
          </a:p>
        </p:txBody>
      </p:sp>
      <p:sp>
        <p:nvSpPr>
          <p:cNvPr id="88" name="text">
            <a:extLst>
              <a:ext uri="{FF2B5EF4-FFF2-40B4-BE49-F238E27FC236}">
                <a16:creationId xmlns:a16="http://schemas.microsoft.com/office/drawing/2014/main" id="{11E0E462-923D-A002-783F-901F2F6CE531}"/>
              </a:ext>
            </a:extLst>
          </p:cNvPr>
          <p:cNvSpPr>
            <a:spLocks noGrp="1"/>
          </p:cNvSpPr>
          <p:nvPr>
            <p:custDataLst>
              <p:tags r:id="rId155"/>
            </p:custDataLst>
          </p:nvPr>
        </p:nvSpPr>
        <p:spPr bwMode="auto">
          <a:xfrm>
            <a:off x="596900" y="5116513"/>
            <a:ext cx="10763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/>
              <a:t>Type </a:t>
            </a:r>
            <a:r>
              <a:rPr lang="en-US" altLang="en-US" dirty="0"/>
              <a:t>2.9 B1-B6</a:t>
            </a:r>
            <a:endParaRPr lang="en-US" dirty="0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73849000-F382-B93E-D8BB-EB71E4375FBA}"/>
              </a:ext>
            </a:extLst>
          </p:cNvPr>
          <p:cNvSpPr>
            <a:spLocks noGrp="1"/>
          </p:cNvSpPr>
          <p:nvPr>
            <p:custDataLst>
              <p:tags r:id="rId156"/>
            </p:custDataLst>
          </p:nvPr>
        </p:nvSpPr>
        <p:spPr bwMode="auto">
          <a:xfrm>
            <a:off x="596900" y="2894013"/>
            <a:ext cx="11795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effectLst/>
              </a:rPr>
              <a:t>Type 1.6A B1-B6</a:t>
            </a:r>
            <a:endParaRPr lang="en-US" dirty="0"/>
          </a:p>
        </p:txBody>
      </p:sp>
      <p:sp>
        <p:nvSpPr>
          <p:cNvPr id="96" name="text">
            <a:extLst>
              <a:ext uri="{FF2B5EF4-FFF2-40B4-BE49-F238E27FC236}">
                <a16:creationId xmlns:a16="http://schemas.microsoft.com/office/drawing/2014/main" id="{FE8A795C-141F-E295-264B-255C08EAE306}"/>
              </a:ext>
            </a:extLst>
          </p:cNvPr>
          <p:cNvSpPr>
            <a:spLocks noGrp="1"/>
          </p:cNvSpPr>
          <p:nvPr>
            <p:custDataLst>
              <p:tags r:id="rId157"/>
            </p:custDataLst>
          </p:nvPr>
        </p:nvSpPr>
        <p:spPr bwMode="auto">
          <a:xfrm>
            <a:off x="10460038" y="4276725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  <a:endParaRPr lang="en-US" dirty="0"/>
          </a:p>
        </p:txBody>
      </p:sp>
      <p:sp>
        <p:nvSpPr>
          <p:cNvPr id="41" name="text">
            <a:extLst>
              <a:ext uri="{FF2B5EF4-FFF2-40B4-BE49-F238E27FC236}">
                <a16:creationId xmlns:a16="http://schemas.microsoft.com/office/drawing/2014/main" id="{A65170D2-42C5-3351-3C04-05F5D92467CE}"/>
              </a:ext>
            </a:extLst>
          </p:cNvPr>
          <p:cNvSpPr>
            <a:spLocks noGrp="1"/>
          </p:cNvSpPr>
          <p:nvPr>
            <p:custDataLst>
              <p:tags r:id="rId158"/>
            </p:custDataLst>
          </p:nvPr>
        </p:nvSpPr>
        <p:spPr bwMode="auto">
          <a:xfrm>
            <a:off x="2346325" y="5886450"/>
            <a:ext cx="7699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B5857AE-A69B-49E6-B0EF-C0E89D1D18B4}" type="datetime'''''''''9/2''''''''''''''''''''2/''''''20''''''''2''''''5'''">
              <a:rPr lang="en-US" altLang="en-US" smtClean="0"/>
              <a:pPr/>
              <a:t>9/22/2025</a:t>
            </a:fld>
            <a:endParaRPr lang="en-US" dirty="0"/>
          </a:p>
        </p:txBody>
      </p:sp>
      <p:sp>
        <p:nvSpPr>
          <p:cNvPr id="450" name="text">
            <a:extLst>
              <a:ext uri="{FF2B5EF4-FFF2-40B4-BE49-F238E27FC236}">
                <a16:creationId xmlns:a16="http://schemas.microsoft.com/office/drawing/2014/main" id="{1243A011-CDBA-7663-F590-8DB8FA8D81C9}"/>
              </a:ext>
            </a:extLst>
          </p:cNvPr>
          <p:cNvSpPr>
            <a:spLocks noGrp="1"/>
          </p:cNvSpPr>
          <p:nvPr>
            <p:custDataLst>
              <p:tags r:id="rId159"/>
            </p:custDataLst>
          </p:nvPr>
        </p:nvSpPr>
        <p:spPr bwMode="auto">
          <a:xfrm>
            <a:off x="1776413" y="2139950"/>
            <a:ext cx="350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EBF3DDBE-A98C-4EAD-9052-5493DB14FD65}" type="datetime'''''''''M''''''''''''''''''o''n''''t''''''''''''''''h'''''''''">
              <a:rPr lang="en-US" altLang="en-US" sz="1000" smtClean="0"/>
              <a:pPr/>
              <a:t>Month</a:t>
            </a:fld>
            <a:endParaRPr lang="en-US" sz="1000" dirty="0"/>
          </a:p>
        </p:txBody>
      </p:sp>
      <p:sp>
        <p:nvSpPr>
          <p:cNvPr id="69" name="text">
            <a:extLst>
              <a:ext uri="{FF2B5EF4-FFF2-40B4-BE49-F238E27FC236}">
                <a16:creationId xmlns:a16="http://schemas.microsoft.com/office/drawing/2014/main" id="{F4EBC771-587D-EEDC-731D-219EEF366E85}"/>
              </a:ext>
            </a:extLst>
          </p:cNvPr>
          <p:cNvSpPr>
            <a:spLocks noGrp="1"/>
          </p:cNvSpPr>
          <p:nvPr>
            <p:custDataLst>
              <p:tags r:id="rId160"/>
            </p:custDataLst>
          </p:nvPr>
        </p:nvSpPr>
        <p:spPr bwMode="auto">
          <a:xfrm>
            <a:off x="596900" y="3463925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Type 2.123 S2</a:t>
            </a:r>
            <a:endParaRPr lang="en-US" dirty="0"/>
          </a:p>
        </p:txBody>
      </p:sp>
      <p:sp>
        <p:nvSpPr>
          <p:cNvPr id="92" name="text">
            <a:extLst>
              <a:ext uri="{FF2B5EF4-FFF2-40B4-BE49-F238E27FC236}">
                <a16:creationId xmlns:a16="http://schemas.microsoft.com/office/drawing/2014/main" id="{3D0EE1D5-B094-7E5B-F6F1-1AE41985C12D}"/>
              </a:ext>
            </a:extLst>
          </p:cNvPr>
          <p:cNvSpPr>
            <a:spLocks noGrp="1"/>
          </p:cNvSpPr>
          <p:nvPr>
            <p:custDataLst>
              <p:tags r:id="rId161"/>
            </p:custDataLst>
          </p:nvPr>
        </p:nvSpPr>
        <p:spPr bwMode="auto">
          <a:xfrm>
            <a:off x="10460038" y="3463925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  <a:endParaRPr lang="en-US" dirty="0"/>
          </a:p>
        </p:txBody>
      </p:sp>
      <p:sp>
        <p:nvSpPr>
          <p:cNvPr id="100" name="text">
            <a:extLst>
              <a:ext uri="{FF2B5EF4-FFF2-40B4-BE49-F238E27FC236}">
                <a16:creationId xmlns:a16="http://schemas.microsoft.com/office/drawing/2014/main" id="{052A66DD-36EF-780D-987A-C60CEF8AB5AF}"/>
              </a:ext>
            </a:extLst>
          </p:cNvPr>
          <p:cNvSpPr>
            <a:spLocks noGrp="1"/>
          </p:cNvSpPr>
          <p:nvPr>
            <p:custDataLst>
              <p:tags r:id="rId162"/>
            </p:custDataLst>
          </p:nvPr>
        </p:nvSpPr>
        <p:spPr bwMode="auto">
          <a:xfrm>
            <a:off x="10460038" y="4818063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</a:p>
        </p:txBody>
      </p:sp>
      <p:sp>
        <p:nvSpPr>
          <p:cNvPr id="86" name="text">
            <a:extLst>
              <a:ext uri="{FF2B5EF4-FFF2-40B4-BE49-F238E27FC236}">
                <a16:creationId xmlns:a16="http://schemas.microsoft.com/office/drawing/2014/main" id="{907BA0B4-4670-A327-938C-0E5C23833D36}"/>
              </a:ext>
            </a:extLst>
          </p:cNvPr>
          <p:cNvSpPr>
            <a:spLocks noGrp="1"/>
          </p:cNvSpPr>
          <p:nvPr>
            <p:custDataLst>
              <p:tags r:id="rId163"/>
            </p:custDataLst>
          </p:nvPr>
        </p:nvSpPr>
        <p:spPr bwMode="auto">
          <a:xfrm>
            <a:off x="596900" y="4818063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/>
              <a:t>Type </a:t>
            </a:r>
            <a:r>
              <a:rPr lang="en-US" altLang="en-US" dirty="0"/>
              <a:t>2.123 S5</a:t>
            </a:r>
            <a:endParaRPr lang="en-US" dirty="0"/>
          </a:p>
        </p:txBody>
      </p:sp>
      <p:sp>
        <p:nvSpPr>
          <p:cNvPr id="71" name="text">
            <a:extLst>
              <a:ext uri="{FF2B5EF4-FFF2-40B4-BE49-F238E27FC236}">
                <a16:creationId xmlns:a16="http://schemas.microsoft.com/office/drawing/2014/main" id="{AFB7A1B5-E46A-89A1-397B-8FCD3E94BCC5}"/>
              </a:ext>
            </a:extLst>
          </p:cNvPr>
          <p:cNvSpPr>
            <a:spLocks noGrp="1"/>
          </p:cNvSpPr>
          <p:nvPr>
            <p:custDataLst>
              <p:tags r:id="rId164"/>
            </p:custDataLst>
          </p:nvPr>
        </p:nvSpPr>
        <p:spPr bwMode="auto">
          <a:xfrm>
            <a:off x="10460038" y="2079625"/>
            <a:ext cx="8874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BCA7072-2ED5-4C4C-B531-C859FFC5020F}" type="datetime'R''''''''esp''o''''n''s''i''''''b''''''''l''''''e'''''">
              <a:rPr lang="en-US" altLang="en-US" b="1" smtClean="0">
                <a:effectLst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Responsible</a:t>
            </a:fld>
            <a:endParaRPr lang="en-US" b="1" dirty="0"/>
          </a:p>
        </p:txBody>
      </p:sp>
      <p:sp>
        <p:nvSpPr>
          <p:cNvPr id="82" name="text">
            <a:extLst>
              <a:ext uri="{FF2B5EF4-FFF2-40B4-BE49-F238E27FC236}">
                <a16:creationId xmlns:a16="http://schemas.microsoft.com/office/drawing/2014/main" id="{D85F09EF-38BF-24BD-6094-38F8E2852B94}"/>
              </a:ext>
            </a:extLst>
          </p:cNvPr>
          <p:cNvSpPr>
            <a:spLocks noGrp="1"/>
          </p:cNvSpPr>
          <p:nvPr>
            <p:custDataLst>
              <p:tags r:id="rId165"/>
            </p:custDataLst>
          </p:nvPr>
        </p:nvSpPr>
        <p:spPr bwMode="auto">
          <a:xfrm>
            <a:off x="10460038" y="4546600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Straight</a:t>
            </a:r>
          </a:p>
        </p:txBody>
      </p:sp>
      <p:sp>
        <p:nvSpPr>
          <p:cNvPr id="67" name="text">
            <a:extLst>
              <a:ext uri="{FF2B5EF4-FFF2-40B4-BE49-F238E27FC236}">
                <a16:creationId xmlns:a16="http://schemas.microsoft.com/office/drawing/2014/main" id="{8202CC5F-4F06-8F2F-5D19-875A420514A4}"/>
              </a:ext>
            </a:extLst>
          </p:cNvPr>
          <p:cNvSpPr>
            <a:spLocks noGrp="1"/>
          </p:cNvSpPr>
          <p:nvPr>
            <p:custDataLst>
              <p:tags r:id="rId166"/>
            </p:custDataLst>
          </p:nvPr>
        </p:nvSpPr>
        <p:spPr bwMode="auto">
          <a:xfrm>
            <a:off x="596900" y="4546600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Type 2.123 S1</a:t>
            </a:r>
            <a:endParaRPr lang="en-US" dirty="0"/>
          </a:p>
        </p:txBody>
      </p:sp>
      <p:sp>
        <p:nvSpPr>
          <p:cNvPr id="84" name="text">
            <a:extLst>
              <a:ext uri="{FF2B5EF4-FFF2-40B4-BE49-F238E27FC236}">
                <a16:creationId xmlns:a16="http://schemas.microsoft.com/office/drawing/2014/main" id="{D1C53FA1-DE4F-343A-A5E1-7550E927A398}"/>
              </a:ext>
            </a:extLst>
          </p:cNvPr>
          <p:cNvSpPr>
            <a:spLocks noGrp="1"/>
          </p:cNvSpPr>
          <p:nvPr>
            <p:custDataLst>
              <p:tags r:id="rId167"/>
            </p:custDataLst>
          </p:nvPr>
        </p:nvSpPr>
        <p:spPr bwMode="auto">
          <a:xfrm>
            <a:off x="596900" y="3735388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Type 2.123 S3</a:t>
            </a:r>
            <a:endParaRPr lang="en-US" dirty="0"/>
          </a:p>
        </p:txBody>
      </p:sp>
      <p:sp>
        <p:nvSpPr>
          <p:cNvPr id="98" name="text">
            <a:extLst>
              <a:ext uri="{FF2B5EF4-FFF2-40B4-BE49-F238E27FC236}">
                <a16:creationId xmlns:a16="http://schemas.microsoft.com/office/drawing/2014/main" id="{3C82213B-4153-E05C-744D-8760AA2DFF45}"/>
              </a:ext>
            </a:extLst>
          </p:cNvPr>
          <p:cNvSpPr>
            <a:spLocks noGrp="1"/>
          </p:cNvSpPr>
          <p:nvPr>
            <p:custDataLst>
              <p:tags r:id="rId168"/>
            </p:custDataLst>
          </p:nvPr>
        </p:nvSpPr>
        <p:spPr bwMode="auto">
          <a:xfrm>
            <a:off x="10460038" y="3735388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</a:p>
        </p:txBody>
      </p:sp>
      <p:sp>
        <p:nvSpPr>
          <p:cNvPr id="80" name="text">
            <a:extLst>
              <a:ext uri="{FF2B5EF4-FFF2-40B4-BE49-F238E27FC236}">
                <a16:creationId xmlns:a16="http://schemas.microsoft.com/office/drawing/2014/main" id="{6CD8B4BA-3473-1258-CB38-0195BA6B1FEE}"/>
              </a:ext>
            </a:extLst>
          </p:cNvPr>
          <p:cNvSpPr>
            <a:spLocks noGrp="1"/>
          </p:cNvSpPr>
          <p:nvPr>
            <p:custDataLst>
              <p:tags r:id="rId169"/>
            </p:custDataLst>
          </p:nvPr>
        </p:nvSpPr>
        <p:spPr bwMode="auto">
          <a:xfrm>
            <a:off x="10460038" y="3165475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Curve</a:t>
            </a:r>
            <a:endParaRPr lang="en-US" dirty="0"/>
          </a:p>
        </p:txBody>
      </p:sp>
      <p:sp>
        <p:nvSpPr>
          <p:cNvPr id="14" name="text">
            <a:extLst>
              <a:ext uri="{FF2B5EF4-FFF2-40B4-BE49-F238E27FC236}">
                <a16:creationId xmlns:a16="http://schemas.microsoft.com/office/drawing/2014/main" id="{1D5214B1-72D4-39A9-066B-0D3956BEB20E}"/>
              </a:ext>
            </a:extLst>
          </p:cNvPr>
          <p:cNvSpPr>
            <a:spLocks noGrp="1"/>
          </p:cNvSpPr>
          <p:nvPr>
            <p:custDataLst>
              <p:tags r:id="rId170"/>
            </p:custDataLst>
          </p:nvPr>
        </p:nvSpPr>
        <p:spPr bwMode="auto">
          <a:xfrm>
            <a:off x="596900" y="2079625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DEC0F1C-E2C4-47F0-806C-88D7F6BAC7C9}" type="datetime'''''''A''''''''''c''t''i''''''''v''''ity'''''''''''''''''">
              <a:rPr lang="en-US" altLang="en-US" b="1" smtClean="0">
                <a:effectLst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lang="en-US" b="1" dirty="0"/>
          </a:p>
        </p:txBody>
      </p:sp>
      <p:sp>
        <p:nvSpPr>
          <p:cNvPr id="78" name="text">
            <a:extLst>
              <a:ext uri="{FF2B5EF4-FFF2-40B4-BE49-F238E27FC236}">
                <a16:creationId xmlns:a16="http://schemas.microsoft.com/office/drawing/2014/main" id="{C9A3D1CE-62FD-3893-A435-843A67B57B20}"/>
              </a:ext>
            </a:extLst>
          </p:cNvPr>
          <p:cNvSpPr>
            <a:spLocks noGrp="1"/>
          </p:cNvSpPr>
          <p:nvPr>
            <p:custDataLst>
              <p:tags r:id="rId171"/>
            </p:custDataLst>
          </p:nvPr>
        </p:nvSpPr>
        <p:spPr bwMode="auto">
          <a:xfrm>
            <a:off x="10460038" y="2894013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Curve</a:t>
            </a:r>
            <a:endParaRPr lang="en-US" dirty="0"/>
          </a:p>
        </p:txBody>
      </p:sp>
      <p:sp>
        <p:nvSpPr>
          <p:cNvPr id="12" name="text">
            <a:extLst>
              <a:ext uri="{FF2B5EF4-FFF2-40B4-BE49-F238E27FC236}">
                <a16:creationId xmlns:a16="http://schemas.microsoft.com/office/drawing/2014/main" id="{973CD391-6269-BA44-938B-6BECF0F2FE86}"/>
              </a:ext>
            </a:extLst>
          </p:cNvPr>
          <p:cNvSpPr>
            <a:spLocks noGrp="1"/>
          </p:cNvSpPr>
          <p:nvPr>
            <p:custDataLst>
              <p:tags r:id="rId172"/>
            </p:custDataLst>
          </p:nvPr>
        </p:nvSpPr>
        <p:spPr bwMode="auto">
          <a:xfrm>
            <a:off x="596900" y="4005263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/>
              <a:t>Type </a:t>
            </a:r>
            <a:r>
              <a:rPr lang="en-US" altLang="en-US" dirty="0"/>
              <a:t>2.123 S4</a:t>
            </a:r>
            <a:endParaRPr lang="en-US" dirty="0"/>
          </a:p>
        </p:txBody>
      </p:sp>
      <p:sp>
        <p:nvSpPr>
          <p:cNvPr id="104" name="text">
            <a:extLst>
              <a:ext uri="{FF2B5EF4-FFF2-40B4-BE49-F238E27FC236}">
                <a16:creationId xmlns:a16="http://schemas.microsoft.com/office/drawing/2014/main" id="{07687737-0CE9-C4F1-FCD9-B9F589A0ACDB}"/>
              </a:ext>
            </a:extLst>
          </p:cNvPr>
          <p:cNvSpPr>
            <a:spLocks noGrp="1"/>
          </p:cNvSpPr>
          <p:nvPr>
            <p:custDataLst>
              <p:tags r:id="rId173"/>
            </p:custDataLst>
          </p:nvPr>
        </p:nvSpPr>
        <p:spPr bwMode="auto">
          <a:xfrm>
            <a:off x="10460038" y="5387975"/>
            <a:ext cx="11318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 / Curve</a:t>
            </a:r>
          </a:p>
        </p:txBody>
      </p:sp>
      <p:sp>
        <p:nvSpPr>
          <p:cNvPr id="94" name="text">
            <a:extLst>
              <a:ext uri="{FF2B5EF4-FFF2-40B4-BE49-F238E27FC236}">
                <a16:creationId xmlns:a16="http://schemas.microsoft.com/office/drawing/2014/main" id="{86A34924-2136-0205-4A61-4CED52CF7A6F}"/>
              </a:ext>
            </a:extLst>
          </p:cNvPr>
          <p:cNvSpPr>
            <a:spLocks noGrp="1"/>
          </p:cNvSpPr>
          <p:nvPr>
            <p:custDataLst>
              <p:tags r:id="rId174"/>
            </p:custDataLst>
          </p:nvPr>
        </p:nvSpPr>
        <p:spPr bwMode="auto">
          <a:xfrm>
            <a:off x="10460038" y="4005263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  <a:endParaRPr lang="en-US" dirty="0"/>
          </a:p>
        </p:txBody>
      </p:sp>
      <p:sp>
        <p:nvSpPr>
          <p:cNvPr id="11" name="text">
            <a:extLst>
              <a:ext uri="{FF2B5EF4-FFF2-40B4-BE49-F238E27FC236}">
                <a16:creationId xmlns:a16="http://schemas.microsoft.com/office/drawing/2014/main" id="{F563F81B-4057-A738-FF96-0F406074B680}"/>
              </a:ext>
            </a:extLst>
          </p:cNvPr>
          <p:cNvSpPr>
            <a:spLocks noGrp="1"/>
          </p:cNvSpPr>
          <p:nvPr>
            <p:custDataLst>
              <p:tags r:id="rId175"/>
            </p:custDataLst>
          </p:nvPr>
        </p:nvSpPr>
        <p:spPr bwMode="auto">
          <a:xfrm>
            <a:off x="596900" y="3165475"/>
            <a:ext cx="1171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effectLst/>
              </a:rPr>
              <a:t>Type 2.8C B1-B6</a:t>
            </a:r>
            <a:endParaRPr lang="en-US" dirty="0"/>
          </a:p>
        </p:txBody>
      </p:sp>
      <p:sp>
        <p:nvSpPr>
          <p:cNvPr id="90" name="text">
            <a:extLst>
              <a:ext uri="{FF2B5EF4-FFF2-40B4-BE49-F238E27FC236}">
                <a16:creationId xmlns:a16="http://schemas.microsoft.com/office/drawing/2014/main" id="{1BA18F48-606D-AD6B-1BC5-DAC365D5547B}"/>
              </a:ext>
            </a:extLst>
          </p:cNvPr>
          <p:cNvSpPr>
            <a:spLocks noGrp="1"/>
          </p:cNvSpPr>
          <p:nvPr>
            <p:custDataLst>
              <p:tags r:id="rId176"/>
            </p:custDataLst>
          </p:nvPr>
        </p:nvSpPr>
        <p:spPr bwMode="auto">
          <a:xfrm>
            <a:off x="596900" y="5387975"/>
            <a:ext cx="14144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/>
              <a:t>Type </a:t>
            </a:r>
            <a:r>
              <a:rPr lang="en-US" altLang="en-US" dirty="0"/>
              <a:t>1.E / 2.4 S1-S6</a:t>
            </a:r>
            <a:endParaRPr lang="en-US" dirty="0"/>
          </a:p>
        </p:txBody>
      </p:sp>
      <p:sp>
        <p:nvSpPr>
          <p:cNvPr id="8" name="text">
            <a:extLst>
              <a:ext uri="{FF2B5EF4-FFF2-40B4-BE49-F238E27FC236}">
                <a16:creationId xmlns:a16="http://schemas.microsoft.com/office/drawing/2014/main" id="{E2AC43A6-87D6-DC5C-6FFC-741B0147AE6C}"/>
              </a:ext>
            </a:extLst>
          </p:cNvPr>
          <p:cNvSpPr>
            <a:spLocks noGrp="1"/>
          </p:cNvSpPr>
          <p:nvPr>
            <p:custDataLst>
              <p:tags r:id="rId177"/>
            </p:custDataLst>
          </p:nvPr>
        </p:nvSpPr>
        <p:spPr bwMode="auto">
          <a:xfrm>
            <a:off x="596900" y="2624138"/>
            <a:ext cx="11731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effectLst/>
              </a:rPr>
              <a:t>Type 1.7B B1-B6</a:t>
            </a:r>
            <a:endParaRPr lang="en-US" dirty="0"/>
          </a:p>
        </p:txBody>
      </p:sp>
      <p:sp>
        <p:nvSpPr>
          <p:cNvPr id="13" name="text">
            <a:extLst>
              <a:ext uri="{FF2B5EF4-FFF2-40B4-BE49-F238E27FC236}">
                <a16:creationId xmlns:a16="http://schemas.microsoft.com/office/drawing/2014/main" id="{C36E69CF-C167-7F83-B064-7C44F7AC0077}"/>
              </a:ext>
            </a:extLst>
          </p:cNvPr>
          <p:cNvSpPr>
            <a:spLocks noGrp="1"/>
          </p:cNvSpPr>
          <p:nvPr>
            <p:custDataLst>
              <p:tags r:id="rId178"/>
            </p:custDataLst>
          </p:nvPr>
        </p:nvSpPr>
        <p:spPr bwMode="auto">
          <a:xfrm>
            <a:off x="596900" y="4276725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Type 2.123 S6</a:t>
            </a:r>
            <a:endParaRPr lang="en-US" dirty="0"/>
          </a:p>
        </p:txBody>
      </p:sp>
      <p:sp>
        <p:nvSpPr>
          <p:cNvPr id="76" name="text">
            <a:extLst>
              <a:ext uri="{FF2B5EF4-FFF2-40B4-BE49-F238E27FC236}">
                <a16:creationId xmlns:a16="http://schemas.microsoft.com/office/drawing/2014/main" id="{45545D2A-74F8-03BB-4AF5-C56582A683DF}"/>
              </a:ext>
            </a:extLst>
          </p:cNvPr>
          <p:cNvSpPr>
            <a:spLocks noGrp="1"/>
          </p:cNvSpPr>
          <p:nvPr>
            <p:custDataLst>
              <p:tags r:id="rId179"/>
            </p:custDataLst>
          </p:nvPr>
        </p:nvSpPr>
        <p:spPr bwMode="auto">
          <a:xfrm>
            <a:off x="10460038" y="2624138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Curve</a:t>
            </a:r>
            <a:endParaRPr lang="en-US" dirty="0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03E93DDD-E7C9-A26A-5149-34990053D2F4}"/>
              </a:ext>
            </a:extLst>
          </p:cNvPr>
          <p:cNvSpPr/>
          <p:nvPr/>
        </p:nvSpPr>
        <p:spPr>
          <a:xfrm>
            <a:off x="5471541" y="4218639"/>
            <a:ext cx="480567" cy="32954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5601E796-5E58-C9F3-51B0-C620F955B12C}"/>
              </a:ext>
            </a:extLst>
          </p:cNvPr>
          <p:cNvSpPr/>
          <p:nvPr/>
        </p:nvSpPr>
        <p:spPr>
          <a:xfrm>
            <a:off x="7806754" y="5314013"/>
            <a:ext cx="480567" cy="32954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30" name="Ellipse 429">
            <a:extLst>
              <a:ext uri="{FF2B5EF4-FFF2-40B4-BE49-F238E27FC236}">
                <a16:creationId xmlns:a16="http://schemas.microsoft.com/office/drawing/2014/main" id="{65F82302-173A-EFFB-EE15-E3BE5252CE69}"/>
              </a:ext>
            </a:extLst>
          </p:cNvPr>
          <p:cNvSpPr/>
          <p:nvPr/>
        </p:nvSpPr>
        <p:spPr>
          <a:xfrm>
            <a:off x="3136329" y="2833745"/>
            <a:ext cx="480567" cy="32954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31" name="Textfeld 430">
            <a:extLst>
              <a:ext uri="{FF2B5EF4-FFF2-40B4-BE49-F238E27FC236}">
                <a16:creationId xmlns:a16="http://schemas.microsoft.com/office/drawing/2014/main" id="{FB3644AE-690A-D3CD-2ACC-BE4308C041F1}"/>
              </a:ext>
            </a:extLst>
          </p:cNvPr>
          <p:cNvSpPr txBox="1"/>
          <p:nvPr/>
        </p:nvSpPr>
        <p:spPr>
          <a:xfrm>
            <a:off x="6881814" y="2597813"/>
            <a:ext cx="3286304" cy="1570549"/>
          </a:xfrm>
          <a:prstGeom prst="rect">
            <a:avLst/>
          </a:prstGeom>
          <a:solidFill>
            <a:schemeClr val="bg1">
              <a:lumMod val="85000"/>
              <a:alpha val="25000"/>
            </a:schemeClr>
          </a:solidFill>
          <a:ln w="19050">
            <a:solidFill>
              <a:srgbClr val="FF0000"/>
            </a:solidFill>
          </a:ln>
        </p:spPr>
        <p:txBody>
          <a:bodyPr wrap="square" lIns="36000" tIns="36000" rIns="36000" bIns="36000" rtlCol="0">
            <a:spAutoFit/>
          </a:bodyPr>
          <a:lstStyle/>
          <a:p>
            <a:pPr algn="l">
              <a:spcBef>
                <a:spcPts val="400"/>
              </a:spcBef>
              <a:spcAft>
                <a:spcPts val="400"/>
              </a:spcAft>
            </a:pPr>
            <a:r>
              <a:rPr lang="en-US" sz="1400" dirty="0">
                <a:solidFill>
                  <a:schemeClr val="tx1"/>
                </a:solidFill>
                <a:latin typeface="+mn-lt"/>
              </a:rPr>
              <a:t>Recommendation:</a:t>
            </a:r>
          </a:p>
          <a:p>
            <a:pPr algn="l">
              <a:spcBef>
                <a:spcPts val="400"/>
              </a:spcBef>
              <a:spcAft>
                <a:spcPts val="400"/>
              </a:spcAft>
            </a:pPr>
            <a:r>
              <a:rPr lang="en-US" sz="1400" dirty="0"/>
              <a:t>Add 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3 weeks of non-working time at the turn of the year in pre-assembly (A10-P) and the M10-P Milestones for the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quadru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-poles.</a:t>
            </a:r>
          </a:p>
          <a:p>
            <a:pPr algn="l">
              <a:spcBef>
                <a:spcPts val="400"/>
              </a:spcBef>
              <a:spcAft>
                <a:spcPts val="400"/>
              </a:spcAft>
            </a:pPr>
            <a:r>
              <a:rPr lang="en-US" sz="1400" dirty="0">
                <a:solidFill>
                  <a:schemeClr val="tx1"/>
                </a:solidFill>
                <a:latin typeface="+mn-lt"/>
              </a:rPr>
              <a:t>All following M10-</a:t>
            </a:r>
            <a:r>
              <a:rPr lang="en-US" sz="1400" dirty="0"/>
              <a:t>P Milestones are affected by that.</a:t>
            </a:r>
            <a:endParaRPr lang="en-US" sz="1400" dirty="0">
              <a:solidFill>
                <a:schemeClr val="tx1"/>
              </a:solidFill>
              <a:latin typeface="+mn-lt"/>
            </a:endParaRPr>
          </a:p>
        </p:txBody>
      </p:sp>
      <p:cxnSp>
        <p:nvCxnSpPr>
          <p:cNvPr id="433" name="Verbinder: gekrümmt 432">
            <a:extLst>
              <a:ext uri="{FF2B5EF4-FFF2-40B4-BE49-F238E27FC236}">
                <a16:creationId xmlns:a16="http://schemas.microsoft.com/office/drawing/2014/main" id="{98EAC60D-300C-71F8-4F48-6A8CF11D8EBC}"/>
              </a:ext>
            </a:extLst>
          </p:cNvPr>
          <p:cNvCxnSpPr>
            <a:cxnSpLocks/>
            <a:stCxn id="431" idx="1"/>
            <a:endCxn id="20" idx="0"/>
          </p:cNvCxnSpPr>
          <p:nvPr/>
        </p:nvCxnSpPr>
        <p:spPr>
          <a:xfrm rot="10800000" flipH="1" flipV="1">
            <a:off x="6881814" y="3383087"/>
            <a:ext cx="1165224" cy="1930925"/>
          </a:xfrm>
          <a:prstGeom prst="curvedConnector4">
            <a:avLst>
              <a:gd name="adj1" fmla="val -19619"/>
              <a:gd name="adj2" fmla="val 70334"/>
            </a:avLst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4" name="Verbinder: gekrümmt 433">
            <a:extLst>
              <a:ext uri="{FF2B5EF4-FFF2-40B4-BE49-F238E27FC236}">
                <a16:creationId xmlns:a16="http://schemas.microsoft.com/office/drawing/2014/main" id="{477D4302-4741-D4D2-6717-819FBA6A3381}"/>
              </a:ext>
            </a:extLst>
          </p:cNvPr>
          <p:cNvCxnSpPr>
            <a:cxnSpLocks/>
            <a:stCxn id="431" idx="1"/>
            <a:endCxn id="7" idx="0"/>
          </p:cNvCxnSpPr>
          <p:nvPr/>
        </p:nvCxnSpPr>
        <p:spPr>
          <a:xfrm rot="10800000" flipV="1">
            <a:off x="5711826" y="3383087"/>
            <a:ext cx="1169989" cy="835551"/>
          </a:xfrm>
          <a:prstGeom prst="curvedConnector2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5" name="Verbinder: gekrümmt 434">
            <a:extLst>
              <a:ext uri="{FF2B5EF4-FFF2-40B4-BE49-F238E27FC236}">
                <a16:creationId xmlns:a16="http://schemas.microsoft.com/office/drawing/2014/main" id="{AFA5EB21-E92E-97F7-B14D-EC9455FE5C7C}"/>
              </a:ext>
            </a:extLst>
          </p:cNvPr>
          <p:cNvCxnSpPr>
            <a:cxnSpLocks/>
            <a:stCxn id="431" idx="1"/>
            <a:endCxn id="430" idx="5"/>
          </p:cNvCxnSpPr>
          <p:nvPr/>
        </p:nvCxnSpPr>
        <p:spPr>
          <a:xfrm rot="10800000">
            <a:off x="3546520" y="3115034"/>
            <a:ext cx="3335295" cy="268055"/>
          </a:xfrm>
          <a:prstGeom prst="curvedConnector2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5591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BE8B69-B831-4E6F-6111-C056C8A50A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" name="think-cell data - do not delete" hidden="1">
            <a:extLst>
              <a:ext uri="{FF2B5EF4-FFF2-40B4-BE49-F238E27FC236}">
                <a16:creationId xmlns:a16="http://schemas.microsoft.com/office/drawing/2014/main" id="{467A5B73-0CCA-BFA6-B288-7F8227BC9B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2" imgW="473" imgH="473" progId="TCLayout.ActiveDocument.1">
                  <p:embed/>
                </p:oleObj>
              </mc:Choice>
              <mc:Fallback>
                <p:oleObj name="think-cell Folie" r:id="rId182" imgW="473" imgH="473" progId="TCLayout.ActiveDocument.1">
                  <p:embed/>
                  <p:pic>
                    <p:nvPicPr>
                      <p:cNvPr id="6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7A5B73-0CCA-BFA6-B288-7F8227BC9B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0713490-89EE-9DE9-5103-F97E80E069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IS100 Workshop – Installation Plan Dipole and quadrupole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567892E-4C8A-F8CD-8EE8-A9B15057276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 dirty="0"/>
              <a:t>Open issues / to clarify (</a:t>
            </a:r>
            <a:r>
              <a:rPr lang="en-US" dirty="0"/>
              <a:t>Section 1 – Type 2.123</a:t>
            </a:r>
            <a:r>
              <a:rPr lang="pt-BR" dirty="0"/>
              <a:t>)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94EE59F-DF92-DB3C-981D-410BFE7574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D92091-5E57-7FC1-9B8D-AF7665DE8D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B37B3A8-5BF1-3791-E39A-8DBDE7C014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9449A-3FF3-45CE-9F4F-09BADC0910C6}" type="slidenum">
              <a:rPr lang="de-DE" noProof="0"/>
              <a:t>16</a:t>
            </a:fld>
            <a:endParaRPr lang="de-DE" noProof="0" dirty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C361318C-1B40-5B0C-2C85-5B34B878EB82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0299700" y="2309812"/>
            <a:ext cx="84138" cy="3333750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5B80021E-6BE9-7378-B297-53DED76DA00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3311525" y="2309812"/>
            <a:ext cx="134938" cy="3333750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B39E320E-E5E5-14CE-E8AD-AD7869D843DB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5640388" y="2309812"/>
            <a:ext cx="134938" cy="3333750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FA0E2B0F-7567-A61E-B4A5-CF9B19BC23FF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969250" y="2309812"/>
            <a:ext cx="134938" cy="3333750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19" name="text">
            <a:extLst>
              <a:ext uri="{FF2B5EF4-FFF2-40B4-BE49-F238E27FC236}">
                <a16:creationId xmlns:a16="http://schemas.microsoft.com/office/drawing/2014/main" id="{5A283A02-A712-9A21-0642-3B142EAF9672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198688" y="1601788"/>
            <a:ext cx="117792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02F4FE3-1A2A-4D1E-B90B-6D4D4AE5980A}" type="datetime'''''''2''''025'''''''''''''''''''''''''''''">
              <a:rPr lang="en-US" altLang="en-US" b="1" smtClean="0"/>
              <a:pPr/>
              <a:t>2025</a:t>
            </a:fld>
            <a:endParaRPr lang="en-US" b="1" dirty="0"/>
          </a:p>
        </p:txBody>
      </p:sp>
      <p:sp>
        <p:nvSpPr>
          <p:cNvPr id="505" name="text">
            <a:extLst>
              <a:ext uri="{FF2B5EF4-FFF2-40B4-BE49-F238E27FC236}">
                <a16:creationId xmlns:a16="http://schemas.microsoft.com/office/drawing/2014/main" id="{973E9BB4-CE65-60F1-6A23-D8ECC6805F9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376613" y="1601788"/>
            <a:ext cx="23352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14216BF-C595-40C5-BE77-C33A25291AE9}" type="datetime'''20''''''''''2''''''''''''''''''''''6'">
              <a:rPr lang="en-US" altLang="en-US" b="1" smtClean="0"/>
              <a:pPr/>
              <a:t>2026</a:t>
            </a:fld>
            <a:endParaRPr lang="en-US" b="1" dirty="0"/>
          </a:p>
        </p:txBody>
      </p:sp>
      <p:sp>
        <p:nvSpPr>
          <p:cNvPr id="544" name="text">
            <a:extLst>
              <a:ext uri="{FF2B5EF4-FFF2-40B4-BE49-F238E27FC236}">
                <a16:creationId xmlns:a16="http://schemas.microsoft.com/office/drawing/2014/main" id="{713FB3AB-ACE9-3D54-62D7-0A6F20FB8CE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711825" y="1601788"/>
            <a:ext cx="23352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F38DC23-C9E9-43FB-A5D4-8322146BEBBB}" type="datetime'''20''''''2''''''''''''''''''''''''''''''''7'''''''''''">
              <a:rPr lang="en-US" altLang="en-US" b="1" smtClean="0"/>
              <a:pPr/>
              <a:t>2027</a:t>
            </a:fld>
            <a:endParaRPr lang="en-US" b="1" dirty="0"/>
          </a:p>
        </p:txBody>
      </p:sp>
      <p:sp>
        <p:nvSpPr>
          <p:cNvPr id="593" name="text">
            <a:extLst>
              <a:ext uri="{FF2B5EF4-FFF2-40B4-BE49-F238E27FC236}">
                <a16:creationId xmlns:a16="http://schemas.microsoft.com/office/drawing/2014/main" id="{F7D50218-BC4D-10B6-B9A0-0C694CB8127B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047038" y="1601788"/>
            <a:ext cx="23415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209150C-C0DE-4561-B062-B29A358BD156}" type="datetime'''''''2''''''0''''''''''2''''''''''''''''''8'''''''''''">
              <a:rPr lang="en-US" altLang="en-US" b="1" smtClean="0"/>
              <a:pPr/>
              <a:t>2028</a:t>
            </a:fld>
            <a:endParaRPr lang="en-US" b="1" dirty="0"/>
          </a:p>
        </p:txBody>
      </p:sp>
      <p:sp>
        <p:nvSpPr>
          <p:cNvPr id="406" name="text">
            <a:extLst>
              <a:ext uri="{FF2B5EF4-FFF2-40B4-BE49-F238E27FC236}">
                <a16:creationId xmlns:a16="http://schemas.microsoft.com/office/drawing/2014/main" id="{A6260A2F-8128-F617-DD54-3DC9E0246DEB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198688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AD80CA9-3A45-47D4-A0F6-4F9DF0A26299}" type="datetime'''Q3'''''''''''''">
              <a:rPr lang="en-US" altLang="en-US" b="1" smtClean="0"/>
              <a:pPr/>
              <a:t>Q3</a:t>
            </a:fld>
            <a:endParaRPr lang="en-US" b="1" dirty="0"/>
          </a:p>
        </p:txBody>
      </p:sp>
      <p:sp>
        <p:nvSpPr>
          <p:cNvPr id="407" name="text">
            <a:extLst>
              <a:ext uri="{FF2B5EF4-FFF2-40B4-BE49-F238E27FC236}">
                <a16:creationId xmlns:a16="http://schemas.microsoft.com/office/drawing/2014/main" id="{075A6290-8400-8B26-F872-D6EF8F7B93D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787650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D73C281-6788-4916-9632-5A2D9D5F72A2}" type="datetime'Q4'''''''''''">
              <a:rPr lang="en-US" altLang="en-US" b="1" smtClean="0"/>
              <a:pPr/>
              <a:t>Q4</a:t>
            </a:fld>
            <a:endParaRPr lang="en-US" b="1" dirty="0"/>
          </a:p>
        </p:txBody>
      </p:sp>
      <p:sp>
        <p:nvSpPr>
          <p:cNvPr id="497" name="text">
            <a:extLst>
              <a:ext uri="{FF2B5EF4-FFF2-40B4-BE49-F238E27FC236}">
                <a16:creationId xmlns:a16="http://schemas.microsoft.com/office/drawing/2014/main" id="{C9791705-5B83-321A-25A9-F3C65787894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376614" y="1862138"/>
            <a:ext cx="57467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75BFCDF-E2A1-431E-8EE0-5000BA81F963}" type="datetime'''''''''''''''''''''''''Q1'''''">
              <a:rPr lang="en-US" altLang="en-US" b="1" smtClean="0"/>
              <a:pPr/>
              <a:t>Q1</a:t>
            </a:fld>
            <a:endParaRPr lang="en-US" b="1" dirty="0"/>
          </a:p>
        </p:txBody>
      </p:sp>
      <p:sp>
        <p:nvSpPr>
          <p:cNvPr id="498" name="text">
            <a:extLst>
              <a:ext uri="{FF2B5EF4-FFF2-40B4-BE49-F238E27FC236}">
                <a16:creationId xmlns:a16="http://schemas.microsoft.com/office/drawing/2014/main" id="{EB87DADD-E354-D72D-21F8-C233B7A0A509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951289" y="1862138"/>
            <a:ext cx="5826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0ADFC55-3886-4F74-8205-E6781F7E51EF}" type="datetime'''''''''''''''''''''''''''''''''''Q''''''''''''''2'''''''">
              <a:rPr lang="en-US" altLang="en-US" b="1" smtClean="0"/>
              <a:pPr/>
              <a:t>Q2</a:t>
            </a:fld>
            <a:endParaRPr lang="en-US" b="1" dirty="0"/>
          </a:p>
        </p:txBody>
      </p:sp>
      <p:sp>
        <p:nvSpPr>
          <p:cNvPr id="499" name="text">
            <a:extLst>
              <a:ext uri="{FF2B5EF4-FFF2-40B4-BE49-F238E27FC236}">
                <a16:creationId xmlns:a16="http://schemas.microsoft.com/office/drawing/2014/main" id="{43B8963F-DC52-CC3A-0507-9F2C6A905AA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533900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A9D8F26-01FA-43D4-BB68-A2C11942FD84}" type="datetime'''Q''''''''''''''''''''''''''''''''''''''''''''''''''''3'''''">
              <a:rPr lang="en-US" altLang="en-US" b="1" smtClean="0"/>
              <a:pPr/>
              <a:t>Q3</a:t>
            </a:fld>
            <a:endParaRPr lang="en-US" b="1" dirty="0"/>
          </a:p>
        </p:txBody>
      </p:sp>
      <p:sp>
        <p:nvSpPr>
          <p:cNvPr id="500" name="text">
            <a:extLst>
              <a:ext uri="{FF2B5EF4-FFF2-40B4-BE49-F238E27FC236}">
                <a16:creationId xmlns:a16="http://schemas.microsoft.com/office/drawing/2014/main" id="{A97253B4-5FE9-218B-786E-7465AAEF68E1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122863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1FC14B9-B0F7-49A3-B82F-6545FBC37EDC}" type="datetime'''''''''''Q''''''''''''''''''''''4'''''''">
              <a:rPr lang="en-US" altLang="en-US" b="1" smtClean="0"/>
              <a:pPr/>
              <a:t>Q4</a:t>
            </a:fld>
            <a:endParaRPr lang="en-US" b="1" dirty="0"/>
          </a:p>
        </p:txBody>
      </p:sp>
      <p:sp>
        <p:nvSpPr>
          <p:cNvPr id="540" name="text">
            <a:extLst>
              <a:ext uri="{FF2B5EF4-FFF2-40B4-BE49-F238E27FC236}">
                <a16:creationId xmlns:a16="http://schemas.microsoft.com/office/drawing/2014/main" id="{25B11581-307A-60C5-A936-EFEF86A0A91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711826" y="1862138"/>
            <a:ext cx="57467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F913DF8-AF63-4911-9044-347BED8B935B}" type="datetime'''Q''''''''''''''''''''''''''''1'''''''''''">
              <a:rPr lang="en-US" altLang="en-US" b="1" smtClean="0"/>
              <a:pPr/>
              <a:t>Q1</a:t>
            </a:fld>
            <a:endParaRPr lang="en-US" b="1" dirty="0"/>
          </a:p>
        </p:txBody>
      </p:sp>
      <p:sp>
        <p:nvSpPr>
          <p:cNvPr id="541" name="text">
            <a:extLst>
              <a:ext uri="{FF2B5EF4-FFF2-40B4-BE49-F238E27FC236}">
                <a16:creationId xmlns:a16="http://schemas.microsoft.com/office/drawing/2014/main" id="{8437046F-4A8D-C36A-0DBB-F9A5575AA6A3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286501" y="1862138"/>
            <a:ext cx="5826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23BB49B-F987-4D5E-B1FB-A45DC4DC2BAE}" type="datetime'''''''''''''''Q''''''''''''''''''''''2'''''''''''''''''''''">
              <a:rPr lang="en-US" altLang="en-US" b="1" smtClean="0"/>
              <a:pPr/>
              <a:t>Q2</a:t>
            </a:fld>
            <a:endParaRPr lang="en-US" b="1" dirty="0"/>
          </a:p>
        </p:txBody>
      </p:sp>
      <p:sp>
        <p:nvSpPr>
          <p:cNvPr id="542" name="text">
            <a:extLst>
              <a:ext uri="{FF2B5EF4-FFF2-40B4-BE49-F238E27FC236}">
                <a16:creationId xmlns:a16="http://schemas.microsoft.com/office/drawing/2014/main" id="{2710A4C2-A433-2688-BC41-2188CC597616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869113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4AF189E-61C0-4071-BABB-68D2781C0521}" type="datetime'''''''''''''Q3'">
              <a:rPr lang="en-US" altLang="en-US" b="1" smtClean="0"/>
              <a:pPr/>
              <a:t>Q3</a:t>
            </a:fld>
            <a:endParaRPr lang="en-US" b="1" dirty="0"/>
          </a:p>
        </p:txBody>
      </p:sp>
      <p:sp>
        <p:nvSpPr>
          <p:cNvPr id="543" name="text">
            <a:extLst>
              <a:ext uri="{FF2B5EF4-FFF2-40B4-BE49-F238E27FC236}">
                <a16:creationId xmlns:a16="http://schemas.microsoft.com/office/drawing/2014/main" id="{310C04DC-0522-98B3-B1EB-5782CDE634E0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458075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C44E379-C25F-4312-88C0-9E59046226C3}" type="datetime'''Q''''''''''''''''''''''4'''''''''''''''''''''">
              <a:rPr lang="en-US" altLang="en-US" b="1" smtClean="0"/>
              <a:pPr/>
              <a:t>Q4</a:t>
            </a:fld>
            <a:endParaRPr lang="en-US" b="1" dirty="0"/>
          </a:p>
        </p:txBody>
      </p:sp>
      <p:sp>
        <p:nvSpPr>
          <p:cNvPr id="589" name="text">
            <a:extLst>
              <a:ext uri="{FF2B5EF4-FFF2-40B4-BE49-F238E27FC236}">
                <a16:creationId xmlns:a16="http://schemas.microsoft.com/office/drawing/2014/main" id="{F58541B2-57CA-A0AA-4295-E398AFB35D46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8047039" y="1862138"/>
            <a:ext cx="5826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EA13AA6-F14D-4345-812D-CE7997E98106}" type="datetime'''''''''''''''''''''''''''Q''''''''''''''''1'''''">
              <a:rPr lang="en-US" altLang="en-US" b="1" smtClean="0"/>
              <a:pPr/>
              <a:t>Q1</a:t>
            </a:fld>
            <a:endParaRPr lang="en-US" b="1" dirty="0"/>
          </a:p>
        </p:txBody>
      </p:sp>
      <p:sp>
        <p:nvSpPr>
          <p:cNvPr id="590" name="text">
            <a:extLst>
              <a:ext uri="{FF2B5EF4-FFF2-40B4-BE49-F238E27FC236}">
                <a16:creationId xmlns:a16="http://schemas.microsoft.com/office/drawing/2014/main" id="{323D0EF8-35E3-393A-ED00-D456FEA79CAB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8629650" y="1862138"/>
            <a:ext cx="58102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C34017C-3044-42FD-BBEF-73F3DB32D6E7}" type="datetime'''''''''''Q''''''''''''''''''''''''''''''2'''">
              <a:rPr lang="en-US" altLang="en-US" b="1" smtClean="0"/>
              <a:pPr/>
              <a:t>Q2</a:t>
            </a:fld>
            <a:endParaRPr lang="en-US" b="1" dirty="0"/>
          </a:p>
        </p:txBody>
      </p:sp>
      <p:sp>
        <p:nvSpPr>
          <p:cNvPr id="591" name="text">
            <a:extLst>
              <a:ext uri="{FF2B5EF4-FFF2-40B4-BE49-F238E27FC236}">
                <a16:creationId xmlns:a16="http://schemas.microsoft.com/office/drawing/2014/main" id="{E742F344-5E49-9A7C-8333-ABED500FB5E0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9210676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426FF7B-0F60-4923-8BFC-AEE974644245}" type="datetime'''''''''''''''''''''''''''''''''''''''''''Q''''''3'''">
              <a:rPr lang="en-US" altLang="en-US" b="1" smtClean="0"/>
              <a:pPr/>
              <a:t>Q3</a:t>
            </a:fld>
            <a:endParaRPr lang="en-US" b="1" dirty="0"/>
          </a:p>
        </p:txBody>
      </p:sp>
      <p:sp>
        <p:nvSpPr>
          <p:cNvPr id="592" name="text">
            <a:extLst>
              <a:ext uri="{FF2B5EF4-FFF2-40B4-BE49-F238E27FC236}">
                <a16:creationId xmlns:a16="http://schemas.microsoft.com/office/drawing/2014/main" id="{45BF8639-DB7D-51E3-98B0-B3478348A3F8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9799638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FAB18D2-2786-4855-A580-645F2425FCE6}" type="datetime'''''''Q''''''''''''''''''''''''4'''''''''''''''''">
              <a:rPr lang="en-US" altLang="en-US" b="1" smtClean="0"/>
              <a:pPr/>
              <a:t>Q4</a:t>
            </a:fld>
            <a:endParaRPr lang="en-US" b="1" dirty="0"/>
          </a:p>
        </p:txBody>
      </p:sp>
      <p:sp>
        <p:nvSpPr>
          <p:cNvPr id="52" name="text">
            <a:extLst>
              <a:ext uri="{FF2B5EF4-FFF2-40B4-BE49-F238E27FC236}">
                <a16:creationId xmlns:a16="http://schemas.microsoft.com/office/drawing/2014/main" id="{0B542F59-6B3F-2075-8B44-440EA47C0014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2198688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6227835-67C0-4A02-912A-6D08E049CB27}" type="datetime'''''''''''''''''''''''''''''''''''''''''''''''''7'''''''''''''">
              <a:rPr lang="en-US" altLang="en-US" sz="1000" smtClean="0"/>
              <a:pPr/>
              <a:t>7</a:t>
            </a:fld>
            <a:endParaRPr lang="en-US" sz="1000" dirty="0"/>
          </a:p>
        </p:txBody>
      </p:sp>
      <p:sp>
        <p:nvSpPr>
          <p:cNvPr id="54" name="text">
            <a:extLst>
              <a:ext uri="{FF2B5EF4-FFF2-40B4-BE49-F238E27FC236}">
                <a16:creationId xmlns:a16="http://schemas.microsoft.com/office/drawing/2014/main" id="{1CF81BC0-037F-0BF7-6245-A0904A0E92F6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397125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1088191-E52A-442D-B344-7DF4E5447A3F}" type="datetime'''''''''''8'">
              <a:rPr lang="en-US" altLang="en-US" sz="1000" smtClean="0"/>
              <a:pPr/>
              <a:t>8</a:t>
            </a:fld>
            <a:endParaRPr lang="en-US" sz="1000" dirty="0"/>
          </a:p>
        </p:txBody>
      </p:sp>
      <p:sp>
        <p:nvSpPr>
          <p:cNvPr id="38" name="text">
            <a:extLst>
              <a:ext uri="{FF2B5EF4-FFF2-40B4-BE49-F238E27FC236}">
                <a16:creationId xmlns:a16="http://schemas.microsoft.com/office/drawing/2014/main" id="{6540D3D5-20DD-58E6-F9C3-47165BC537A1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595563" y="2122489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941CB51-7924-4FED-B609-7CAA243ED190}" type="datetime'''''''''''''''''''''''''''''''''''''''''''''''''9'''''">
              <a:rPr lang="en-US" altLang="en-US" sz="1000" smtClean="0"/>
              <a:pPr/>
              <a:t>9</a:t>
            </a:fld>
            <a:endParaRPr lang="en-US" sz="1000" dirty="0"/>
          </a:p>
        </p:txBody>
      </p:sp>
      <p:sp>
        <p:nvSpPr>
          <p:cNvPr id="39" name="text">
            <a:extLst>
              <a:ext uri="{FF2B5EF4-FFF2-40B4-BE49-F238E27FC236}">
                <a16:creationId xmlns:a16="http://schemas.microsoft.com/office/drawing/2014/main" id="{7BDE5C83-212F-A90C-787B-D71E6D03FB72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787650" y="2122489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80038D6-A1D4-4852-A2D8-3C728E888BA2}" type="datetime'''''''''''''''''''''''''''''''''''''''''''''''''10'''''">
              <a:rPr lang="en-US" altLang="en-US" sz="1000" smtClean="0"/>
              <a:pPr/>
              <a:t>10</a:t>
            </a:fld>
            <a:endParaRPr lang="en-US" sz="1000" dirty="0"/>
          </a:p>
        </p:txBody>
      </p:sp>
      <p:sp>
        <p:nvSpPr>
          <p:cNvPr id="40" name="text">
            <a:extLst>
              <a:ext uri="{FF2B5EF4-FFF2-40B4-BE49-F238E27FC236}">
                <a16:creationId xmlns:a16="http://schemas.microsoft.com/office/drawing/2014/main" id="{A8E47AD0-54C4-806B-023A-8924B0702B7C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2986088" y="2122489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45B2CB4-4108-4D87-AF1D-C80954AAC9D4}" type="datetime'''''''''''''''''''1''''''''''''''''''1'''''''''''''''''''">
              <a:rPr lang="en-US" altLang="en-US" sz="1000" smtClean="0"/>
              <a:pPr/>
              <a:t>11</a:t>
            </a:fld>
            <a:endParaRPr lang="en-US" sz="1000" dirty="0"/>
          </a:p>
        </p:txBody>
      </p:sp>
      <p:sp>
        <p:nvSpPr>
          <p:cNvPr id="469" name="text">
            <a:extLst>
              <a:ext uri="{FF2B5EF4-FFF2-40B4-BE49-F238E27FC236}">
                <a16:creationId xmlns:a16="http://schemas.microsoft.com/office/drawing/2014/main" id="{3292949A-E3F4-0B83-A595-E8AB7D4DB760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3178175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261B0F0-1350-45E5-817C-E87B899581AF}" type="datetime'''''''''''''''''''''1''''''''''2'''''''''''''">
              <a:rPr lang="en-US" altLang="en-US" sz="1000" smtClean="0"/>
              <a:pPr/>
              <a:t>12</a:t>
            </a:fld>
            <a:endParaRPr lang="en-US" sz="1000" dirty="0"/>
          </a:p>
        </p:txBody>
      </p:sp>
      <p:sp>
        <p:nvSpPr>
          <p:cNvPr id="472" name="text">
            <a:extLst>
              <a:ext uri="{FF2B5EF4-FFF2-40B4-BE49-F238E27FC236}">
                <a16:creationId xmlns:a16="http://schemas.microsoft.com/office/drawing/2014/main" id="{3AF5718F-827F-B15C-34DE-A7A59352AAB1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3376613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F702AA0-B630-49E4-A60E-31CA08924D99}" type="datetime'''''''''''''1'''''''''''''''''''''''''''''''''''''''''''''''">
              <a:rPr lang="en-US" altLang="en-US" sz="1000" smtClean="0"/>
              <a:pPr/>
              <a:t>1</a:t>
            </a:fld>
            <a:endParaRPr lang="en-US" sz="1000" dirty="0"/>
          </a:p>
        </p:txBody>
      </p:sp>
      <p:sp>
        <p:nvSpPr>
          <p:cNvPr id="474" name="text">
            <a:extLst>
              <a:ext uri="{FF2B5EF4-FFF2-40B4-BE49-F238E27FC236}">
                <a16:creationId xmlns:a16="http://schemas.microsoft.com/office/drawing/2014/main" id="{66A34994-C214-68E3-80DA-0D139346D165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3575050" y="2122488"/>
            <a:ext cx="17780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F63A27C-B2B0-4E3B-9F57-04710E53A2D8}" type="datetime'2'''''''''''''''''''''''''''''''''''''''''''''''''''''''">
              <a:rPr lang="en-US" altLang="en-US" sz="1000" smtClean="0"/>
              <a:pPr/>
              <a:t>2</a:t>
            </a:fld>
            <a:endParaRPr lang="en-US" sz="1000" dirty="0"/>
          </a:p>
        </p:txBody>
      </p:sp>
      <p:sp>
        <p:nvSpPr>
          <p:cNvPr id="475" name="text">
            <a:extLst>
              <a:ext uri="{FF2B5EF4-FFF2-40B4-BE49-F238E27FC236}">
                <a16:creationId xmlns:a16="http://schemas.microsoft.com/office/drawing/2014/main" id="{B5C593FB-059B-4DBC-580D-76F4F85009A0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3752850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16E0D43-444E-4C37-8D9E-A6EA60A4AA86}" type="datetime'''''''''''''''''''''3'''''''''''''''''''''''''''''''">
              <a:rPr lang="en-US" altLang="en-US" sz="1000" smtClean="0"/>
              <a:pPr/>
              <a:t>3</a:t>
            </a:fld>
            <a:endParaRPr lang="en-US" sz="1000" dirty="0"/>
          </a:p>
        </p:txBody>
      </p:sp>
      <p:sp>
        <p:nvSpPr>
          <p:cNvPr id="476" name="text">
            <a:extLst>
              <a:ext uri="{FF2B5EF4-FFF2-40B4-BE49-F238E27FC236}">
                <a16:creationId xmlns:a16="http://schemas.microsoft.com/office/drawing/2014/main" id="{D9A975A2-4F70-E87E-8A22-9B5DBD132C93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3951288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51CC9CE-6B89-4724-8F7E-B907E19ADF70}" type="datetime'''''''''''''4'''''''''''''''''''''''''''''''''''''''''''''''''">
              <a:rPr lang="en-US" altLang="en-US" sz="1000" smtClean="0"/>
              <a:pPr/>
              <a:t>4</a:t>
            </a:fld>
            <a:endParaRPr lang="en-US" sz="1000" dirty="0"/>
          </a:p>
        </p:txBody>
      </p:sp>
      <p:sp>
        <p:nvSpPr>
          <p:cNvPr id="477" name="text">
            <a:extLst>
              <a:ext uri="{FF2B5EF4-FFF2-40B4-BE49-F238E27FC236}">
                <a16:creationId xmlns:a16="http://schemas.microsoft.com/office/drawing/2014/main" id="{B9CCD1B0-26DB-E0E1-CC1A-52C3CFAD1F55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4143375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3A3575F-0B79-4925-9241-6E52B7C864C1}" type="datetime'''''''5'''''''''''''''''''''''">
              <a:rPr lang="en-US" altLang="en-US" sz="1000" smtClean="0"/>
              <a:pPr/>
              <a:t>5</a:t>
            </a:fld>
            <a:endParaRPr lang="en-US" sz="1000" dirty="0"/>
          </a:p>
        </p:txBody>
      </p:sp>
      <p:sp>
        <p:nvSpPr>
          <p:cNvPr id="478" name="text">
            <a:extLst>
              <a:ext uri="{FF2B5EF4-FFF2-40B4-BE49-F238E27FC236}">
                <a16:creationId xmlns:a16="http://schemas.microsoft.com/office/drawing/2014/main" id="{688E9485-8EAB-D58E-23AF-4CAD15368271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4341813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72E5D5F-6973-402A-B6BD-D0EC83125BBF}" type="datetime'''''''''''''6'''''''">
              <a:rPr lang="en-US" altLang="en-US" sz="1000" smtClean="0"/>
              <a:pPr/>
              <a:t>6</a:t>
            </a:fld>
            <a:endParaRPr lang="en-US" sz="1000" dirty="0"/>
          </a:p>
        </p:txBody>
      </p:sp>
      <p:sp>
        <p:nvSpPr>
          <p:cNvPr id="479" name="text">
            <a:extLst>
              <a:ext uri="{FF2B5EF4-FFF2-40B4-BE49-F238E27FC236}">
                <a16:creationId xmlns:a16="http://schemas.microsoft.com/office/drawing/2014/main" id="{AE65AC3A-AA06-4517-19BA-4A3CBF2172BE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4533900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2609581-7493-4850-869F-2CA03D157510}" type="datetime'''''''''''''''''''''7'''''''''''''''''''''''''''''''''''''''">
              <a:rPr lang="en-US" altLang="en-US" sz="1000" smtClean="0"/>
              <a:pPr/>
              <a:t>7</a:t>
            </a:fld>
            <a:endParaRPr lang="en-US" sz="1000" dirty="0"/>
          </a:p>
        </p:txBody>
      </p:sp>
      <p:sp>
        <p:nvSpPr>
          <p:cNvPr id="480" name="text">
            <a:extLst>
              <a:ext uri="{FF2B5EF4-FFF2-40B4-BE49-F238E27FC236}">
                <a16:creationId xmlns:a16="http://schemas.microsoft.com/office/drawing/2014/main" id="{FDF07CC9-E7FD-4BC2-E3C2-CB33A34B2B9E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4732338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FA5D2F6-FB9F-4E2A-BBA8-3BA824B05D62}" type="datetime'''''''''''''''8'''''''''''''''">
              <a:rPr lang="en-US" altLang="en-US" sz="1000" smtClean="0"/>
              <a:pPr/>
              <a:t>8</a:t>
            </a:fld>
            <a:endParaRPr lang="en-US" sz="1000" dirty="0"/>
          </a:p>
        </p:txBody>
      </p:sp>
      <p:sp>
        <p:nvSpPr>
          <p:cNvPr id="481" name="text">
            <a:extLst>
              <a:ext uri="{FF2B5EF4-FFF2-40B4-BE49-F238E27FC236}">
                <a16:creationId xmlns:a16="http://schemas.microsoft.com/office/drawing/2014/main" id="{6B4D8031-36CC-9083-A3A8-0CB63525E04A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4930775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1435BFF-DFC9-4147-88F1-BCCACEB53CEE}" type="datetime'''''''''''''''''''''''''''''''''''''''''''''9'''''''''">
              <a:rPr lang="en-US" altLang="en-US" sz="1000" smtClean="0"/>
              <a:pPr/>
              <a:t>9</a:t>
            </a:fld>
            <a:endParaRPr lang="en-US" sz="1000" dirty="0"/>
          </a:p>
        </p:txBody>
      </p:sp>
      <p:sp>
        <p:nvSpPr>
          <p:cNvPr id="482" name="text">
            <a:extLst>
              <a:ext uri="{FF2B5EF4-FFF2-40B4-BE49-F238E27FC236}">
                <a16:creationId xmlns:a16="http://schemas.microsoft.com/office/drawing/2014/main" id="{7C7BA13E-5897-4CD9-E265-17EABC98D48F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5122863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BEBA082-6A9D-4C56-B801-2ECB9299D062}" type="datetime'''''''''''''''1''''''''''''''''''''''''0'''''''">
              <a:rPr lang="en-US" altLang="en-US" sz="1000" smtClean="0"/>
              <a:pPr/>
              <a:t>10</a:t>
            </a:fld>
            <a:endParaRPr lang="en-US" sz="1000" dirty="0"/>
          </a:p>
        </p:txBody>
      </p:sp>
      <p:sp>
        <p:nvSpPr>
          <p:cNvPr id="483" name="text">
            <a:extLst>
              <a:ext uri="{FF2B5EF4-FFF2-40B4-BE49-F238E27FC236}">
                <a16:creationId xmlns:a16="http://schemas.microsoft.com/office/drawing/2014/main" id="{431374BE-D045-14EF-570A-3EA2AF1AEB27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5321300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40A09C1-742D-41F2-9AF0-588921E37397}" type="datetime'''''''''''''1''''''''''''''''''''1'''''''''''">
              <a:rPr lang="en-US" altLang="en-US" sz="1000" smtClean="0"/>
              <a:pPr/>
              <a:t>11</a:t>
            </a:fld>
            <a:endParaRPr lang="en-US" sz="1000" dirty="0"/>
          </a:p>
        </p:txBody>
      </p:sp>
      <p:sp>
        <p:nvSpPr>
          <p:cNvPr id="484" name="text">
            <a:extLst>
              <a:ext uri="{FF2B5EF4-FFF2-40B4-BE49-F238E27FC236}">
                <a16:creationId xmlns:a16="http://schemas.microsoft.com/office/drawing/2014/main" id="{C9E2CBCA-283B-2309-006E-68922324AB3D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5513388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2F33090-FCF2-430E-B3CE-E17F5CE43FD3}" type="datetime'''''''''''''''''''''''''''''1''2'''''''''''''''''''''''">
              <a:rPr lang="en-US" altLang="en-US" sz="1000" smtClean="0"/>
              <a:pPr/>
              <a:t>12</a:t>
            </a:fld>
            <a:endParaRPr lang="en-US" sz="1000" dirty="0"/>
          </a:p>
        </p:txBody>
      </p:sp>
      <p:sp>
        <p:nvSpPr>
          <p:cNvPr id="527" name="text">
            <a:extLst>
              <a:ext uri="{FF2B5EF4-FFF2-40B4-BE49-F238E27FC236}">
                <a16:creationId xmlns:a16="http://schemas.microsoft.com/office/drawing/2014/main" id="{10446BC0-1241-2E59-67CE-45E74B062791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5711825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39243F7-6AE0-4F61-8CA2-4AAB42070832}" type="datetime'''''''''''''''''''''''''''''''''''''''''''''''1'">
              <a:rPr lang="en-US" altLang="en-US" sz="1000" smtClean="0"/>
              <a:pPr/>
              <a:t>1</a:t>
            </a:fld>
            <a:endParaRPr lang="en-US" sz="1000" dirty="0"/>
          </a:p>
        </p:txBody>
      </p:sp>
      <p:sp>
        <p:nvSpPr>
          <p:cNvPr id="529" name="text">
            <a:extLst>
              <a:ext uri="{FF2B5EF4-FFF2-40B4-BE49-F238E27FC236}">
                <a16:creationId xmlns:a16="http://schemas.microsoft.com/office/drawing/2014/main" id="{BA8A2A4D-2AB7-68A0-A469-7B540472CD09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5910263" y="2122488"/>
            <a:ext cx="1793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3028098-8853-47CC-800B-442C74DAD03A}" type="datetime'''''''''''''''2'''''''''''''''''''''''''''''''''''''''">
              <a:rPr lang="en-US" altLang="en-US" sz="1000" smtClean="0"/>
              <a:pPr/>
              <a:t>2</a:t>
            </a:fld>
            <a:endParaRPr lang="en-US" sz="1000" dirty="0"/>
          </a:p>
        </p:txBody>
      </p:sp>
      <p:sp>
        <p:nvSpPr>
          <p:cNvPr id="530" name="text">
            <a:extLst>
              <a:ext uri="{FF2B5EF4-FFF2-40B4-BE49-F238E27FC236}">
                <a16:creationId xmlns:a16="http://schemas.microsoft.com/office/drawing/2014/main" id="{4FE3E61E-D87A-E45D-8802-3E4502D9D75D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6089650" y="2122488"/>
            <a:ext cx="19685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6A288ED-8393-48D5-8225-CDE47C6C2733}" type="datetime'''''''''''''''''''''''''''''''''''''''''''''''3'">
              <a:rPr lang="en-US" altLang="en-US" sz="1000" smtClean="0"/>
              <a:pPr/>
              <a:t>3</a:t>
            </a:fld>
            <a:endParaRPr lang="en-US" sz="1000" dirty="0"/>
          </a:p>
        </p:txBody>
      </p:sp>
      <p:sp>
        <p:nvSpPr>
          <p:cNvPr id="531" name="text">
            <a:extLst>
              <a:ext uri="{FF2B5EF4-FFF2-40B4-BE49-F238E27FC236}">
                <a16:creationId xmlns:a16="http://schemas.microsoft.com/office/drawing/2014/main" id="{DBFBF4F4-4E34-15B2-CC7D-7C1CFC9B3C1B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6286500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81B3CCC-6197-4464-B812-1A074C1A2F89}" type="datetime'''''''''''''''''''''''''''''4'''''''''''''''''''''''''''">
              <a:rPr lang="en-US" altLang="en-US" sz="1000" smtClean="0"/>
              <a:pPr/>
              <a:t>4</a:t>
            </a:fld>
            <a:endParaRPr lang="en-US" sz="1000" dirty="0"/>
          </a:p>
        </p:txBody>
      </p:sp>
      <p:sp>
        <p:nvSpPr>
          <p:cNvPr id="532" name="text">
            <a:extLst>
              <a:ext uri="{FF2B5EF4-FFF2-40B4-BE49-F238E27FC236}">
                <a16:creationId xmlns:a16="http://schemas.microsoft.com/office/drawing/2014/main" id="{B8DD971A-FA3A-C6AE-12F7-A57B30385F6E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6478588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CDDE179-E239-4421-B10F-CF3454AD001A}" type="datetime'''''''''''''''''''''''''''''5'''''''''''''''''''''">
              <a:rPr lang="en-US" altLang="en-US" sz="1000" smtClean="0"/>
              <a:pPr/>
              <a:t>5</a:t>
            </a:fld>
            <a:endParaRPr lang="en-US" sz="1000" dirty="0"/>
          </a:p>
        </p:txBody>
      </p:sp>
      <p:sp>
        <p:nvSpPr>
          <p:cNvPr id="533" name="text">
            <a:extLst>
              <a:ext uri="{FF2B5EF4-FFF2-40B4-BE49-F238E27FC236}">
                <a16:creationId xmlns:a16="http://schemas.microsoft.com/office/drawing/2014/main" id="{59D10DB1-3F95-ECD2-5CA4-FE29F8DD9B88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6677025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50F0809-1C95-430B-A9B0-C252C67EBF19}" type="datetime'''6'''">
              <a:rPr lang="en-US" altLang="en-US" sz="1000" smtClean="0"/>
              <a:pPr/>
              <a:t>6</a:t>
            </a:fld>
            <a:endParaRPr lang="en-US" sz="1000" dirty="0"/>
          </a:p>
        </p:txBody>
      </p:sp>
      <p:sp>
        <p:nvSpPr>
          <p:cNvPr id="534" name="text">
            <a:extLst>
              <a:ext uri="{FF2B5EF4-FFF2-40B4-BE49-F238E27FC236}">
                <a16:creationId xmlns:a16="http://schemas.microsoft.com/office/drawing/2014/main" id="{0AE13565-01DA-3036-A4C0-5934CB8AA707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6869113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2F3E5B2-CB35-4F03-86FC-208107C55968}" type="datetime'''''''''''7'''''''''''''''''''''''''''''">
              <a:rPr lang="en-US" altLang="en-US" sz="1000" smtClean="0"/>
              <a:pPr/>
              <a:t>7</a:t>
            </a:fld>
            <a:endParaRPr lang="en-US" sz="1000" dirty="0"/>
          </a:p>
        </p:txBody>
      </p:sp>
      <p:sp>
        <p:nvSpPr>
          <p:cNvPr id="535" name="text">
            <a:extLst>
              <a:ext uri="{FF2B5EF4-FFF2-40B4-BE49-F238E27FC236}">
                <a16:creationId xmlns:a16="http://schemas.microsoft.com/office/drawing/2014/main" id="{C64A44D3-710E-44B1-17BD-4EB4CEB97B9F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7067550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6C1089A-5839-49A3-ABDF-C285907458E4}" type="datetime'''8'''''''''''''''''''">
              <a:rPr lang="en-US" altLang="en-US" sz="1000" smtClean="0"/>
              <a:pPr/>
              <a:t>8</a:t>
            </a:fld>
            <a:endParaRPr lang="en-US" sz="1000" dirty="0"/>
          </a:p>
        </p:txBody>
      </p:sp>
      <p:sp>
        <p:nvSpPr>
          <p:cNvPr id="536" name="text">
            <a:extLst>
              <a:ext uri="{FF2B5EF4-FFF2-40B4-BE49-F238E27FC236}">
                <a16:creationId xmlns:a16="http://schemas.microsoft.com/office/drawing/2014/main" id="{7841D210-A4E7-7BE8-0E20-F5998DA4CFA4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7265988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3B7BF63-A0CC-4B9C-B226-DA542AA6FE5B}" type="datetime'''''''''''''''''''9'''''''''''''''">
              <a:rPr lang="en-US" altLang="en-US" sz="1000" smtClean="0"/>
              <a:pPr/>
              <a:t>9</a:t>
            </a:fld>
            <a:endParaRPr lang="en-US" sz="1000" dirty="0"/>
          </a:p>
        </p:txBody>
      </p:sp>
      <p:sp>
        <p:nvSpPr>
          <p:cNvPr id="537" name="text">
            <a:extLst>
              <a:ext uri="{FF2B5EF4-FFF2-40B4-BE49-F238E27FC236}">
                <a16:creationId xmlns:a16="http://schemas.microsoft.com/office/drawing/2014/main" id="{B09096D9-88DC-F5C5-2750-FA01EDF010AC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7458075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3EB577F-F016-46FF-848C-1D318DB8518A}" type="datetime'''''''''10'''''''''''''''">
              <a:rPr lang="en-US" altLang="en-US" sz="1000" smtClean="0"/>
              <a:pPr/>
              <a:t>10</a:t>
            </a:fld>
            <a:endParaRPr lang="en-US" sz="1000" dirty="0"/>
          </a:p>
        </p:txBody>
      </p:sp>
      <p:sp>
        <p:nvSpPr>
          <p:cNvPr id="538" name="text">
            <a:extLst>
              <a:ext uri="{FF2B5EF4-FFF2-40B4-BE49-F238E27FC236}">
                <a16:creationId xmlns:a16="http://schemas.microsoft.com/office/drawing/2014/main" id="{134C0960-D1D9-142D-2DAB-0151131D1CAB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7656513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D01DA93-0D56-41BF-A4ED-7AE7FB7DCC73}" type="datetime'''''''''''''''''''''''''''''11'''''''''''''">
              <a:rPr lang="en-US" altLang="en-US" sz="1000" smtClean="0"/>
              <a:pPr/>
              <a:t>11</a:t>
            </a:fld>
            <a:endParaRPr lang="en-US" sz="1000" dirty="0"/>
          </a:p>
        </p:txBody>
      </p:sp>
      <p:sp>
        <p:nvSpPr>
          <p:cNvPr id="539" name="text">
            <a:extLst>
              <a:ext uri="{FF2B5EF4-FFF2-40B4-BE49-F238E27FC236}">
                <a16:creationId xmlns:a16="http://schemas.microsoft.com/office/drawing/2014/main" id="{7AA04190-C293-DF7B-8739-6DDDCD88430C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7848600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AE0D544-F536-4FE0-86BE-460E4CDED38D}" type="datetime'''''''''''''''1''''''''''2'''''''''''''''''''''''''''''''''''">
              <a:rPr lang="en-US" altLang="en-US" sz="1000" smtClean="0"/>
              <a:pPr/>
              <a:t>12</a:t>
            </a:fld>
            <a:endParaRPr lang="en-US" sz="1000" dirty="0"/>
          </a:p>
        </p:txBody>
      </p:sp>
      <p:sp>
        <p:nvSpPr>
          <p:cNvPr id="576" name="text">
            <a:extLst>
              <a:ext uri="{FF2B5EF4-FFF2-40B4-BE49-F238E27FC236}">
                <a16:creationId xmlns:a16="http://schemas.microsoft.com/office/drawing/2014/main" id="{DD5EE0F8-3BC1-951C-996F-AD23520588FD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8047038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5313415-F498-4A71-ADED-65660F1F50A3}" type="datetime'''''''1'''''''''''''''''''''''''''''''''''''''''''''''''''">
              <a:rPr lang="en-US" altLang="en-US" sz="1000" smtClean="0"/>
              <a:pPr/>
              <a:t>1</a:t>
            </a:fld>
            <a:endParaRPr lang="en-US" sz="1000" dirty="0"/>
          </a:p>
        </p:txBody>
      </p:sp>
      <p:sp>
        <p:nvSpPr>
          <p:cNvPr id="578" name="text">
            <a:extLst>
              <a:ext uri="{FF2B5EF4-FFF2-40B4-BE49-F238E27FC236}">
                <a16:creationId xmlns:a16="http://schemas.microsoft.com/office/drawing/2014/main" id="{69BA4753-345B-3298-7211-0D6C4AC99AB6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8245475" y="2122488"/>
            <a:ext cx="1857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CD8674E-1ED6-4FB9-A882-BAC4751428CB}" type="datetime'''''''''''''''''''''''''''''''''''2'''''">
              <a:rPr lang="en-US" altLang="en-US" sz="1000" smtClean="0"/>
              <a:pPr/>
              <a:t>2</a:t>
            </a:fld>
            <a:endParaRPr lang="en-US" sz="1000" dirty="0"/>
          </a:p>
        </p:txBody>
      </p:sp>
      <p:sp>
        <p:nvSpPr>
          <p:cNvPr id="579" name="text">
            <a:extLst>
              <a:ext uri="{FF2B5EF4-FFF2-40B4-BE49-F238E27FC236}">
                <a16:creationId xmlns:a16="http://schemas.microsoft.com/office/drawing/2014/main" id="{3406C6A2-1237-FDE3-84C2-69581C67EE4E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8431213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5200B7D-1976-45B8-8AC3-D675B0BAFF93}" type="datetime'3'''''''''''''">
              <a:rPr lang="en-US" altLang="en-US" sz="1000" smtClean="0"/>
              <a:pPr/>
              <a:t>3</a:t>
            </a:fld>
            <a:endParaRPr lang="en-US" sz="1000" dirty="0"/>
          </a:p>
        </p:txBody>
      </p:sp>
      <p:sp>
        <p:nvSpPr>
          <p:cNvPr id="580" name="text">
            <a:extLst>
              <a:ext uri="{FF2B5EF4-FFF2-40B4-BE49-F238E27FC236}">
                <a16:creationId xmlns:a16="http://schemas.microsoft.com/office/drawing/2014/main" id="{B4BD8421-9E2F-55F3-BB57-15A3D7334AFA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8629650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49AB53F-F3C8-4BF8-9492-BF2230157088}" type="datetime'''4'''''''''">
              <a:rPr lang="en-US" altLang="en-US" sz="1000" smtClean="0"/>
              <a:pPr/>
              <a:t>4</a:t>
            </a:fld>
            <a:endParaRPr lang="en-US" sz="1000" dirty="0"/>
          </a:p>
        </p:txBody>
      </p:sp>
      <p:sp>
        <p:nvSpPr>
          <p:cNvPr id="581" name="text">
            <a:extLst>
              <a:ext uri="{FF2B5EF4-FFF2-40B4-BE49-F238E27FC236}">
                <a16:creationId xmlns:a16="http://schemas.microsoft.com/office/drawing/2014/main" id="{26EA4348-EDEB-A536-17FF-FF336BA2E351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8821738" y="2122488"/>
            <a:ext cx="19685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F1DF38D-D7DC-45C4-8790-B128A68ADD48}" type="datetime'''''''''''''''''5'''''''''''''''''''''''''''''''''''''''''''''">
              <a:rPr lang="en-US" altLang="en-US" sz="1000" smtClean="0"/>
              <a:pPr/>
              <a:t>5</a:t>
            </a:fld>
            <a:endParaRPr lang="en-US" sz="1000" dirty="0"/>
          </a:p>
        </p:txBody>
      </p:sp>
      <p:sp>
        <p:nvSpPr>
          <p:cNvPr id="582" name="text">
            <a:extLst>
              <a:ext uri="{FF2B5EF4-FFF2-40B4-BE49-F238E27FC236}">
                <a16:creationId xmlns:a16="http://schemas.microsoft.com/office/drawing/2014/main" id="{A115DD67-E2DF-5069-426F-DFE3EF5E8D0D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9018588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4653903-5964-4CA5-B88A-F736D0970A98}" type="datetime'''6'''''''''''''''''''''''''">
              <a:rPr lang="en-US" altLang="en-US" sz="1000" smtClean="0"/>
              <a:pPr/>
              <a:t>6</a:t>
            </a:fld>
            <a:endParaRPr lang="en-US" sz="1000" dirty="0"/>
          </a:p>
        </p:txBody>
      </p:sp>
      <p:sp>
        <p:nvSpPr>
          <p:cNvPr id="583" name="text">
            <a:extLst>
              <a:ext uri="{FF2B5EF4-FFF2-40B4-BE49-F238E27FC236}">
                <a16:creationId xmlns:a16="http://schemas.microsoft.com/office/drawing/2014/main" id="{CDD37FB4-CA6C-2887-D738-42A3261DFC10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9210675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D208629-1994-415C-A962-3973D4DF1CB5}" type="datetime'7'''''''''''''">
              <a:rPr lang="en-US" altLang="en-US" sz="1000" smtClean="0"/>
              <a:pPr/>
              <a:t>7</a:t>
            </a:fld>
            <a:endParaRPr lang="en-US" sz="1000" dirty="0"/>
          </a:p>
        </p:txBody>
      </p:sp>
      <p:sp>
        <p:nvSpPr>
          <p:cNvPr id="584" name="text">
            <a:extLst>
              <a:ext uri="{FF2B5EF4-FFF2-40B4-BE49-F238E27FC236}">
                <a16:creationId xmlns:a16="http://schemas.microsoft.com/office/drawing/2014/main" id="{552EEC46-690C-D438-DDD2-2FED72316D64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9409113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18CC8A2-C79B-41B3-8425-8457BED6E4AC}" type="datetime'''''''''''''''''''''8'''''''''''''''''''''''''''''''''''''''''">
              <a:rPr lang="en-US" altLang="en-US" sz="1000" smtClean="0"/>
              <a:pPr/>
              <a:t>8</a:t>
            </a:fld>
            <a:endParaRPr lang="en-US" sz="1000" dirty="0"/>
          </a:p>
        </p:txBody>
      </p:sp>
      <p:sp>
        <p:nvSpPr>
          <p:cNvPr id="585" name="text">
            <a:extLst>
              <a:ext uri="{FF2B5EF4-FFF2-40B4-BE49-F238E27FC236}">
                <a16:creationId xmlns:a16="http://schemas.microsoft.com/office/drawing/2014/main" id="{0BD9C107-1A05-C0C0-593B-AB9AAD7863A2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9607550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A9959FA-E362-46B8-89DD-389AFEC0B216}" type="datetime'''9'''''''''''''''''''''''''''''''''''''''''''''''''''''''''''">
              <a:rPr lang="en-US" altLang="en-US" sz="1000" smtClean="0"/>
              <a:pPr/>
              <a:t>9</a:t>
            </a:fld>
            <a:endParaRPr lang="en-US" sz="1000" dirty="0"/>
          </a:p>
        </p:txBody>
      </p:sp>
      <p:sp>
        <p:nvSpPr>
          <p:cNvPr id="586" name="text">
            <a:extLst>
              <a:ext uri="{FF2B5EF4-FFF2-40B4-BE49-F238E27FC236}">
                <a16:creationId xmlns:a16="http://schemas.microsoft.com/office/drawing/2014/main" id="{4628CD55-FBA7-3786-D560-86C3F4B572FC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9799638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BDBEAC4-880F-4D2E-AB72-CE436A02E152}" type="datetime'1''''''''''''''''''''''''''''''0'">
              <a:rPr lang="en-US" altLang="en-US" sz="1000" smtClean="0"/>
              <a:pPr/>
              <a:t>10</a:t>
            </a:fld>
            <a:endParaRPr lang="en-US" sz="1000" dirty="0"/>
          </a:p>
        </p:txBody>
      </p:sp>
      <p:sp>
        <p:nvSpPr>
          <p:cNvPr id="587" name="text">
            <a:extLst>
              <a:ext uri="{FF2B5EF4-FFF2-40B4-BE49-F238E27FC236}">
                <a16:creationId xmlns:a16="http://schemas.microsoft.com/office/drawing/2014/main" id="{4A0B9A65-DA53-B3AC-C5D1-4B56059549A4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9998075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2EBA5AF-28B9-4446-8439-B9A7440702A9}" type="datetime'''''''''''''''''''''''''''''''''''''''''''11'''''''''''''''''">
              <a:rPr lang="en-US" altLang="en-US" sz="1000" smtClean="0"/>
              <a:pPr/>
              <a:t>11</a:t>
            </a:fld>
            <a:endParaRPr lang="en-US" sz="1000" dirty="0"/>
          </a:p>
        </p:txBody>
      </p:sp>
      <p:sp>
        <p:nvSpPr>
          <p:cNvPr id="588" name="text">
            <a:extLst>
              <a:ext uri="{FF2B5EF4-FFF2-40B4-BE49-F238E27FC236}">
                <a16:creationId xmlns:a16="http://schemas.microsoft.com/office/drawing/2014/main" id="{D1032EC3-FB59-A721-0DC9-1CD5B8E67048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10190163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1EECCD8-AE7E-4553-9A4B-DDAC62665DE4}" type="datetime'''1''''''''''''''''''2'">
              <a:rPr lang="en-US" altLang="en-US" sz="1000" smtClean="0"/>
              <a:pPr/>
              <a:t>12</a:t>
            </a:fld>
            <a:endParaRPr lang="en-US" sz="1000" dirty="0"/>
          </a:p>
        </p:txBody>
      </p:sp>
      <p:cxnSp>
        <p:nvCxnSpPr>
          <p:cNvPr id="507" name="Gerader Verbinder 506">
            <a:extLst>
              <a:ext uri="{FF2B5EF4-FFF2-40B4-BE49-F238E27FC236}">
                <a16:creationId xmlns:a16="http://schemas.microsoft.com/office/drawing/2014/main" id="{30FF4115-4376-773A-7CEE-855D72E02AD4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>
            <a:off x="8047038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1" name="Gerader Verbinder 420">
            <a:extLst>
              <a:ext uri="{FF2B5EF4-FFF2-40B4-BE49-F238E27FC236}">
                <a16:creationId xmlns:a16="http://schemas.microsoft.com/office/drawing/2014/main" id="{952C126C-00FB-B096-F6B8-FC620EF3AC16}"/>
              </a:ext>
            </a:extLst>
          </p:cNvPr>
          <p:cNvCxnSpPr/>
          <p:nvPr>
            <p:custDataLst>
              <p:tags r:id="rId67"/>
            </p:custDataLst>
          </p:nvPr>
        </p:nvCxnSpPr>
        <p:spPr bwMode="auto">
          <a:xfrm>
            <a:off x="5711825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9BA85BEE-9073-8497-504C-0671F1C53933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>
            <a:off x="2198688" y="2309812"/>
            <a:ext cx="0" cy="33337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ECF2365B-4C2E-A532-FEF3-8712E0B04256}"/>
              </a:ext>
            </a:extLst>
          </p:cNvPr>
          <p:cNvCxnSpPr/>
          <p:nvPr>
            <p:custDataLst>
              <p:tags r:id="rId69"/>
            </p:custDataLst>
          </p:nvPr>
        </p:nvCxnSpPr>
        <p:spPr bwMode="auto">
          <a:xfrm>
            <a:off x="10388600" y="2309812"/>
            <a:ext cx="0" cy="33337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Gerader Verbinder 62">
            <a:extLst>
              <a:ext uri="{FF2B5EF4-FFF2-40B4-BE49-F238E27FC236}">
                <a16:creationId xmlns:a16="http://schemas.microsoft.com/office/drawing/2014/main" id="{87119489-F8C2-0F1F-7ACB-34BDD904FF4A}"/>
              </a:ext>
            </a:extLst>
          </p:cNvPr>
          <p:cNvCxnSpPr/>
          <p:nvPr>
            <p:custDataLst>
              <p:tags r:id="rId70"/>
            </p:custDataLst>
          </p:nvPr>
        </p:nvCxnSpPr>
        <p:spPr bwMode="auto">
          <a:xfrm>
            <a:off x="525463" y="2309812"/>
            <a:ext cx="0" cy="33337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Gerader Verbinder 72">
            <a:extLst>
              <a:ext uri="{FF2B5EF4-FFF2-40B4-BE49-F238E27FC236}">
                <a16:creationId xmlns:a16="http://schemas.microsoft.com/office/drawing/2014/main" id="{83AA4D60-83AE-47D0-47CB-9AF060270FB1}"/>
              </a:ext>
            </a:extLst>
          </p:cNvPr>
          <p:cNvCxnSpPr/>
          <p:nvPr>
            <p:custDataLst>
              <p:tags r:id="rId71"/>
            </p:custDataLst>
          </p:nvPr>
        </p:nvCxnSpPr>
        <p:spPr bwMode="auto">
          <a:xfrm>
            <a:off x="11663363" y="2309812"/>
            <a:ext cx="0" cy="33337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0" name="Gerader Verbinder 419">
            <a:extLst>
              <a:ext uri="{FF2B5EF4-FFF2-40B4-BE49-F238E27FC236}">
                <a16:creationId xmlns:a16="http://schemas.microsoft.com/office/drawing/2014/main" id="{D86F56F1-B14B-446C-DAB1-ECE7B766069A}"/>
              </a:ext>
            </a:extLst>
          </p:cNvPr>
          <p:cNvCxnSpPr/>
          <p:nvPr>
            <p:custDataLst>
              <p:tags r:id="rId72"/>
            </p:custDataLst>
          </p:nvPr>
        </p:nvCxnSpPr>
        <p:spPr bwMode="auto">
          <a:xfrm>
            <a:off x="3376613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2" name="Gerader Verbinder 411">
            <a:extLst>
              <a:ext uri="{FF2B5EF4-FFF2-40B4-BE49-F238E27FC236}">
                <a16:creationId xmlns:a16="http://schemas.microsoft.com/office/drawing/2014/main" id="{5EF3BAD2-B7C6-23FA-EEB0-6591247CA803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>
            <a:off x="6286500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3" name="Gerader Verbinder 412">
            <a:extLst>
              <a:ext uri="{FF2B5EF4-FFF2-40B4-BE49-F238E27FC236}">
                <a16:creationId xmlns:a16="http://schemas.microsoft.com/office/drawing/2014/main" id="{AEB5F06E-8A43-9D2B-67DB-49D9005B832A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>
            <a:off x="6869113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9" name="Gerader Verbinder 438">
            <a:extLst>
              <a:ext uri="{FF2B5EF4-FFF2-40B4-BE49-F238E27FC236}">
                <a16:creationId xmlns:a16="http://schemas.microsoft.com/office/drawing/2014/main" id="{7007D786-0373-8748-43C7-212292B44B03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>
            <a:off x="8629650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0" name="Gerader Verbinder 439">
            <a:extLst>
              <a:ext uri="{FF2B5EF4-FFF2-40B4-BE49-F238E27FC236}">
                <a16:creationId xmlns:a16="http://schemas.microsoft.com/office/drawing/2014/main" id="{49C7929E-5111-D4DC-4692-C9A1657B53CD}"/>
              </a:ext>
            </a:extLst>
          </p:cNvPr>
          <p:cNvCxnSpPr/>
          <p:nvPr>
            <p:custDataLst>
              <p:tags r:id="rId76"/>
            </p:custDataLst>
          </p:nvPr>
        </p:nvCxnSpPr>
        <p:spPr bwMode="auto">
          <a:xfrm>
            <a:off x="9210675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1" name="Gerader Verbinder 410">
            <a:extLst>
              <a:ext uri="{FF2B5EF4-FFF2-40B4-BE49-F238E27FC236}">
                <a16:creationId xmlns:a16="http://schemas.microsoft.com/office/drawing/2014/main" id="{9B715E29-AA69-C7E3-AE28-5911BEFA25C5}"/>
              </a:ext>
            </a:extLst>
          </p:cNvPr>
          <p:cNvCxnSpPr/>
          <p:nvPr>
            <p:custDataLst>
              <p:tags r:id="rId77"/>
            </p:custDataLst>
          </p:nvPr>
        </p:nvCxnSpPr>
        <p:spPr bwMode="auto">
          <a:xfrm>
            <a:off x="5122863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8" name="Gerader Verbinder 437">
            <a:extLst>
              <a:ext uri="{FF2B5EF4-FFF2-40B4-BE49-F238E27FC236}">
                <a16:creationId xmlns:a16="http://schemas.microsoft.com/office/drawing/2014/main" id="{2C2E08D4-56ED-C245-9ACE-618DF0F85490}"/>
              </a:ext>
            </a:extLst>
          </p:cNvPr>
          <p:cNvCxnSpPr/>
          <p:nvPr>
            <p:custDataLst>
              <p:tags r:id="rId78"/>
            </p:custDataLst>
          </p:nvPr>
        </p:nvCxnSpPr>
        <p:spPr bwMode="auto">
          <a:xfrm>
            <a:off x="7458075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0" name="Gerader Verbinder 409">
            <a:extLst>
              <a:ext uri="{FF2B5EF4-FFF2-40B4-BE49-F238E27FC236}">
                <a16:creationId xmlns:a16="http://schemas.microsoft.com/office/drawing/2014/main" id="{7217AD42-3429-C5D4-BAB5-EF589D43A040}"/>
              </a:ext>
            </a:extLst>
          </p:cNvPr>
          <p:cNvCxnSpPr/>
          <p:nvPr>
            <p:custDataLst>
              <p:tags r:id="rId79"/>
            </p:custDataLst>
          </p:nvPr>
        </p:nvCxnSpPr>
        <p:spPr bwMode="auto">
          <a:xfrm>
            <a:off x="4533900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9" name="Gerader Verbinder 508">
            <a:extLst>
              <a:ext uri="{FF2B5EF4-FFF2-40B4-BE49-F238E27FC236}">
                <a16:creationId xmlns:a16="http://schemas.microsoft.com/office/drawing/2014/main" id="{D1DB3FFE-6598-CCAC-B303-B22902E351DB}"/>
              </a:ext>
            </a:extLst>
          </p:cNvPr>
          <p:cNvCxnSpPr/>
          <p:nvPr>
            <p:custDataLst>
              <p:tags r:id="rId80"/>
            </p:custDataLst>
          </p:nvPr>
        </p:nvCxnSpPr>
        <p:spPr bwMode="auto">
          <a:xfrm>
            <a:off x="9799638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9" name="Gerader Verbinder 408">
            <a:extLst>
              <a:ext uri="{FF2B5EF4-FFF2-40B4-BE49-F238E27FC236}">
                <a16:creationId xmlns:a16="http://schemas.microsoft.com/office/drawing/2014/main" id="{BA1A0500-EA5D-730D-7F40-A61079D3EF2C}"/>
              </a:ext>
            </a:extLst>
          </p:cNvPr>
          <p:cNvCxnSpPr/>
          <p:nvPr>
            <p:custDataLst>
              <p:tags r:id="rId81"/>
            </p:custDataLst>
          </p:nvPr>
        </p:nvCxnSpPr>
        <p:spPr bwMode="auto">
          <a:xfrm>
            <a:off x="3951288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8" name="Gerader Verbinder 407">
            <a:extLst>
              <a:ext uri="{FF2B5EF4-FFF2-40B4-BE49-F238E27FC236}">
                <a16:creationId xmlns:a16="http://schemas.microsoft.com/office/drawing/2014/main" id="{2D280F7A-D5CB-98FC-ABFE-2C977D9188EA}"/>
              </a:ext>
            </a:extLst>
          </p:cNvPr>
          <p:cNvCxnSpPr/>
          <p:nvPr>
            <p:custDataLst>
              <p:tags r:id="rId82"/>
            </p:custDataLst>
          </p:nvPr>
        </p:nvCxnSpPr>
        <p:spPr bwMode="auto">
          <a:xfrm>
            <a:off x="2787650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3" name="Gerader Verbinder 462">
            <a:extLst>
              <a:ext uri="{FF2B5EF4-FFF2-40B4-BE49-F238E27FC236}">
                <a16:creationId xmlns:a16="http://schemas.microsoft.com/office/drawing/2014/main" id="{51D6C580-1D19-1585-D5CD-1467E4AB475B}"/>
              </a:ext>
            </a:extLst>
          </p:cNvPr>
          <p:cNvCxnSpPr/>
          <p:nvPr>
            <p:custDataLst>
              <p:tags r:id="rId83"/>
            </p:custDataLst>
          </p:nvPr>
        </p:nvCxnSpPr>
        <p:spPr bwMode="auto">
          <a:xfrm>
            <a:off x="525463" y="3421063"/>
            <a:ext cx="111379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4" name="Gerader Verbinder 463">
            <a:extLst>
              <a:ext uri="{FF2B5EF4-FFF2-40B4-BE49-F238E27FC236}">
                <a16:creationId xmlns:a16="http://schemas.microsoft.com/office/drawing/2014/main" id="{DD16EC47-5A3C-C2C9-3B26-CBEC72E12274}"/>
              </a:ext>
            </a:extLst>
          </p:cNvPr>
          <p:cNvCxnSpPr/>
          <p:nvPr>
            <p:custDataLst>
              <p:tags r:id="rId84"/>
            </p:custDataLst>
          </p:nvPr>
        </p:nvCxnSpPr>
        <p:spPr bwMode="auto">
          <a:xfrm>
            <a:off x="525463" y="5073650"/>
            <a:ext cx="111379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69230EB0-E1E7-8976-827B-237FD1D2B5FA}"/>
              </a:ext>
            </a:extLst>
          </p:cNvPr>
          <p:cNvCxnSpPr/>
          <p:nvPr>
            <p:custDataLst>
              <p:tags r:id="rId85"/>
            </p:custDataLst>
          </p:nvPr>
        </p:nvCxnSpPr>
        <p:spPr bwMode="auto">
          <a:xfrm>
            <a:off x="525463" y="5643563"/>
            <a:ext cx="111379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0C02FC56-627D-3C55-2CDF-73EDB781A36A}"/>
              </a:ext>
            </a:extLst>
          </p:cNvPr>
          <p:cNvCxnSpPr/>
          <p:nvPr>
            <p:custDataLst>
              <p:tags r:id="rId86"/>
            </p:custDataLst>
          </p:nvPr>
        </p:nvCxnSpPr>
        <p:spPr bwMode="auto">
          <a:xfrm>
            <a:off x="2730500" y="2309813"/>
            <a:ext cx="0" cy="34972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45F3E611-F056-4941-243E-5090F1A6EF56}"/>
              </a:ext>
            </a:extLst>
          </p:cNvPr>
          <p:cNvCxnSpPr/>
          <p:nvPr>
            <p:custDataLst>
              <p:tags r:id="rId87"/>
            </p:custDataLst>
          </p:nvPr>
        </p:nvCxnSpPr>
        <p:spPr bwMode="auto">
          <a:xfrm>
            <a:off x="525463" y="2309813"/>
            <a:ext cx="111379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CE754591-C18C-53E3-1852-9BCD8D103480}"/>
              </a:ext>
            </a:extLst>
          </p:cNvPr>
          <p:cNvSpPr/>
          <p:nvPr>
            <p:custDataLst>
              <p:tags r:id="rId88"/>
            </p:custDataLst>
          </p:nvPr>
        </p:nvSpPr>
        <p:spPr bwMode="auto">
          <a:xfrm>
            <a:off x="3714750" y="2401888"/>
            <a:ext cx="301625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CDD4AC99-9EEA-8B78-B725-657D7317F8B4}"/>
              </a:ext>
            </a:extLst>
          </p:cNvPr>
          <p:cNvSpPr/>
          <p:nvPr>
            <p:custDataLst>
              <p:tags r:id="rId89"/>
            </p:custDataLst>
          </p:nvPr>
        </p:nvSpPr>
        <p:spPr bwMode="auto">
          <a:xfrm>
            <a:off x="5059364" y="3214688"/>
            <a:ext cx="568325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70" name="Rechteck 469">
            <a:extLst>
              <a:ext uri="{FF2B5EF4-FFF2-40B4-BE49-F238E27FC236}">
                <a16:creationId xmlns:a16="http://schemas.microsoft.com/office/drawing/2014/main" id="{20EAD8EB-EC9E-7B8C-A6E2-CDFDDDEF1C43}"/>
              </a:ext>
            </a:extLst>
          </p:cNvPr>
          <p:cNvSpPr/>
          <p:nvPr>
            <p:custDataLst>
              <p:tags r:id="rId90"/>
            </p:custDataLst>
          </p:nvPr>
        </p:nvSpPr>
        <p:spPr bwMode="auto">
          <a:xfrm>
            <a:off x="6402388" y="4867275"/>
            <a:ext cx="122238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68" name="Rechteck 467">
            <a:extLst>
              <a:ext uri="{FF2B5EF4-FFF2-40B4-BE49-F238E27FC236}">
                <a16:creationId xmlns:a16="http://schemas.microsoft.com/office/drawing/2014/main" id="{5F29C0F4-26C2-44BA-FBF5-B5D185E4008A}"/>
              </a:ext>
            </a:extLst>
          </p:cNvPr>
          <p:cNvSpPr/>
          <p:nvPr>
            <p:custDataLst>
              <p:tags r:id="rId91"/>
            </p:custDataLst>
          </p:nvPr>
        </p:nvSpPr>
        <p:spPr bwMode="auto">
          <a:xfrm>
            <a:off x="6267450" y="4595813"/>
            <a:ext cx="166688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73" name="Rechteck 472">
            <a:extLst>
              <a:ext uri="{FF2B5EF4-FFF2-40B4-BE49-F238E27FC236}">
                <a16:creationId xmlns:a16="http://schemas.microsoft.com/office/drawing/2014/main" id="{FD4DEF49-EEC1-F1B4-EAFA-B5982D02DE94}"/>
              </a:ext>
            </a:extLst>
          </p:cNvPr>
          <p:cNvSpPr/>
          <p:nvPr>
            <p:custDataLst>
              <p:tags r:id="rId92"/>
            </p:custDataLst>
          </p:nvPr>
        </p:nvSpPr>
        <p:spPr bwMode="auto">
          <a:xfrm>
            <a:off x="6134100" y="4325938"/>
            <a:ext cx="166688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85" name="Rechteck 484">
            <a:extLst>
              <a:ext uri="{FF2B5EF4-FFF2-40B4-BE49-F238E27FC236}">
                <a16:creationId xmlns:a16="http://schemas.microsoft.com/office/drawing/2014/main" id="{F9DEC2EE-3363-A493-EB0C-41F75EAAC342}"/>
              </a:ext>
            </a:extLst>
          </p:cNvPr>
          <p:cNvSpPr/>
          <p:nvPr>
            <p:custDataLst>
              <p:tags r:id="rId93"/>
            </p:custDataLst>
          </p:nvPr>
        </p:nvSpPr>
        <p:spPr bwMode="auto">
          <a:xfrm>
            <a:off x="5595938" y="3513138"/>
            <a:ext cx="301625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62" name="Rechteck 461">
            <a:extLst>
              <a:ext uri="{FF2B5EF4-FFF2-40B4-BE49-F238E27FC236}">
                <a16:creationId xmlns:a16="http://schemas.microsoft.com/office/drawing/2014/main" id="{C93B4C68-2328-E80D-1DF3-946BBB39EEE0}"/>
              </a:ext>
            </a:extLst>
          </p:cNvPr>
          <p:cNvSpPr/>
          <p:nvPr>
            <p:custDataLst>
              <p:tags r:id="rId94"/>
            </p:custDataLst>
          </p:nvPr>
        </p:nvSpPr>
        <p:spPr bwMode="auto">
          <a:xfrm>
            <a:off x="5864225" y="3784600"/>
            <a:ext cx="166688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51" name="Rechteck 450">
            <a:extLst>
              <a:ext uri="{FF2B5EF4-FFF2-40B4-BE49-F238E27FC236}">
                <a16:creationId xmlns:a16="http://schemas.microsoft.com/office/drawing/2014/main" id="{BF3E7962-FA74-9EAD-C7D8-7249E0E566DF}"/>
              </a:ext>
            </a:extLst>
          </p:cNvPr>
          <p:cNvSpPr/>
          <p:nvPr>
            <p:custDataLst>
              <p:tags r:id="rId95"/>
            </p:custDataLst>
          </p:nvPr>
        </p:nvSpPr>
        <p:spPr bwMode="auto">
          <a:xfrm>
            <a:off x="6030913" y="4054475"/>
            <a:ext cx="134938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13DB5A20-F87A-13A9-64CC-3AA0C2F3068D}"/>
              </a:ext>
            </a:extLst>
          </p:cNvPr>
          <p:cNvSpPr/>
          <p:nvPr>
            <p:custDataLst>
              <p:tags r:id="rId96"/>
            </p:custDataLst>
          </p:nvPr>
        </p:nvSpPr>
        <p:spPr bwMode="auto">
          <a:xfrm>
            <a:off x="3984626" y="2673350"/>
            <a:ext cx="568325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0188964-0E8E-629C-9EB9-228C25949ABD}"/>
              </a:ext>
            </a:extLst>
          </p:cNvPr>
          <p:cNvSpPr/>
          <p:nvPr>
            <p:custDataLst>
              <p:tags r:id="rId97"/>
            </p:custDataLst>
          </p:nvPr>
        </p:nvSpPr>
        <p:spPr bwMode="auto">
          <a:xfrm>
            <a:off x="4521201" y="2943225"/>
            <a:ext cx="569913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48" name="Rechteck 447">
            <a:extLst>
              <a:ext uri="{FF2B5EF4-FFF2-40B4-BE49-F238E27FC236}">
                <a16:creationId xmlns:a16="http://schemas.microsoft.com/office/drawing/2014/main" id="{F4FDF0A7-3EC3-8512-21D2-E0E114371A64}"/>
              </a:ext>
            </a:extLst>
          </p:cNvPr>
          <p:cNvSpPr/>
          <p:nvPr>
            <p:custDataLst>
              <p:tags r:id="rId98"/>
            </p:custDataLst>
          </p:nvPr>
        </p:nvSpPr>
        <p:spPr bwMode="auto">
          <a:xfrm>
            <a:off x="6505575" y="5165725"/>
            <a:ext cx="1349375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49" name="Rechteck 448">
            <a:extLst>
              <a:ext uri="{FF2B5EF4-FFF2-40B4-BE49-F238E27FC236}">
                <a16:creationId xmlns:a16="http://schemas.microsoft.com/office/drawing/2014/main" id="{E03B1D75-95D8-64DD-EAAB-91304BA0FE76}"/>
              </a:ext>
            </a:extLst>
          </p:cNvPr>
          <p:cNvSpPr/>
          <p:nvPr>
            <p:custDataLst>
              <p:tags r:id="rId99"/>
            </p:custDataLst>
          </p:nvPr>
        </p:nvSpPr>
        <p:spPr bwMode="auto">
          <a:xfrm>
            <a:off x="7899400" y="5437188"/>
            <a:ext cx="1133475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26" name="Pfeil: nach links 25">
            <a:extLst>
              <a:ext uri="{FF2B5EF4-FFF2-40B4-BE49-F238E27FC236}">
                <a16:creationId xmlns:a16="http://schemas.microsoft.com/office/drawing/2014/main" id="{A13AE2DE-8A77-C069-9288-CB27BF142B7A}"/>
              </a:ext>
            </a:extLst>
          </p:cNvPr>
          <p:cNvSpPr/>
          <p:nvPr>
            <p:custDataLst>
              <p:tags r:id="rId100"/>
            </p:custDataLst>
          </p:nvPr>
        </p:nvSpPr>
        <p:spPr bwMode="auto">
          <a:xfrm>
            <a:off x="2082800" y="2643187"/>
            <a:ext cx="1901825" cy="158750"/>
          </a:xfrm>
          <a:prstGeom prst="leftArrow">
            <a:avLst>
              <a:gd name="adj1" fmla="val 50000"/>
              <a:gd name="adj2" fmla="val 40660"/>
            </a:avLst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74CCE898-822C-E590-9E77-687B9308D25B}"/>
              </a:ext>
            </a:extLst>
          </p:cNvPr>
          <p:cNvSpPr/>
          <p:nvPr>
            <p:custDataLst>
              <p:tags r:id="rId101"/>
            </p:custDataLst>
          </p:nvPr>
        </p:nvSpPr>
        <p:spPr bwMode="auto">
          <a:xfrm>
            <a:off x="3465513" y="2952750"/>
            <a:ext cx="1055688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ADADDBEB-698D-5424-158A-F05C14E08FC4}"/>
              </a:ext>
            </a:extLst>
          </p:cNvPr>
          <p:cNvSpPr/>
          <p:nvPr>
            <p:custDataLst>
              <p:tags r:id="rId102"/>
            </p:custDataLst>
          </p:nvPr>
        </p:nvSpPr>
        <p:spPr bwMode="auto">
          <a:xfrm>
            <a:off x="4527551" y="3224213"/>
            <a:ext cx="531813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53" name="Rechteck 452">
            <a:extLst>
              <a:ext uri="{FF2B5EF4-FFF2-40B4-BE49-F238E27FC236}">
                <a16:creationId xmlns:a16="http://schemas.microsoft.com/office/drawing/2014/main" id="{032C3CA8-CB3B-4A20-29FD-5FC7A3108FA8}"/>
              </a:ext>
            </a:extLst>
          </p:cNvPr>
          <p:cNvSpPr/>
          <p:nvPr>
            <p:custDataLst>
              <p:tags r:id="rId103"/>
            </p:custDataLst>
          </p:nvPr>
        </p:nvSpPr>
        <p:spPr bwMode="auto">
          <a:xfrm>
            <a:off x="5781676" y="4335463"/>
            <a:ext cx="352425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9DD55F75-4F49-4DE9-0FFB-90A68C83EFF7}"/>
              </a:ext>
            </a:extLst>
          </p:cNvPr>
          <p:cNvSpPr/>
          <p:nvPr>
            <p:custDataLst>
              <p:tags r:id="rId104"/>
            </p:custDataLst>
          </p:nvPr>
        </p:nvSpPr>
        <p:spPr bwMode="auto">
          <a:xfrm>
            <a:off x="2973388" y="2411413"/>
            <a:ext cx="741363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B65295A2-0319-4ADF-45AF-938180E016E2}"/>
              </a:ext>
            </a:extLst>
          </p:cNvPr>
          <p:cNvSpPr/>
          <p:nvPr>
            <p:custDataLst>
              <p:tags r:id="rId105"/>
            </p:custDataLst>
          </p:nvPr>
        </p:nvSpPr>
        <p:spPr bwMode="auto">
          <a:xfrm>
            <a:off x="4886326" y="3522663"/>
            <a:ext cx="709613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25A509DB-1D85-4FAB-C775-1C487E49F5E5}"/>
              </a:ext>
            </a:extLst>
          </p:cNvPr>
          <p:cNvSpPr/>
          <p:nvPr>
            <p:custDataLst>
              <p:tags r:id="rId106"/>
            </p:custDataLst>
          </p:nvPr>
        </p:nvSpPr>
        <p:spPr bwMode="auto">
          <a:xfrm>
            <a:off x="5245100" y="3794125"/>
            <a:ext cx="619125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DC95E176-8C37-A0C8-6F56-7A3FCD99E51F}"/>
              </a:ext>
            </a:extLst>
          </p:cNvPr>
          <p:cNvSpPr/>
          <p:nvPr>
            <p:custDataLst>
              <p:tags r:id="rId107"/>
            </p:custDataLst>
          </p:nvPr>
        </p:nvSpPr>
        <p:spPr bwMode="auto">
          <a:xfrm>
            <a:off x="5422900" y="4064000"/>
            <a:ext cx="608013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D82464B8-128B-D686-35A6-FB8ABF67027F}"/>
              </a:ext>
            </a:extLst>
          </p:cNvPr>
          <p:cNvSpPr/>
          <p:nvPr>
            <p:custDataLst>
              <p:tags r:id="rId108"/>
            </p:custDataLst>
          </p:nvPr>
        </p:nvSpPr>
        <p:spPr bwMode="auto">
          <a:xfrm>
            <a:off x="5781675" y="4605338"/>
            <a:ext cx="485775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52" name="Rechteck 451">
            <a:extLst>
              <a:ext uri="{FF2B5EF4-FFF2-40B4-BE49-F238E27FC236}">
                <a16:creationId xmlns:a16="http://schemas.microsoft.com/office/drawing/2014/main" id="{D8C9C363-D35A-2ECA-C179-525026CE8064}"/>
              </a:ext>
            </a:extLst>
          </p:cNvPr>
          <p:cNvSpPr/>
          <p:nvPr>
            <p:custDataLst>
              <p:tags r:id="rId109"/>
            </p:custDataLst>
          </p:nvPr>
        </p:nvSpPr>
        <p:spPr bwMode="auto">
          <a:xfrm>
            <a:off x="5961064" y="4876800"/>
            <a:ext cx="441325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3" name="Raute 522">
            <a:extLst>
              <a:ext uri="{FF2B5EF4-FFF2-40B4-BE49-F238E27FC236}">
                <a16:creationId xmlns:a16="http://schemas.microsoft.com/office/drawing/2014/main" id="{EB389939-59B2-5707-A574-FB19F186D674}"/>
              </a:ext>
            </a:extLst>
          </p:cNvPr>
          <p:cNvSpPr/>
          <p:nvPr>
            <p:custDataLst>
              <p:tags r:id="rId110"/>
            </p:custDataLst>
          </p:nvPr>
        </p:nvSpPr>
        <p:spPr bwMode="gray">
          <a:xfrm>
            <a:off x="4470400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5" name="Raute 574">
            <a:extLst>
              <a:ext uri="{FF2B5EF4-FFF2-40B4-BE49-F238E27FC236}">
                <a16:creationId xmlns:a16="http://schemas.microsoft.com/office/drawing/2014/main" id="{231CD557-4744-1990-4276-0A15A89E3855}"/>
              </a:ext>
            </a:extLst>
          </p:cNvPr>
          <p:cNvSpPr/>
          <p:nvPr>
            <p:custDataLst>
              <p:tags r:id="rId111"/>
            </p:custDataLst>
          </p:nvPr>
        </p:nvSpPr>
        <p:spPr bwMode="gray">
          <a:xfrm>
            <a:off x="8834438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2" name="Raute 521">
            <a:extLst>
              <a:ext uri="{FF2B5EF4-FFF2-40B4-BE49-F238E27FC236}">
                <a16:creationId xmlns:a16="http://schemas.microsoft.com/office/drawing/2014/main" id="{9397840B-8967-1E19-135A-01227F075C57}"/>
              </a:ext>
            </a:extLst>
          </p:cNvPr>
          <p:cNvSpPr/>
          <p:nvPr>
            <p:custDataLst>
              <p:tags r:id="rId112"/>
            </p:custDataLst>
          </p:nvPr>
        </p:nvSpPr>
        <p:spPr bwMode="gray">
          <a:xfrm>
            <a:off x="4291013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7" name="Raute 566">
            <a:extLst>
              <a:ext uri="{FF2B5EF4-FFF2-40B4-BE49-F238E27FC236}">
                <a16:creationId xmlns:a16="http://schemas.microsoft.com/office/drawing/2014/main" id="{DCD72D56-B92B-F854-412B-9255C77CBC69}"/>
              </a:ext>
            </a:extLst>
          </p:cNvPr>
          <p:cNvSpPr/>
          <p:nvPr>
            <p:custDataLst>
              <p:tags r:id="rId113"/>
            </p:custDataLst>
          </p:nvPr>
        </p:nvSpPr>
        <p:spPr bwMode="gray">
          <a:xfrm>
            <a:off x="7656513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47" name="Raute 446">
            <a:extLst>
              <a:ext uri="{FF2B5EF4-FFF2-40B4-BE49-F238E27FC236}">
                <a16:creationId xmlns:a16="http://schemas.microsoft.com/office/drawing/2014/main" id="{D921A524-6388-F9E0-7BA6-2EE999D8B64B}"/>
              </a:ext>
            </a:extLst>
          </p:cNvPr>
          <p:cNvSpPr/>
          <p:nvPr>
            <p:custDataLst>
              <p:tags r:id="rId114"/>
            </p:custDataLst>
          </p:nvPr>
        </p:nvSpPr>
        <p:spPr bwMode="gray">
          <a:xfrm>
            <a:off x="2916238" y="23939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4" name="Raute 573">
            <a:extLst>
              <a:ext uri="{FF2B5EF4-FFF2-40B4-BE49-F238E27FC236}">
                <a16:creationId xmlns:a16="http://schemas.microsoft.com/office/drawing/2014/main" id="{408F8BFE-EAFF-F27C-55C7-05C469A146F0}"/>
              </a:ext>
            </a:extLst>
          </p:cNvPr>
          <p:cNvSpPr/>
          <p:nvPr>
            <p:custDataLst>
              <p:tags r:id="rId115"/>
            </p:custDataLst>
          </p:nvPr>
        </p:nvSpPr>
        <p:spPr bwMode="gray">
          <a:xfrm>
            <a:off x="8462963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1" name="Raute 520">
            <a:extLst>
              <a:ext uri="{FF2B5EF4-FFF2-40B4-BE49-F238E27FC236}">
                <a16:creationId xmlns:a16="http://schemas.microsoft.com/office/drawing/2014/main" id="{D4834DFC-68C5-D6F0-B2E3-DBEF07223B19}"/>
              </a:ext>
            </a:extLst>
          </p:cNvPr>
          <p:cNvSpPr/>
          <p:nvPr>
            <p:custDataLst>
              <p:tags r:id="rId116"/>
            </p:custDataLst>
          </p:nvPr>
        </p:nvSpPr>
        <p:spPr bwMode="gray">
          <a:xfrm>
            <a:off x="4111625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4" name="Raute 563">
            <a:extLst>
              <a:ext uri="{FF2B5EF4-FFF2-40B4-BE49-F238E27FC236}">
                <a16:creationId xmlns:a16="http://schemas.microsoft.com/office/drawing/2014/main" id="{9313091D-ADB2-2039-6A52-F8C467D298F4}"/>
              </a:ext>
            </a:extLst>
          </p:cNvPr>
          <p:cNvSpPr/>
          <p:nvPr>
            <p:custDataLst>
              <p:tags r:id="rId117"/>
            </p:custDataLst>
          </p:nvPr>
        </p:nvSpPr>
        <p:spPr bwMode="gray">
          <a:xfrm>
            <a:off x="7464425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16" name="Raute 515">
            <a:extLst>
              <a:ext uri="{FF2B5EF4-FFF2-40B4-BE49-F238E27FC236}">
                <a16:creationId xmlns:a16="http://schemas.microsoft.com/office/drawing/2014/main" id="{66FC49A9-CEDA-1FB5-5F02-4F65E3151649}"/>
              </a:ext>
            </a:extLst>
          </p:cNvPr>
          <p:cNvSpPr/>
          <p:nvPr>
            <p:custDataLst>
              <p:tags r:id="rId118"/>
            </p:custDataLst>
          </p:nvPr>
        </p:nvSpPr>
        <p:spPr bwMode="gray">
          <a:xfrm>
            <a:off x="3408363" y="29352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3" name="Raute 572">
            <a:extLst>
              <a:ext uri="{FF2B5EF4-FFF2-40B4-BE49-F238E27FC236}">
                <a16:creationId xmlns:a16="http://schemas.microsoft.com/office/drawing/2014/main" id="{F738D5F3-C861-D48F-6764-79988FB1479C}"/>
              </a:ext>
            </a:extLst>
          </p:cNvPr>
          <p:cNvSpPr/>
          <p:nvPr>
            <p:custDataLst>
              <p:tags r:id="rId119"/>
            </p:custDataLst>
          </p:nvPr>
        </p:nvSpPr>
        <p:spPr bwMode="gray">
          <a:xfrm>
            <a:off x="8283575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3" name="Raute 562">
            <a:extLst>
              <a:ext uri="{FF2B5EF4-FFF2-40B4-BE49-F238E27FC236}">
                <a16:creationId xmlns:a16="http://schemas.microsoft.com/office/drawing/2014/main" id="{4FC5EFDD-0391-48B4-3A9E-4F46D72FB7BF}"/>
              </a:ext>
            </a:extLst>
          </p:cNvPr>
          <p:cNvSpPr/>
          <p:nvPr>
            <p:custDataLst>
              <p:tags r:id="rId120"/>
            </p:custDataLst>
          </p:nvPr>
        </p:nvSpPr>
        <p:spPr bwMode="gray">
          <a:xfrm>
            <a:off x="7299325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71" name="Raute 470">
            <a:extLst>
              <a:ext uri="{FF2B5EF4-FFF2-40B4-BE49-F238E27FC236}">
                <a16:creationId xmlns:a16="http://schemas.microsoft.com/office/drawing/2014/main" id="{B765A1BA-1589-563F-1E4C-2F2B4DD77B37}"/>
              </a:ext>
            </a:extLst>
          </p:cNvPr>
          <p:cNvSpPr/>
          <p:nvPr>
            <p:custDataLst>
              <p:tags r:id="rId121"/>
            </p:custDataLst>
          </p:nvPr>
        </p:nvSpPr>
        <p:spPr bwMode="gray">
          <a:xfrm>
            <a:off x="3254375" y="29352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19" name="Raute 518">
            <a:extLst>
              <a:ext uri="{FF2B5EF4-FFF2-40B4-BE49-F238E27FC236}">
                <a16:creationId xmlns:a16="http://schemas.microsoft.com/office/drawing/2014/main" id="{C4E99D8D-8E8A-5216-816E-3628D3DE8F0F}"/>
              </a:ext>
            </a:extLst>
          </p:cNvPr>
          <p:cNvSpPr/>
          <p:nvPr>
            <p:custDataLst>
              <p:tags r:id="rId122"/>
            </p:custDataLst>
          </p:nvPr>
        </p:nvSpPr>
        <p:spPr bwMode="gray">
          <a:xfrm>
            <a:off x="3946525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2" name="Raute 571">
            <a:extLst>
              <a:ext uri="{FF2B5EF4-FFF2-40B4-BE49-F238E27FC236}">
                <a16:creationId xmlns:a16="http://schemas.microsoft.com/office/drawing/2014/main" id="{71FBA3C2-E344-37C9-D664-BE85F06A0C78}"/>
              </a:ext>
            </a:extLst>
          </p:cNvPr>
          <p:cNvSpPr/>
          <p:nvPr>
            <p:custDataLst>
              <p:tags r:id="rId123"/>
            </p:custDataLst>
          </p:nvPr>
        </p:nvSpPr>
        <p:spPr bwMode="gray">
          <a:xfrm>
            <a:off x="8194675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67" name="Raute 466">
            <a:extLst>
              <a:ext uri="{FF2B5EF4-FFF2-40B4-BE49-F238E27FC236}">
                <a16:creationId xmlns:a16="http://schemas.microsoft.com/office/drawing/2014/main" id="{728ED1F0-94DE-DCC4-18CC-F35FCC64BBA6}"/>
              </a:ext>
            </a:extLst>
          </p:cNvPr>
          <p:cNvSpPr/>
          <p:nvPr>
            <p:custDataLst>
              <p:tags r:id="rId124"/>
            </p:custDataLst>
          </p:nvPr>
        </p:nvSpPr>
        <p:spPr bwMode="gray">
          <a:xfrm>
            <a:off x="3074988" y="29352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45" name="Raute 544">
            <a:extLst>
              <a:ext uri="{FF2B5EF4-FFF2-40B4-BE49-F238E27FC236}">
                <a16:creationId xmlns:a16="http://schemas.microsoft.com/office/drawing/2014/main" id="{690BFB75-39D2-3327-176F-2814E2C562B9}"/>
              </a:ext>
            </a:extLst>
          </p:cNvPr>
          <p:cNvSpPr/>
          <p:nvPr>
            <p:custDataLst>
              <p:tags r:id="rId125"/>
            </p:custDataLst>
          </p:nvPr>
        </p:nvSpPr>
        <p:spPr bwMode="gray">
          <a:xfrm>
            <a:off x="5724525" y="4587875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99" name="Raute 598">
            <a:extLst>
              <a:ext uri="{FF2B5EF4-FFF2-40B4-BE49-F238E27FC236}">
                <a16:creationId xmlns:a16="http://schemas.microsoft.com/office/drawing/2014/main" id="{A80CC2C4-3B0A-1B53-620B-549879260583}"/>
              </a:ext>
            </a:extLst>
          </p:cNvPr>
          <p:cNvSpPr/>
          <p:nvPr>
            <p:custDataLst>
              <p:tags r:id="rId126"/>
            </p:custDataLst>
          </p:nvPr>
        </p:nvSpPr>
        <p:spPr bwMode="gray">
          <a:xfrm>
            <a:off x="5187950" y="3776663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1" name="Raute 570">
            <a:extLst>
              <a:ext uri="{FF2B5EF4-FFF2-40B4-BE49-F238E27FC236}">
                <a16:creationId xmlns:a16="http://schemas.microsoft.com/office/drawing/2014/main" id="{0E1D5975-9BB6-86B6-0D90-F640FFF02395}"/>
              </a:ext>
            </a:extLst>
          </p:cNvPr>
          <p:cNvSpPr/>
          <p:nvPr>
            <p:custDataLst>
              <p:tags r:id="rId127"/>
            </p:custDataLst>
          </p:nvPr>
        </p:nvSpPr>
        <p:spPr bwMode="gray">
          <a:xfrm>
            <a:off x="8015288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5" name="Raute 564">
            <a:extLst>
              <a:ext uri="{FF2B5EF4-FFF2-40B4-BE49-F238E27FC236}">
                <a16:creationId xmlns:a16="http://schemas.microsoft.com/office/drawing/2014/main" id="{3CA10881-1E4A-7001-D805-76530C00EBBA}"/>
              </a:ext>
            </a:extLst>
          </p:cNvPr>
          <p:cNvSpPr/>
          <p:nvPr>
            <p:custDataLst>
              <p:tags r:id="rId128"/>
            </p:custDataLst>
          </p:nvPr>
        </p:nvSpPr>
        <p:spPr bwMode="gray">
          <a:xfrm>
            <a:off x="6440488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3" name="Raute 552">
            <a:extLst>
              <a:ext uri="{FF2B5EF4-FFF2-40B4-BE49-F238E27FC236}">
                <a16:creationId xmlns:a16="http://schemas.microsoft.com/office/drawing/2014/main" id="{ADA46B95-1720-1DF4-5DEB-489363592AC9}"/>
              </a:ext>
            </a:extLst>
          </p:cNvPr>
          <p:cNvSpPr/>
          <p:nvPr>
            <p:custDataLst>
              <p:tags r:id="rId129"/>
            </p:custDataLst>
          </p:nvPr>
        </p:nvSpPr>
        <p:spPr bwMode="gray">
          <a:xfrm>
            <a:off x="4829175" y="350520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0" name="Raute 519">
            <a:extLst>
              <a:ext uri="{FF2B5EF4-FFF2-40B4-BE49-F238E27FC236}">
                <a16:creationId xmlns:a16="http://schemas.microsoft.com/office/drawing/2014/main" id="{9FBB1586-2218-DB94-028B-562587A0A866}"/>
              </a:ext>
            </a:extLst>
          </p:cNvPr>
          <p:cNvSpPr/>
          <p:nvPr>
            <p:custDataLst>
              <p:tags r:id="rId130"/>
            </p:custDataLst>
          </p:nvPr>
        </p:nvSpPr>
        <p:spPr bwMode="gray">
          <a:xfrm>
            <a:off x="3767138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0" name="Raute 559">
            <a:extLst>
              <a:ext uri="{FF2B5EF4-FFF2-40B4-BE49-F238E27FC236}">
                <a16:creationId xmlns:a16="http://schemas.microsoft.com/office/drawing/2014/main" id="{E35C5014-8C18-7498-1B5A-65EB2957E906}"/>
              </a:ext>
            </a:extLst>
          </p:cNvPr>
          <p:cNvSpPr/>
          <p:nvPr>
            <p:custDataLst>
              <p:tags r:id="rId131"/>
            </p:custDataLst>
          </p:nvPr>
        </p:nvSpPr>
        <p:spPr bwMode="gray">
          <a:xfrm>
            <a:off x="5724525" y="431800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6" name="Raute 555">
            <a:extLst>
              <a:ext uri="{FF2B5EF4-FFF2-40B4-BE49-F238E27FC236}">
                <a16:creationId xmlns:a16="http://schemas.microsoft.com/office/drawing/2014/main" id="{FF1A300B-B190-CBA6-13D1-D5E6821597B8}"/>
              </a:ext>
            </a:extLst>
          </p:cNvPr>
          <p:cNvSpPr/>
          <p:nvPr>
            <p:custDataLst>
              <p:tags r:id="rId132"/>
            </p:custDataLst>
          </p:nvPr>
        </p:nvSpPr>
        <p:spPr bwMode="gray">
          <a:xfrm>
            <a:off x="5008563" y="3776663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8" name="Raute 557">
            <a:extLst>
              <a:ext uri="{FF2B5EF4-FFF2-40B4-BE49-F238E27FC236}">
                <a16:creationId xmlns:a16="http://schemas.microsoft.com/office/drawing/2014/main" id="{DEE3030F-8E2E-5BDF-59E1-A959E47187E5}"/>
              </a:ext>
            </a:extLst>
          </p:cNvPr>
          <p:cNvSpPr/>
          <p:nvPr>
            <p:custDataLst>
              <p:tags r:id="rId133"/>
            </p:custDataLst>
          </p:nvPr>
        </p:nvSpPr>
        <p:spPr bwMode="gray">
          <a:xfrm>
            <a:off x="5365750" y="404653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1" name="Raute 560">
            <a:extLst>
              <a:ext uri="{FF2B5EF4-FFF2-40B4-BE49-F238E27FC236}">
                <a16:creationId xmlns:a16="http://schemas.microsoft.com/office/drawing/2014/main" id="{29BC1357-BFE5-AFD0-4096-562AD2D46A85}"/>
              </a:ext>
            </a:extLst>
          </p:cNvPr>
          <p:cNvSpPr/>
          <p:nvPr>
            <p:custDataLst>
              <p:tags r:id="rId134"/>
            </p:custDataLst>
          </p:nvPr>
        </p:nvSpPr>
        <p:spPr bwMode="gray">
          <a:xfrm>
            <a:off x="5903913" y="485933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2" name="Raute 551">
            <a:extLst>
              <a:ext uri="{FF2B5EF4-FFF2-40B4-BE49-F238E27FC236}">
                <a16:creationId xmlns:a16="http://schemas.microsoft.com/office/drawing/2014/main" id="{545C156C-3BCC-BB66-C305-E25D794CA155}"/>
              </a:ext>
            </a:extLst>
          </p:cNvPr>
          <p:cNvSpPr/>
          <p:nvPr>
            <p:custDataLst>
              <p:tags r:id="rId135"/>
            </p:custDataLst>
          </p:nvPr>
        </p:nvSpPr>
        <p:spPr bwMode="gray">
          <a:xfrm>
            <a:off x="4829175" y="350520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6" name="Raute 565">
            <a:extLst>
              <a:ext uri="{FF2B5EF4-FFF2-40B4-BE49-F238E27FC236}">
                <a16:creationId xmlns:a16="http://schemas.microsoft.com/office/drawing/2014/main" id="{CD51DDFD-FFA2-6A4F-3194-1E39C9DE6D3F}"/>
              </a:ext>
            </a:extLst>
          </p:cNvPr>
          <p:cNvSpPr/>
          <p:nvPr>
            <p:custDataLst>
              <p:tags r:id="rId136"/>
            </p:custDataLst>
          </p:nvPr>
        </p:nvSpPr>
        <p:spPr bwMode="gray">
          <a:xfrm>
            <a:off x="6262688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5" name="Raute 524">
            <a:extLst>
              <a:ext uri="{FF2B5EF4-FFF2-40B4-BE49-F238E27FC236}">
                <a16:creationId xmlns:a16="http://schemas.microsoft.com/office/drawing/2014/main" id="{8E5EF87A-D312-5655-4746-869E30FCE54C}"/>
              </a:ext>
            </a:extLst>
          </p:cNvPr>
          <p:cNvSpPr/>
          <p:nvPr>
            <p:custDataLst>
              <p:tags r:id="rId137"/>
            </p:custDataLst>
          </p:nvPr>
        </p:nvSpPr>
        <p:spPr bwMode="gray">
          <a:xfrm>
            <a:off x="4649788" y="4587875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0" name="Raute 569">
            <a:extLst>
              <a:ext uri="{FF2B5EF4-FFF2-40B4-BE49-F238E27FC236}">
                <a16:creationId xmlns:a16="http://schemas.microsoft.com/office/drawing/2014/main" id="{B5E7AC69-F025-F124-1242-2AE5EB50625C}"/>
              </a:ext>
            </a:extLst>
          </p:cNvPr>
          <p:cNvSpPr/>
          <p:nvPr>
            <p:custDataLst>
              <p:tags r:id="rId138"/>
            </p:custDataLst>
          </p:nvPr>
        </p:nvSpPr>
        <p:spPr bwMode="gray">
          <a:xfrm>
            <a:off x="7926388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18" name="Raute 517">
            <a:extLst>
              <a:ext uri="{FF2B5EF4-FFF2-40B4-BE49-F238E27FC236}">
                <a16:creationId xmlns:a16="http://schemas.microsoft.com/office/drawing/2014/main" id="{E82D1FCC-2788-9794-0D4B-8BF647071C84}"/>
              </a:ext>
            </a:extLst>
          </p:cNvPr>
          <p:cNvSpPr/>
          <p:nvPr>
            <p:custDataLst>
              <p:tags r:id="rId139"/>
            </p:custDataLst>
          </p:nvPr>
        </p:nvSpPr>
        <p:spPr bwMode="gray">
          <a:xfrm>
            <a:off x="3587750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66" name="Raute 465">
            <a:extLst>
              <a:ext uri="{FF2B5EF4-FFF2-40B4-BE49-F238E27FC236}">
                <a16:creationId xmlns:a16="http://schemas.microsoft.com/office/drawing/2014/main" id="{7E1DDD0A-39AD-197D-06D0-6681D8F6D61C}"/>
              </a:ext>
            </a:extLst>
          </p:cNvPr>
          <p:cNvSpPr/>
          <p:nvPr>
            <p:custDataLst>
              <p:tags r:id="rId140"/>
            </p:custDataLst>
          </p:nvPr>
        </p:nvSpPr>
        <p:spPr bwMode="gray">
          <a:xfrm>
            <a:off x="2922588" y="29352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4" name="Raute 523">
            <a:extLst>
              <a:ext uri="{FF2B5EF4-FFF2-40B4-BE49-F238E27FC236}">
                <a16:creationId xmlns:a16="http://schemas.microsoft.com/office/drawing/2014/main" id="{304EDAEC-A7F4-1242-B80A-E59A0757B0C4}"/>
              </a:ext>
            </a:extLst>
          </p:cNvPr>
          <p:cNvSpPr/>
          <p:nvPr>
            <p:custDataLst>
              <p:tags r:id="rId141"/>
            </p:custDataLst>
          </p:nvPr>
        </p:nvSpPr>
        <p:spPr bwMode="gray">
          <a:xfrm>
            <a:off x="4470400" y="4587875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8" name="Raute 567">
            <a:extLst>
              <a:ext uri="{FF2B5EF4-FFF2-40B4-BE49-F238E27FC236}">
                <a16:creationId xmlns:a16="http://schemas.microsoft.com/office/drawing/2014/main" id="{4E095589-574F-E634-2D7C-9FE5EBB009A6}"/>
              </a:ext>
            </a:extLst>
          </p:cNvPr>
          <p:cNvSpPr/>
          <p:nvPr>
            <p:custDataLst>
              <p:tags r:id="rId142"/>
            </p:custDataLst>
          </p:nvPr>
        </p:nvSpPr>
        <p:spPr bwMode="gray">
          <a:xfrm>
            <a:off x="6083300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9" name="Raute 568">
            <a:extLst>
              <a:ext uri="{FF2B5EF4-FFF2-40B4-BE49-F238E27FC236}">
                <a16:creationId xmlns:a16="http://schemas.microsoft.com/office/drawing/2014/main" id="{87668C0E-C837-B309-CE61-38B814564B20}"/>
              </a:ext>
            </a:extLst>
          </p:cNvPr>
          <p:cNvSpPr/>
          <p:nvPr>
            <p:custDataLst>
              <p:tags r:id="rId143"/>
            </p:custDataLst>
          </p:nvPr>
        </p:nvSpPr>
        <p:spPr bwMode="gray">
          <a:xfrm>
            <a:off x="7835900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17" name="Raute 516">
            <a:extLst>
              <a:ext uri="{FF2B5EF4-FFF2-40B4-BE49-F238E27FC236}">
                <a16:creationId xmlns:a16="http://schemas.microsoft.com/office/drawing/2014/main" id="{E207D4FC-C5D3-0389-02BE-DB02D5332932}"/>
              </a:ext>
            </a:extLst>
          </p:cNvPr>
          <p:cNvSpPr/>
          <p:nvPr>
            <p:custDataLst>
              <p:tags r:id="rId144"/>
            </p:custDataLst>
          </p:nvPr>
        </p:nvSpPr>
        <p:spPr bwMode="gray">
          <a:xfrm>
            <a:off x="3408363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2" name="Raute 561">
            <a:extLst>
              <a:ext uri="{FF2B5EF4-FFF2-40B4-BE49-F238E27FC236}">
                <a16:creationId xmlns:a16="http://schemas.microsoft.com/office/drawing/2014/main" id="{67892A32-9F02-98D7-9DF2-2D5709C35F09}"/>
              </a:ext>
            </a:extLst>
          </p:cNvPr>
          <p:cNvSpPr/>
          <p:nvPr>
            <p:custDataLst>
              <p:tags r:id="rId145"/>
            </p:custDataLst>
          </p:nvPr>
        </p:nvSpPr>
        <p:spPr bwMode="gray">
          <a:xfrm>
            <a:off x="5859463" y="485933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2" name="Gleichschenkliges Dreieck 41">
            <a:extLst>
              <a:ext uri="{FF2B5EF4-FFF2-40B4-BE49-F238E27FC236}">
                <a16:creationId xmlns:a16="http://schemas.microsoft.com/office/drawing/2014/main" id="{430C024D-2C0B-49EC-34B4-F6E843D3DBAF}"/>
              </a:ext>
            </a:extLst>
          </p:cNvPr>
          <p:cNvSpPr/>
          <p:nvPr>
            <p:custDataLst>
              <p:tags r:id="rId146"/>
            </p:custDataLst>
          </p:nvPr>
        </p:nvSpPr>
        <p:spPr bwMode="gray">
          <a:xfrm>
            <a:off x="2673350" y="5749925"/>
            <a:ext cx="114300" cy="114300"/>
          </a:xfrm>
          <a:prstGeom prst="triangle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5" name="Raute 554">
            <a:extLst>
              <a:ext uri="{FF2B5EF4-FFF2-40B4-BE49-F238E27FC236}">
                <a16:creationId xmlns:a16="http://schemas.microsoft.com/office/drawing/2014/main" id="{974AFD42-0F71-E805-0355-BA61384F5D7F}"/>
              </a:ext>
            </a:extLst>
          </p:cNvPr>
          <p:cNvSpPr/>
          <p:nvPr>
            <p:custDataLst>
              <p:tags r:id="rId147"/>
            </p:custDataLst>
          </p:nvPr>
        </p:nvSpPr>
        <p:spPr bwMode="gray">
          <a:xfrm>
            <a:off x="4995863" y="3776663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7" name="Raute 556">
            <a:extLst>
              <a:ext uri="{FF2B5EF4-FFF2-40B4-BE49-F238E27FC236}">
                <a16:creationId xmlns:a16="http://schemas.microsoft.com/office/drawing/2014/main" id="{56DA4F02-E75F-9946-CB17-4FA94D466BFC}"/>
              </a:ext>
            </a:extLst>
          </p:cNvPr>
          <p:cNvSpPr/>
          <p:nvPr>
            <p:custDataLst>
              <p:tags r:id="rId148"/>
            </p:custDataLst>
          </p:nvPr>
        </p:nvSpPr>
        <p:spPr bwMode="gray">
          <a:xfrm>
            <a:off x="5187950" y="404653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" name="Raute 54">
            <a:extLst>
              <a:ext uri="{FF2B5EF4-FFF2-40B4-BE49-F238E27FC236}">
                <a16:creationId xmlns:a16="http://schemas.microsoft.com/office/drawing/2014/main" id="{B60F2612-4406-E619-F1D9-7E86A181A6F9}"/>
              </a:ext>
            </a:extLst>
          </p:cNvPr>
          <p:cNvSpPr/>
          <p:nvPr>
            <p:custDataLst>
              <p:tags r:id="rId149"/>
            </p:custDataLst>
          </p:nvPr>
        </p:nvSpPr>
        <p:spPr bwMode="gray">
          <a:xfrm>
            <a:off x="2519363" y="29352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9" name="Raute 558">
            <a:extLst>
              <a:ext uri="{FF2B5EF4-FFF2-40B4-BE49-F238E27FC236}">
                <a16:creationId xmlns:a16="http://schemas.microsoft.com/office/drawing/2014/main" id="{46A3FCB6-861C-DDC0-D240-D593FB0D2A76}"/>
              </a:ext>
            </a:extLst>
          </p:cNvPr>
          <p:cNvSpPr/>
          <p:nvPr>
            <p:custDataLst>
              <p:tags r:id="rId150"/>
            </p:custDataLst>
          </p:nvPr>
        </p:nvSpPr>
        <p:spPr bwMode="gray">
          <a:xfrm>
            <a:off x="5545138" y="431800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1" name="Raute 550">
            <a:extLst>
              <a:ext uri="{FF2B5EF4-FFF2-40B4-BE49-F238E27FC236}">
                <a16:creationId xmlns:a16="http://schemas.microsoft.com/office/drawing/2014/main" id="{0DA6C434-DEC1-B668-462E-C83417192E42}"/>
              </a:ext>
            </a:extLst>
          </p:cNvPr>
          <p:cNvSpPr/>
          <p:nvPr>
            <p:custDataLst>
              <p:tags r:id="rId151"/>
            </p:custDataLst>
          </p:nvPr>
        </p:nvSpPr>
        <p:spPr bwMode="gray">
          <a:xfrm>
            <a:off x="4649788" y="350520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102" name="text">
            <a:extLst>
              <a:ext uri="{FF2B5EF4-FFF2-40B4-BE49-F238E27FC236}">
                <a16:creationId xmlns:a16="http://schemas.microsoft.com/office/drawing/2014/main" id="{4EBF83C5-14D4-2775-CB40-106301225C39}"/>
              </a:ext>
            </a:extLst>
          </p:cNvPr>
          <p:cNvSpPr>
            <a:spLocks noGrp="1"/>
          </p:cNvSpPr>
          <p:nvPr>
            <p:custDataLst>
              <p:tags r:id="rId152"/>
            </p:custDataLst>
          </p:nvPr>
        </p:nvSpPr>
        <p:spPr bwMode="auto">
          <a:xfrm>
            <a:off x="10460038" y="5116513"/>
            <a:ext cx="11318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 / Curve</a:t>
            </a:r>
          </a:p>
        </p:txBody>
      </p:sp>
      <p:sp>
        <p:nvSpPr>
          <p:cNvPr id="74" name="text">
            <a:extLst>
              <a:ext uri="{FF2B5EF4-FFF2-40B4-BE49-F238E27FC236}">
                <a16:creationId xmlns:a16="http://schemas.microsoft.com/office/drawing/2014/main" id="{77091D7D-73C3-3A96-FB16-8C219198F48D}"/>
              </a:ext>
            </a:extLst>
          </p:cNvPr>
          <p:cNvSpPr>
            <a:spLocks noGrp="1"/>
          </p:cNvSpPr>
          <p:nvPr>
            <p:custDataLst>
              <p:tags r:id="rId153"/>
            </p:custDataLst>
          </p:nvPr>
        </p:nvSpPr>
        <p:spPr bwMode="auto">
          <a:xfrm>
            <a:off x="10460038" y="2352675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effectLst/>
              </a:rPr>
              <a:t>Curve</a:t>
            </a:r>
            <a:endParaRPr lang="en-US" dirty="0"/>
          </a:p>
        </p:txBody>
      </p:sp>
      <p:sp>
        <p:nvSpPr>
          <p:cNvPr id="6" name="text">
            <a:extLst>
              <a:ext uri="{FF2B5EF4-FFF2-40B4-BE49-F238E27FC236}">
                <a16:creationId xmlns:a16="http://schemas.microsoft.com/office/drawing/2014/main" id="{070D2882-D066-FF7C-FBA0-27623B2F141A}"/>
              </a:ext>
            </a:extLst>
          </p:cNvPr>
          <p:cNvSpPr>
            <a:spLocks noGrp="1"/>
          </p:cNvSpPr>
          <p:nvPr>
            <p:custDataLst>
              <p:tags r:id="rId154"/>
            </p:custDataLst>
          </p:nvPr>
        </p:nvSpPr>
        <p:spPr bwMode="auto">
          <a:xfrm>
            <a:off x="596900" y="2352675"/>
            <a:ext cx="10763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>
                <a:effectLst/>
              </a:rPr>
              <a:t>Type </a:t>
            </a:r>
            <a:r>
              <a:rPr lang="en-US" altLang="en-US" dirty="0">
                <a:effectLst/>
              </a:rPr>
              <a:t>2.5 B1-B6</a:t>
            </a:r>
            <a:endParaRPr lang="en-US" dirty="0"/>
          </a:p>
        </p:txBody>
      </p:sp>
      <p:sp>
        <p:nvSpPr>
          <p:cNvPr id="88" name="text">
            <a:extLst>
              <a:ext uri="{FF2B5EF4-FFF2-40B4-BE49-F238E27FC236}">
                <a16:creationId xmlns:a16="http://schemas.microsoft.com/office/drawing/2014/main" id="{BFA039CD-A721-D18B-A4A9-2A20AEA757F7}"/>
              </a:ext>
            </a:extLst>
          </p:cNvPr>
          <p:cNvSpPr>
            <a:spLocks noGrp="1"/>
          </p:cNvSpPr>
          <p:nvPr>
            <p:custDataLst>
              <p:tags r:id="rId155"/>
            </p:custDataLst>
          </p:nvPr>
        </p:nvSpPr>
        <p:spPr bwMode="auto">
          <a:xfrm>
            <a:off x="596900" y="5116513"/>
            <a:ext cx="10763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/>
              <a:t>Type </a:t>
            </a:r>
            <a:r>
              <a:rPr lang="en-US" altLang="en-US" dirty="0"/>
              <a:t>2.9 B1-B6</a:t>
            </a:r>
            <a:endParaRPr lang="en-US" dirty="0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4B037C51-181B-0792-8AF6-5DABDEF35406}"/>
              </a:ext>
            </a:extLst>
          </p:cNvPr>
          <p:cNvSpPr>
            <a:spLocks noGrp="1"/>
          </p:cNvSpPr>
          <p:nvPr>
            <p:custDataLst>
              <p:tags r:id="rId156"/>
            </p:custDataLst>
          </p:nvPr>
        </p:nvSpPr>
        <p:spPr bwMode="auto">
          <a:xfrm>
            <a:off x="596900" y="2894013"/>
            <a:ext cx="11795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effectLst/>
              </a:rPr>
              <a:t>Type 1.6A B1-B6</a:t>
            </a:r>
            <a:endParaRPr lang="en-US" dirty="0"/>
          </a:p>
        </p:txBody>
      </p:sp>
      <p:sp>
        <p:nvSpPr>
          <p:cNvPr id="96" name="text">
            <a:extLst>
              <a:ext uri="{FF2B5EF4-FFF2-40B4-BE49-F238E27FC236}">
                <a16:creationId xmlns:a16="http://schemas.microsoft.com/office/drawing/2014/main" id="{5E8FC444-FDC4-214F-ED39-5E8F5CFA8AC1}"/>
              </a:ext>
            </a:extLst>
          </p:cNvPr>
          <p:cNvSpPr>
            <a:spLocks noGrp="1"/>
          </p:cNvSpPr>
          <p:nvPr>
            <p:custDataLst>
              <p:tags r:id="rId157"/>
            </p:custDataLst>
          </p:nvPr>
        </p:nvSpPr>
        <p:spPr bwMode="auto">
          <a:xfrm>
            <a:off x="10460038" y="4276725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  <a:endParaRPr lang="en-US" dirty="0"/>
          </a:p>
        </p:txBody>
      </p:sp>
      <p:sp>
        <p:nvSpPr>
          <p:cNvPr id="41" name="text">
            <a:extLst>
              <a:ext uri="{FF2B5EF4-FFF2-40B4-BE49-F238E27FC236}">
                <a16:creationId xmlns:a16="http://schemas.microsoft.com/office/drawing/2014/main" id="{9EB47E89-20F4-DD7B-C38C-0EB7CBDD1DDC}"/>
              </a:ext>
            </a:extLst>
          </p:cNvPr>
          <p:cNvSpPr>
            <a:spLocks noGrp="1"/>
          </p:cNvSpPr>
          <p:nvPr>
            <p:custDataLst>
              <p:tags r:id="rId158"/>
            </p:custDataLst>
          </p:nvPr>
        </p:nvSpPr>
        <p:spPr bwMode="auto">
          <a:xfrm>
            <a:off x="2346325" y="5886450"/>
            <a:ext cx="7699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B5857AE-A69B-49E6-B0EF-C0E89D1D18B4}" type="datetime'''''''''9/2''''''''''''''''''''2/''''''20''''''''2''''''5'''">
              <a:rPr lang="en-US" altLang="en-US" smtClean="0"/>
              <a:pPr/>
              <a:t>9/22/2025</a:t>
            </a:fld>
            <a:endParaRPr lang="en-US" dirty="0"/>
          </a:p>
        </p:txBody>
      </p:sp>
      <p:sp>
        <p:nvSpPr>
          <p:cNvPr id="450" name="text">
            <a:extLst>
              <a:ext uri="{FF2B5EF4-FFF2-40B4-BE49-F238E27FC236}">
                <a16:creationId xmlns:a16="http://schemas.microsoft.com/office/drawing/2014/main" id="{B1C2110F-20A3-B127-1AA3-F8BE9C72E2B7}"/>
              </a:ext>
            </a:extLst>
          </p:cNvPr>
          <p:cNvSpPr>
            <a:spLocks noGrp="1"/>
          </p:cNvSpPr>
          <p:nvPr>
            <p:custDataLst>
              <p:tags r:id="rId159"/>
            </p:custDataLst>
          </p:nvPr>
        </p:nvSpPr>
        <p:spPr bwMode="auto">
          <a:xfrm>
            <a:off x="1776413" y="2139950"/>
            <a:ext cx="350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EBF3DDBE-A98C-4EAD-9052-5493DB14FD65}" type="datetime'''''''''M''''''''''''''''''o''n''''t''''''''''''''''h'''''''''">
              <a:rPr lang="en-US" altLang="en-US" sz="1000" smtClean="0"/>
              <a:pPr/>
              <a:t>Month</a:t>
            </a:fld>
            <a:endParaRPr lang="en-US" sz="1000" dirty="0"/>
          </a:p>
        </p:txBody>
      </p:sp>
      <p:sp>
        <p:nvSpPr>
          <p:cNvPr id="69" name="text">
            <a:extLst>
              <a:ext uri="{FF2B5EF4-FFF2-40B4-BE49-F238E27FC236}">
                <a16:creationId xmlns:a16="http://schemas.microsoft.com/office/drawing/2014/main" id="{9B792521-7668-B02D-A363-BEBBD4B18376}"/>
              </a:ext>
            </a:extLst>
          </p:cNvPr>
          <p:cNvSpPr>
            <a:spLocks noGrp="1"/>
          </p:cNvSpPr>
          <p:nvPr>
            <p:custDataLst>
              <p:tags r:id="rId160"/>
            </p:custDataLst>
          </p:nvPr>
        </p:nvSpPr>
        <p:spPr bwMode="auto">
          <a:xfrm>
            <a:off x="596900" y="3463925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Type 2.123 S2</a:t>
            </a:r>
            <a:endParaRPr lang="en-US" dirty="0"/>
          </a:p>
        </p:txBody>
      </p:sp>
      <p:sp>
        <p:nvSpPr>
          <p:cNvPr id="92" name="text">
            <a:extLst>
              <a:ext uri="{FF2B5EF4-FFF2-40B4-BE49-F238E27FC236}">
                <a16:creationId xmlns:a16="http://schemas.microsoft.com/office/drawing/2014/main" id="{E0B69C24-EFDB-52BF-B7AB-D752AD6561D6}"/>
              </a:ext>
            </a:extLst>
          </p:cNvPr>
          <p:cNvSpPr>
            <a:spLocks noGrp="1"/>
          </p:cNvSpPr>
          <p:nvPr>
            <p:custDataLst>
              <p:tags r:id="rId161"/>
            </p:custDataLst>
          </p:nvPr>
        </p:nvSpPr>
        <p:spPr bwMode="auto">
          <a:xfrm>
            <a:off x="10460038" y="3463925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  <a:endParaRPr lang="en-US" dirty="0"/>
          </a:p>
        </p:txBody>
      </p:sp>
      <p:sp>
        <p:nvSpPr>
          <p:cNvPr id="100" name="text">
            <a:extLst>
              <a:ext uri="{FF2B5EF4-FFF2-40B4-BE49-F238E27FC236}">
                <a16:creationId xmlns:a16="http://schemas.microsoft.com/office/drawing/2014/main" id="{48C08256-87D6-4ED3-D613-8CEA65F024EA}"/>
              </a:ext>
            </a:extLst>
          </p:cNvPr>
          <p:cNvSpPr>
            <a:spLocks noGrp="1"/>
          </p:cNvSpPr>
          <p:nvPr>
            <p:custDataLst>
              <p:tags r:id="rId162"/>
            </p:custDataLst>
          </p:nvPr>
        </p:nvSpPr>
        <p:spPr bwMode="auto">
          <a:xfrm>
            <a:off x="10460038" y="4818063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</a:p>
        </p:txBody>
      </p:sp>
      <p:sp>
        <p:nvSpPr>
          <p:cNvPr id="86" name="text">
            <a:extLst>
              <a:ext uri="{FF2B5EF4-FFF2-40B4-BE49-F238E27FC236}">
                <a16:creationId xmlns:a16="http://schemas.microsoft.com/office/drawing/2014/main" id="{1EB0AF57-4DEF-03AB-76DC-D2892F86B8BE}"/>
              </a:ext>
            </a:extLst>
          </p:cNvPr>
          <p:cNvSpPr>
            <a:spLocks noGrp="1"/>
          </p:cNvSpPr>
          <p:nvPr>
            <p:custDataLst>
              <p:tags r:id="rId163"/>
            </p:custDataLst>
          </p:nvPr>
        </p:nvSpPr>
        <p:spPr bwMode="auto">
          <a:xfrm>
            <a:off x="596900" y="4818063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/>
              <a:t>Type </a:t>
            </a:r>
            <a:r>
              <a:rPr lang="en-US" altLang="en-US" dirty="0"/>
              <a:t>2.123 S5</a:t>
            </a:r>
            <a:endParaRPr lang="en-US" dirty="0"/>
          </a:p>
        </p:txBody>
      </p:sp>
      <p:sp>
        <p:nvSpPr>
          <p:cNvPr id="71" name="text">
            <a:extLst>
              <a:ext uri="{FF2B5EF4-FFF2-40B4-BE49-F238E27FC236}">
                <a16:creationId xmlns:a16="http://schemas.microsoft.com/office/drawing/2014/main" id="{5DF969C0-0F69-A0B0-9ABC-4D8A11DE7CFC}"/>
              </a:ext>
            </a:extLst>
          </p:cNvPr>
          <p:cNvSpPr>
            <a:spLocks noGrp="1"/>
          </p:cNvSpPr>
          <p:nvPr>
            <p:custDataLst>
              <p:tags r:id="rId164"/>
            </p:custDataLst>
          </p:nvPr>
        </p:nvSpPr>
        <p:spPr bwMode="auto">
          <a:xfrm>
            <a:off x="10460038" y="2079625"/>
            <a:ext cx="8874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BCA7072-2ED5-4C4C-B531-C859FFC5020F}" type="datetime'R''''''''esp''o''''n''s''i''''''b''''''''l''''''e'''''">
              <a:rPr lang="en-US" altLang="en-US" b="1" smtClean="0">
                <a:effectLst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Responsible</a:t>
            </a:fld>
            <a:endParaRPr lang="en-US" b="1" dirty="0"/>
          </a:p>
        </p:txBody>
      </p:sp>
      <p:sp>
        <p:nvSpPr>
          <p:cNvPr id="82" name="text">
            <a:extLst>
              <a:ext uri="{FF2B5EF4-FFF2-40B4-BE49-F238E27FC236}">
                <a16:creationId xmlns:a16="http://schemas.microsoft.com/office/drawing/2014/main" id="{F1082B8A-70AE-9386-11AB-C2716E62E529}"/>
              </a:ext>
            </a:extLst>
          </p:cNvPr>
          <p:cNvSpPr>
            <a:spLocks noGrp="1"/>
          </p:cNvSpPr>
          <p:nvPr>
            <p:custDataLst>
              <p:tags r:id="rId165"/>
            </p:custDataLst>
          </p:nvPr>
        </p:nvSpPr>
        <p:spPr bwMode="auto">
          <a:xfrm>
            <a:off x="10460038" y="4546600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Straight</a:t>
            </a:r>
          </a:p>
        </p:txBody>
      </p:sp>
      <p:sp>
        <p:nvSpPr>
          <p:cNvPr id="67" name="text">
            <a:extLst>
              <a:ext uri="{FF2B5EF4-FFF2-40B4-BE49-F238E27FC236}">
                <a16:creationId xmlns:a16="http://schemas.microsoft.com/office/drawing/2014/main" id="{88BF6EA4-8170-E2C1-35E3-CA83E9D09674}"/>
              </a:ext>
            </a:extLst>
          </p:cNvPr>
          <p:cNvSpPr>
            <a:spLocks noGrp="1"/>
          </p:cNvSpPr>
          <p:nvPr>
            <p:custDataLst>
              <p:tags r:id="rId166"/>
            </p:custDataLst>
          </p:nvPr>
        </p:nvSpPr>
        <p:spPr bwMode="auto">
          <a:xfrm>
            <a:off x="596900" y="4546600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Type 2.123 S1</a:t>
            </a:r>
            <a:endParaRPr lang="en-US" dirty="0"/>
          </a:p>
        </p:txBody>
      </p:sp>
      <p:sp>
        <p:nvSpPr>
          <p:cNvPr id="84" name="text">
            <a:extLst>
              <a:ext uri="{FF2B5EF4-FFF2-40B4-BE49-F238E27FC236}">
                <a16:creationId xmlns:a16="http://schemas.microsoft.com/office/drawing/2014/main" id="{3C6D582E-3719-17B0-ED33-59BE7897AEBA}"/>
              </a:ext>
            </a:extLst>
          </p:cNvPr>
          <p:cNvSpPr>
            <a:spLocks noGrp="1"/>
          </p:cNvSpPr>
          <p:nvPr>
            <p:custDataLst>
              <p:tags r:id="rId167"/>
            </p:custDataLst>
          </p:nvPr>
        </p:nvSpPr>
        <p:spPr bwMode="auto">
          <a:xfrm>
            <a:off x="596900" y="3735388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Type 2.123 S3</a:t>
            </a:r>
            <a:endParaRPr lang="en-US" dirty="0"/>
          </a:p>
        </p:txBody>
      </p:sp>
      <p:sp>
        <p:nvSpPr>
          <p:cNvPr id="98" name="text">
            <a:extLst>
              <a:ext uri="{FF2B5EF4-FFF2-40B4-BE49-F238E27FC236}">
                <a16:creationId xmlns:a16="http://schemas.microsoft.com/office/drawing/2014/main" id="{F1A50F2C-DCE1-33B6-FD3D-6FE6EB786EDA}"/>
              </a:ext>
            </a:extLst>
          </p:cNvPr>
          <p:cNvSpPr>
            <a:spLocks noGrp="1"/>
          </p:cNvSpPr>
          <p:nvPr>
            <p:custDataLst>
              <p:tags r:id="rId168"/>
            </p:custDataLst>
          </p:nvPr>
        </p:nvSpPr>
        <p:spPr bwMode="auto">
          <a:xfrm>
            <a:off x="10460038" y="3735388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</a:p>
        </p:txBody>
      </p:sp>
      <p:sp>
        <p:nvSpPr>
          <p:cNvPr id="80" name="text">
            <a:extLst>
              <a:ext uri="{FF2B5EF4-FFF2-40B4-BE49-F238E27FC236}">
                <a16:creationId xmlns:a16="http://schemas.microsoft.com/office/drawing/2014/main" id="{1B232DB9-E94D-509E-6317-6442D62E7B16}"/>
              </a:ext>
            </a:extLst>
          </p:cNvPr>
          <p:cNvSpPr>
            <a:spLocks noGrp="1"/>
          </p:cNvSpPr>
          <p:nvPr>
            <p:custDataLst>
              <p:tags r:id="rId169"/>
            </p:custDataLst>
          </p:nvPr>
        </p:nvSpPr>
        <p:spPr bwMode="auto">
          <a:xfrm>
            <a:off x="10460038" y="3165475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Curve</a:t>
            </a:r>
            <a:endParaRPr lang="en-US" dirty="0"/>
          </a:p>
        </p:txBody>
      </p:sp>
      <p:sp>
        <p:nvSpPr>
          <p:cNvPr id="14" name="text">
            <a:extLst>
              <a:ext uri="{FF2B5EF4-FFF2-40B4-BE49-F238E27FC236}">
                <a16:creationId xmlns:a16="http://schemas.microsoft.com/office/drawing/2014/main" id="{171E3645-F031-08D7-7D70-D58C0B42EB59}"/>
              </a:ext>
            </a:extLst>
          </p:cNvPr>
          <p:cNvSpPr>
            <a:spLocks noGrp="1"/>
          </p:cNvSpPr>
          <p:nvPr>
            <p:custDataLst>
              <p:tags r:id="rId170"/>
            </p:custDataLst>
          </p:nvPr>
        </p:nvSpPr>
        <p:spPr bwMode="auto">
          <a:xfrm>
            <a:off x="596900" y="2079625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DEC0F1C-E2C4-47F0-806C-88D7F6BAC7C9}" type="datetime'''''''A''''''''''c''t''i''''''''v''''ity'''''''''''''''''">
              <a:rPr lang="en-US" altLang="en-US" b="1" smtClean="0">
                <a:effectLst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lang="en-US" b="1" dirty="0"/>
          </a:p>
        </p:txBody>
      </p:sp>
      <p:sp>
        <p:nvSpPr>
          <p:cNvPr id="78" name="text">
            <a:extLst>
              <a:ext uri="{FF2B5EF4-FFF2-40B4-BE49-F238E27FC236}">
                <a16:creationId xmlns:a16="http://schemas.microsoft.com/office/drawing/2014/main" id="{EF6BDE7B-7637-B96C-3165-7726956A5AFB}"/>
              </a:ext>
            </a:extLst>
          </p:cNvPr>
          <p:cNvSpPr>
            <a:spLocks noGrp="1"/>
          </p:cNvSpPr>
          <p:nvPr>
            <p:custDataLst>
              <p:tags r:id="rId171"/>
            </p:custDataLst>
          </p:nvPr>
        </p:nvSpPr>
        <p:spPr bwMode="auto">
          <a:xfrm>
            <a:off x="10460038" y="2894013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Curve</a:t>
            </a:r>
            <a:endParaRPr lang="en-US" dirty="0"/>
          </a:p>
        </p:txBody>
      </p:sp>
      <p:sp>
        <p:nvSpPr>
          <p:cNvPr id="12" name="text">
            <a:extLst>
              <a:ext uri="{FF2B5EF4-FFF2-40B4-BE49-F238E27FC236}">
                <a16:creationId xmlns:a16="http://schemas.microsoft.com/office/drawing/2014/main" id="{4F604EE8-6EB4-251F-F01E-0AF6586CBE62}"/>
              </a:ext>
            </a:extLst>
          </p:cNvPr>
          <p:cNvSpPr>
            <a:spLocks noGrp="1"/>
          </p:cNvSpPr>
          <p:nvPr>
            <p:custDataLst>
              <p:tags r:id="rId172"/>
            </p:custDataLst>
          </p:nvPr>
        </p:nvSpPr>
        <p:spPr bwMode="auto">
          <a:xfrm>
            <a:off x="596900" y="4005263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/>
              <a:t>Type </a:t>
            </a:r>
            <a:r>
              <a:rPr lang="en-US" altLang="en-US" dirty="0"/>
              <a:t>2.123 S4</a:t>
            </a:r>
            <a:endParaRPr lang="en-US" dirty="0"/>
          </a:p>
        </p:txBody>
      </p:sp>
      <p:sp>
        <p:nvSpPr>
          <p:cNvPr id="104" name="text">
            <a:extLst>
              <a:ext uri="{FF2B5EF4-FFF2-40B4-BE49-F238E27FC236}">
                <a16:creationId xmlns:a16="http://schemas.microsoft.com/office/drawing/2014/main" id="{792F56C4-B704-9D0D-16A2-4D7F23C6FAF9}"/>
              </a:ext>
            </a:extLst>
          </p:cNvPr>
          <p:cNvSpPr>
            <a:spLocks noGrp="1"/>
          </p:cNvSpPr>
          <p:nvPr>
            <p:custDataLst>
              <p:tags r:id="rId173"/>
            </p:custDataLst>
          </p:nvPr>
        </p:nvSpPr>
        <p:spPr bwMode="auto">
          <a:xfrm>
            <a:off x="10460038" y="5387975"/>
            <a:ext cx="11318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 / Curve</a:t>
            </a:r>
          </a:p>
        </p:txBody>
      </p:sp>
      <p:sp>
        <p:nvSpPr>
          <p:cNvPr id="94" name="text">
            <a:extLst>
              <a:ext uri="{FF2B5EF4-FFF2-40B4-BE49-F238E27FC236}">
                <a16:creationId xmlns:a16="http://schemas.microsoft.com/office/drawing/2014/main" id="{0C3598AA-63A8-C77E-4ADD-B6C2D6A594B6}"/>
              </a:ext>
            </a:extLst>
          </p:cNvPr>
          <p:cNvSpPr>
            <a:spLocks noGrp="1"/>
          </p:cNvSpPr>
          <p:nvPr>
            <p:custDataLst>
              <p:tags r:id="rId174"/>
            </p:custDataLst>
          </p:nvPr>
        </p:nvSpPr>
        <p:spPr bwMode="auto">
          <a:xfrm>
            <a:off x="10460038" y="4005263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  <a:endParaRPr lang="en-US" dirty="0"/>
          </a:p>
        </p:txBody>
      </p:sp>
      <p:sp>
        <p:nvSpPr>
          <p:cNvPr id="11" name="text">
            <a:extLst>
              <a:ext uri="{FF2B5EF4-FFF2-40B4-BE49-F238E27FC236}">
                <a16:creationId xmlns:a16="http://schemas.microsoft.com/office/drawing/2014/main" id="{E8AE14DD-CE0D-5CEC-B1E2-F9BB1229A825}"/>
              </a:ext>
            </a:extLst>
          </p:cNvPr>
          <p:cNvSpPr>
            <a:spLocks noGrp="1"/>
          </p:cNvSpPr>
          <p:nvPr>
            <p:custDataLst>
              <p:tags r:id="rId175"/>
            </p:custDataLst>
          </p:nvPr>
        </p:nvSpPr>
        <p:spPr bwMode="auto">
          <a:xfrm>
            <a:off x="596900" y="3165475"/>
            <a:ext cx="1171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effectLst/>
              </a:rPr>
              <a:t>Type 2.8C B1-B6</a:t>
            </a:r>
            <a:endParaRPr lang="en-US" dirty="0"/>
          </a:p>
        </p:txBody>
      </p:sp>
      <p:sp>
        <p:nvSpPr>
          <p:cNvPr id="90" name="text">
            <a:extLst>
              <a:ext uri="{FF2B5EF4-FFF2-40B4-BE49-F238E27FC236}">
                <a16:creationId xmlns:a16="http://schemas.microsoft.com/office/drawing/2014/main" id="{6EC73398-AF31-F4AD-4910-56170DAD1C12}"/>
              </a:ext>
            </a:extLst>
          </p:cNvPr>
          <p:cNvSpPr>
            <a:spLocks noGrp="1"/>
          </p:cNvSpPr>
          <p:nvPr>
            <p:custDataLst>
              <p:tags r:id="rId176"/>
            </p:custDataLst>
          </p:nvPr>
        </p:nvSpPr>
        <p:spPr bwMode="auto">
          <a:xfrm>
            <a:off x="596900" y="5387975"/>
            <a:ext cx="14144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/>
              <a:t>Type </a:t>
            </a:r>
            <a:r>
              <a:rPr lang="en-US" altLang="en-US" dirty="0"/>
              <a:t>1.E / 2.4 S1-S6</a:t>
            </a:r>
            <a:endParaRPr lang="en-US" dirty="0"/>
          </a:p>
        </p:txBody>
      </p:sp>
      <p:sp>
        <p:nvSpPr>
          <p:cNvPr id="8" name="text">
            <a:extLst>
              <a:ext uri="{FF2B5EF4-FFF2-40B4-BE49-F238E27FC236}">
                <a16:creationId xmlns:a16="http://schemas.microsoft.com/office/drawing/2014/main" id="{2074A5B7-0D17-6432-ABB0-E4C85018DC54}"/>
              </a:ext>
            </a:extLst>
          </p:cNvPr>
          <p:cNvSpPr>
            <a:spLocks noGrp="1"/>
          </p:cNvSpPr>
          <p:nvPr>
            <p:custDataLst>
              <p:tags r:id="rId177"/>
            </p:custDataLst>
          </p:nvPr>
        </p:nvSpPr>
        <p:spPr bwMode="auto">
          <a:xfrm>
            <a:off x="596900" y="2624138"/>
            <a:ext cx="11731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effectLst/>
              </a:rPr>
              <a:t>Type 1.7B B1-B6</a:t>
            </a:r>
            <a:endParaRPr lang="en-US" dirty="0"/>
          </a:p>
        </p:txBody>
      </p:sp>
      <p:sp>
        <p:nvSpPr>
          <p:cNvPr id="13" name="text">
            <a:extLst>
              <a:ext uri="{FF2B5EF4-FFF2-40B4-BE49-F238E27FC236}">
                <a16:creationId xmlns:a16="http://schemas.microsoft.com/office/drawing/2014/main" id="{59DE3093-79B9-3049-188C-2BEE10D16F94}"/>
              </a:ext>
            </a:extLst>
          </p:cNvPr>
          <p:cNvSpPr>
            <a:spLocks noGrp="1"/>
          </p:cNvSpPr>
          <p:nvPr>
            <p:custDataLst>
              <p:tags r:id="rId178"/>
            </p:custDataLst>
          </p:nvPr>
        </p:nvSpPr>
        <p:spPr bwMode="auto">
          <a:xfrm>
            <a:off x="596900" y="4276725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Type 2.123 S6</a:t>
            </a:r>
            <a:endParaRPr lang="en-US" dirty="0"/>
          </a:p>
        </p:txBody>
      </p:sp>
      <p:sp>
        <p:nvSpPr>
          <p:cNvPr id="76" name="text">
            <a:extLst>
              <a:ext uri="{FF2B5EF4-FFF2-40B4-BE49-F238E27FC236}">
                <a16:creationId xmlns:a16="http://schemas.microsoft.com/office/drawing/2014/main" id="{8D29DFBE-345B-CCB4-E4FF-4E313D45DBB9}"/>
              </a:ext>
            </a:extLst>
          </p:cNvPr>
          <p:cNvSpPr>
            <a:spLocks noGrp="1"/>
          </p:cNvSpPr>
          <p:nvPr>
            <p:custDataLst>
              <p:tags r:id="rId179"/>
            </p:custDataLst>
          </p:nvPr>
        </p:nvSpPr>
        <p:spPr bwMode="auto">
          <a:xfrm>
            <a:off x="10460038" y="2624138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Curve</a:t>
            </a:r>
            <a:endParaRPr lang="en-US" dirty="0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EBAA4925-4C87-C77B-6C29-75D3F18979A6}"/>
              </a:ext>
            </a:extLst>
          </p:cNvPr>
          <p:cNvSpPr/>
          <p:nvPr/>
        </p:nvSpPr>
        <p:spPr>
          <a:xfrm>
            <a:off x="4360863" y="4480733"/>
            <a:ext cx="1598612" cy="32954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31" name="Textfeld 430">
            <a:extLst>
              <a:ext uri="{FF2B5EF4-FFF2-40B4-BE49-F238E27FC236}">
                <a16:creationId xmlns:a16="http://schemas.microsoft.com/office/drawing/2014/main" id="{C00EF5F3-88A7-28F9-8022-B6E4F9FAF587}"/>
              </a:ext>
            </a:extLst>
          </p:cNvPr>
          <p:cNvSpPr txBox="1"/>
          <p:nvPr/>
        </p:nvSpPr>
        <p:spPr>
          <a:xfrm>
            <a:off x="6881814" y="2597813"/>
            <a:ext cx="3286304" cy="1355105"/>
          </a:xfrm>
          <a:prstGeom prst="rect">
            <a:avLst/>
          </a:prstGeom>
          <a:solidFill>
            <a:schemeClr val="bg1">
              <a:lumMod val="85000"/>
              <a:alpha val="25000"/>
            </a:schemeClr>
          </a:solidFill>
          <a:ln w="19050">
            <a:solidFill>
              <a:srgbClr val="FF0000"/>
            </a:solidFill>
          </a:ln>
        </p:spPr>
        <p:txBody>
          <a:bodyPr wrap="square" lIns="36000" tIns="36000" rIns="36000" bIns="36000" rtlCol="0">
            <a:spAutoFit/>
          </a:bodyPr>
          <a:lstStyle/>
          <a:p>
            <a:pPr algn="l">
              <a:spcBef>
                <a:spcPts val="400"/>
              </a:spcBef>
              <a:spcAft>
                <a:spcPts val="400"/>
              </a:spcAft>
            </a:pPr>
            <a:r>
              <a:rPr lang="en-US" sz="1400" dirty="0">
                <a:solidFill>
                  <a:schemeClr val="tx1"/>
                </a:solidFill>
                <a:latin typeface="+mn-lt"/>
              </a:rPr>
              <a:t>Delivery milestones vary considerably for Type 2.123 in Sector 1 (approx. 5 months).</a:t>
            </a:r>
            <a:endParaRPr lang="en-US" sz="1400" dirty="0"/>
          </a:p>
          <a:p>
            <a:pPr algn="l">
              <a:spcBef>
                <a:spcPts val="400"/>
              </a:spcBef>
              <a:spcAft>
                <a:spcPts val="400"/>
              </a:spcAft>
            </a:pPr>
            <a:r>
              <a:rPr lang="en-US" sz="1400" dirty="0">
                <a:solidFill>
                  <a:schemeClr val="tx1"/>
                </a:solidFill>
                <a:latin typeface="+mn-lt"/>
              </a:rPr>
              <a:t>Recommendation:</a:t>
            </a:r>
          </a:p>
          <a:p>
            <a:pPr algn="l">
              <a:spcBef>
                <a:spcPts val="400"/>
              </a:spcBef>
              <a:spcAft>
                <a:spcPts val="400"/>
              </a:spcAft>
            </a:pPr>
            <a:r>
              <a:rPr lang="en-US" sz="1400" dirty="0"/>
              <a:t>Clarification and confirmation of delivery dates for modules in all sectors.</a:t>
            </a:r>
            <a:endParaRPr lang="en-US" sz="1400" dirty="0">
              <a:solidFill>
                <a:schemeClr val="tx1"/>
              </a:solidFill>
              <a:latin typeface="+mn-lt"/>
            </a:endParaRPr>
          </a:p>
        </p:txBody>
      </p:sp>
      <p:cxnSp>
        <p:nvCxnSpPr>
          <p:cNvPr id="434" name="Verbinder: gekrümmt 433">
            <a:extLst>
              <a:ext uri="{FF2B5EF4-FFF2-40B4-BE49-F238E27FC236}">
                <a16:creationId xmlns:a16="http://schemas.microsoft.com/office/drawing/2014/main" id="{534527EA-EC7D-469A-E3B7-EF08E5B004FA}"/>
              </a:ext>
            </a:extLst>
          </p:cNvPr>
          <p:cNvCxnSpPr>
            <a:cxnSpLocks/>
            <a:stCxn id="431" idx="1"/>
            <a:endCxn id="7" idx="0"/>
          </p:cNvCxnSpPr>
          <p:nvPr/>
        </p:nvCxnSpPr>
        <p:spPr>
          <a:xfrm rot="10800000" flipV="1">
            <a:off x="5160170" y="3275365"/>
            <a:ext cx="1721645" cy="1205367"/>
          </a:xfrm>
          <a:prstGeom prst="curvedConnector2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1369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5B42FA-3E13-E0FB-3603-1C860DF6F9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" name="think-cell data - do not delete" hidden="1">
            <a:extLst>
              <a:ext uri="{FF2B5EF4-FFF2-40B4-BE49-F238E27FC236}">
                <a16:creationId xmlns:a16="http://schemas.microsoft.com/office/drawing/2014/main" id="{30A03B9B-3B90-272D-4701-2FDACCDF1C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856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2" imgW="473" imgH="473" progId="TCLayout.ActiveDocument.1">
                  <p:embed/>
                </p:oleObj>
              </mc:Choice>
              <mc:Fallback>
                <p:oleObj name="think-cell Folie" r:id="rId182" imgW="473" imgH="473" progId="TCLayout.ActiveDocument.1">
                  <p:embed/>
                  <p:pic>
                    <p:nvPicPr>
                      <p:cNvPr id="6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A03B9B-3B90-272D-4701-2FDACCDF1C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BA626C3-3848-8219-626C-9111283507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IS100 Workshop – Installation Plan Dipole and quadrupole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9C12845-5EC6-FE11-7F88-DEC5604835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 dirty="0"/>
              <a:t>Open issues / to clarify (</a:t>
            </a:r>
            <a:r>
              <a:rPr lang="en-US" dirty="0"/>
              <a:t>Section 5 – Type 2.123</a:t>
            </a:r>
            <a:r>
              <a:rPr lang="pt-BR" dirty="0"/>
              <a:t>)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63EFE19-EB54-6D5C-F469-589BCEEDB2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10EC04F-F7D8-3BBF-45DA-99F18CC362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8A7C5CA-CCEC-2920-021C-D1275225C9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9449A-3FF3-45CE-9F4F-09BADC0910C6}" type="slidenum">
              <a:rPr lang="de-DE" noProof="0"/>
              <a:t>17</a:t>
            </a:fld>
            <a:endParaRPr lang="de-DE" noProof="0" dirty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7F003B67-6996-A3EA-E06D-D2DC3BE966CA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0299700" y="2309812"/>
            <a:ext cx="84138" cy="3333750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FC485225-FDA0-68C8-753F-5569822F564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3311525" y="2309812"/>
            <a:ext cx="134938" cy="3333750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4B200349-FA07-A008-DF18-7D80CF08B454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5640388" y="2309812"/>
            <a:ext cx="134938" cy="3333750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F260AC63-9D99-1FD5-08DB-84946184C00C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969250" y="2309812"/>
            <a:ext cx="134938" cy="3333750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19" name="text">
            <a:extLst>
              <a:ext uri="{FF2B5EF4-FFF2-40B4-BE49-F238E27FC236}">
                <a16:creationId xmlns:a16="http://schemas.microsoft.com/office/drawing/2014/main" id="{991F0F22-6925-0D8D-B688-F82F339F66EB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198688" y="1601788"/>
            <a:ext cx="117792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02F4FE3-1A2A-4D1E-B90B-6D4D4AE5980A}" type="datetime'''''''2''''025'''''''''''''''''''''''''''''">
              <a:rPr lang="en-US" altLang="en-US" b="1" smtClean="0"/>
              <a:pPr/>
              <a:t>2025</a:t>
            </a:fld>
            <a:endParaRPr lang="en-US" b="1" dirty="0"/>
          </a:p>
        </p:txBody>
      </p:sp>
      <p:sp>
        <p:nvSpPr>
          <p:cNvPr id="505" name="text">
            <a:extLst>
              <a:ext uri="{FF2B5EF4-FFF2-40B4-BE49-F238E27FC236}">
                <a16:creationId xmlns:a16="http://schemas.microsoft.com/office/drawing/2014/main" id="{AE7EC44D-64F9-0F05-09D1-04CF0B996E04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376613" y="1601788"/>
            <a:ext cx="23352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14216BF-C595-40C5-BE77-C33A25291AE9}" type="datetime'''20''''''''''2''''''''''''''''''''''6'">
              <a:rPr lang="en-US" altLang="en-US" b="1" smtClean="0"/>
              <a:pPr/>
              <a:t>2026</a:t>
            </a:fld>
            <a:endParaRPr lang="en-US" b="1" dirty="0"/>
          </a:p>
        </p:txBody>
      </p:sp>
      <p:sp>
        <p:nvSpPr>
          <p:cNvPr id="544" name="text">
            <a:extLst>
              <a:ext uri="{FF2B5EF4-FFF2-40B4-BE49-F238E27FC236}">
                <a16:creationId xmlns:a16="http://schemas.microsoft.com/office/drawing/2014/main" id="{878630AA-6593-AE79-67FC-54C3F381DE7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711825" y="1601788"/>
            <a:ext cx="23352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F38DC23-C9E9-43FB-A5D4-8322146BEBBB}" type="datetime'''20''''''2''''''''''''''''''''''''''''''''7'''''''''''">
              <a:rPr lang="en-US" altLang="en-US" b="1" smtClean="0"/>
              <a:pPr/>
              <a:t>2027</a:t>
            </a:fld>
            <a:endParaRPr lang="en-US" b="1" dirty="0"/>
          </a:p>
        </p:txBody>
      </p:sp>
      <p:sp>
        <p:nvSpPr>
          <p:cNvPr id="593" name="text">
            <a:extLst>
              <a:ext uri="{FF2B5EF4-FFF2-40B4-BE49-F238E27FC236}">
                <a16:creationId xmlns:a16="http://schemas.microsoft.com/office/drawing/2014/main" id="{49769E6D-F984-9F78-857F-ACE1E59F9F7F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047038" y="1601788"/>
            <a:ext cx="23415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209150C-C0DE-4561-B062-B29A358BD156}" type="datetime'''''''2''''''0''''''''''2''''''''''''''''''8'''''''''''">
              <a:rPr lang="en-US" altLang="en-US" b="1" smtClean="0"/>
              <a:pPr/>
              <a:t>2028</a:t>
            </a:fld>
            <a:endParaRPr lang="en-US" b="1" dirty="0"/>
          </a:p>
        </p:txBody>
      </p:sp>
      <p:sp>
        <p:nvSpPr>
          <p:cNvPr id="406" name="text">
            <a:extLst>
              <a:ext uri="{FF2B5EF4-FFF2-40B4-BE49-F238E27FC236}">
                <a16:creationId xmlns:a16="http://schemas.microsoft.com/office/drawing/2014/main" id="{057683EE-7B82-F32C-C5C3-AFDCF7DE6FBE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198688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AD80CA9-3A45-47D4-A0F6-4F9DF0A26299}" type="datetime'''Q3'''''''''''''">
              <a:rPr lang="en-US" altLang="en-US" b="1" smtClean="0"/>
              <a:pPr/>
              <a:t>Q3</a:t>
            </a:fld>
            <a:endParaRPr lang="en-US" b="1" dirty="0"/>
          </a:p>
        </p:txBody>
      </p:sp>
      <p:sp>
        <p:nvSpPr>
          <p:cNvPr id="407" name="text">
            <a:extLst>
              <a:ext uri="{FF2B5EF4-FFF2-40B4-BE49-F238E27FC236}">
                <a16:creationId xmlns:a16="http://schemas.microsoft.com/office/drawing/2014/main" id="{F61888EB-F10C-41CF-6B95-40DEED94C2D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787650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D73C281-6788-4916-9632-5A2D9D5F72A2}" type="datetime'Q4'''''''''''">
              <a:rPr lang="en-US" altLang="en-US" b="1" smtClean="0"/>
              <a:pPr/>
              <a:t>Q4</a:t>
            </a:fld>
            <a:endParaRPr lang="en-US" b="1" dirty="0"/>
          </a:p>
        </p:txBody>
      </p:sp>
      <p:sp>
        <p:nvSpPr>
          <p:cNvPr id="497" name="text">
            <a:extLst>
              <a:ext uri="{FF2B5EF4-FFF2-40B4-BE49-F238E27FC236}">
                <a16:creationId xmlns:a16="http://schemas.microsoft.com/office/drawing/2014/main" id="{24690656-35B0-0934-3226-DE573257B53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376614" y="1862138"/>
            <a:ext cx="57467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75BFCDF-E2A1-431E-8EE0-5000BA81F963}" type="datetime'''''''''''''''''''''''''Q1'''''">
              <a:rPr lang="en-US" altLang="en-US" b="1" smtClean="0"/>
              <a:pPr/>
              <a:t>Q1</a:t>
            </a:fld>
            <a:endParaRPr lang="en-US" b="1" dirty="0"/>
          </a:p>
        </p:txBody>
      </p:sp>
      <p:sp>
        <p:nvSpPr>
          <p:cNvPr id="498" name="text">
            <a:extLst>
              <a:ext uri="{FF2B5EF4-FFF2-40B4-BE49-F238E27FC236}">
                <a16:creationId xmlns:a16="http://schemas.microsoft.com/office/drawing/2014/main" id="{D115F851-C65E-6E6B-DB01-8D1A70CAE9A2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951289" y="1862138"/>
            <a:ext cx="5826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0ADFC55-3886-4F74-8205-E6781F7E51EF}" type="datetime'''''''''''''''''''''''''''''''''''Q''''''''''''''2'''''''">
              <a:rPr lang="en-US" altLang="en-US" b="1" smtClean="0"/>
              <a:pPr/>
              <a:t>Q2</a:t>
            </a:fld>
            <a:endParaRPr lang="en-US" b="1" dirty="0"/>
          </a:p>
        </p:txBody>
      </p:sp>
      <p:sp>
        <p:nvSpPr>
          <p:cNvPr id="499" name="text">
            <a:extLst>
              <a:ext uri="{FF2B5EF4-FFF2-40B4-BE49-F238E27FC236}">
                <a16:creationId xmlns:a16="http://schemas.microsoft.com/office/drawing/2014/main" id="{4471F865-DFAC-5C46-AC43-18DB1DEBDDA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533900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A9D8F26-01FA-43D4-BB68-A2C11942FD84}" type="datetime'''Q''''''''''''''''''''''''''''''''''''''''''''''''''''3'''''">
              <a:rPr lang="en-US" altLang="en-US" b="1" smtClean="0"/>
              <a:pPr/>
              <a:t>Q3</a:t>
            </a:fld>
            <a:endParaRPr lang="en-US" b="1" dirty="0"/>
          </a:p>
        </p:txBody>
      </p:sp>
      <p:sp>
        <p:nvSpPr>
          <p:cNvPr id="500" name="text">
            <a:extLst>
              <a:ext uri="{FF2B5EF4-FFF2-40B4-BE49-F238E27FC236}">
                <a16:creationId xmlns:a16="http://schemas.microsoft.com/office/drawing/2014/main" id="{92E7DAF2-2512-107B-9CD7-ABA55A1BA7A9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122863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1FC14B9-B0F7-49A3-B82F-6545FBC37EDC}" type="datetime'''''''''''Q''''''''''''''''''''''4'''''''">
              <a:rPr lang="en-US" altLang="en-US" b="1" smtClean="0"/>
              <a:pPr/>
              <a:t>Q4</a:t>
            </a:fld>
            <a:endParaRPr lang="en-US" b="1" dirty="0"/>
          </a:p>
        </p:txBody>
      </p:sp>
      <p:sp>
        <p:nvSpPr>
          <p:cNvPr id="540" name="text">
            <a:extLst>
              <a:ext uri="{FF2B5EF4-FFF2-40B4-BE49-F238E27FC236}">
                <a16:creationId xmlns:a16="http://schemas.microsoft.com/office/drawing/2014/main" id="{4B30DBC3-B424-F0AC-DEE4-9997C713A61B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711826" y="1862138"/>
            <a:ext cx="57467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F913DF8-AF63-4911-9044-347BED8B935B}" type="datetime'''Q''''''''''''''''''''''''''''1'''''''''''">
              <a:rPr lang="en-US" altLang="en-US" b="1" smtClean="0"/>
              <a:pPr/>
              <a:t>Q1</a:t>
            </a:fld>
            <a:endParaRPr lang="en-US" b="1" dirty="0"/>
          </a:p>
        </p:txBody>
      </p:sp>
      <p:sp>
        <p:nvSpPr>
          <p:cNvPr id="541" name="text">
            <a:extLst>
              <a:ext uri="{FF2B5EF4-FFF2-40B4-BE49-F238E27FC236}">
                <a16:creationId xmlns:a16="http://schemas.microsoft.com/office/drawing/2014/main" id="{422EF6C1-05F1-4E1E-1092-1DC769078C1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286501" y="1862138"/>
            <a:ext cx="5826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23BB49B-F987-4D5E-B1FB-A45DC4DC2BAE}" type="datetime'''''''''''''''Q''''''''''''''''''''''2'''''''''''''''''''''">
              <a:rPr lang="en-US" altLang="en-US" b="1" smtClean="0"/>
              <a:pPr/>
              <a:t>Q2</a:t>
            </a:fld>
            <a:endParaRPr lang="en-US" b="1" dirty="0"/>
          </a:p>
        </p:txBody>
      </p:sp>
      <p:sp>
        <p:nvSpPr>
          <p:cNvPr id="542" name="text">
            <a:extLst>
              <a:ext uri="{FF2B5EF4-FFF2-40B4-BE49-F238E27FC236}">
                <a16:creationId xmlns:a16="http://schemas.microsoft.com/office/drawing/2014/main" id="{AD8B1332-E45B-F859-63CD-F67738C34F02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869113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4AF189E-61C0-4071-BABB-68D2781C0521}" type="datetime'''''''''''''Q3'">
              <a:rPr lang="en-US" altLang="en-US" b="1" smtClean="0"/>
              <a:pPr/>
              <a:t>Q3</a:t>
            </a:fld>
            <a:endParaRPr lang="en-US" b="1" dirty="0"/>
          </a:p>
        </p:txBody>
      </p:sp>
      <p:sp>
        <p:nvSpPr>
          <p:cNvPr id="543" name="text">
            <a:extLst>
              <a:ext uri="{FF2B5EF4-FFF2-40B4-BE49-F238E27FC236}">
                <a16:creationId xmlns:a16="http://schemas.microsoft.com/office/drawing/2014/main" id="{803CE133-8CF4-4286-18D6-5016313C2F0F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458075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C44E379-C25F-4312-88C0-9E59046226C3}" type="datetime'''Q''''''''''''''''''''''4'''''''''''''''''''''">
              <a:rPr lang="en-US" altLang="en-US" b="1" smtClean="0"/>
              <a:pPr/>
              <a:t>Q4</a:t>
            </a:fld>
            <a:endParaRPr lang="en-US" b="1" dirty="0"/>
          </a:p>
        </p:txBody>
      </p:sp>
      <p:sp>
        <p:nvSpPr>
          <p:cNvPr id="589" name="text">
            <a:extLst>
              <a:ext uri="{FF2B5EF4-FFF2-40B4-BE49-F238E27FC236}">
                <a16:creationId xmlns:a16="http://schemas.microsoft.com/office/drawing/2014/main" id="{F7D84452-179A-5CD0-2359-4CD20BE174B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8047039" y="1862138"/>
            <a:ext cx="5826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EA13AA6-F14D-4345-812D-CE7997E98106}" type="datetime'''''''''''''''''''''''''''Q''''''''''''''''1'''''">
              <a:rPr lang="en-US" altLang="en-US" b="1" smtClean="0"/>
              <a:pPr/>
              <a:t>Q1</a:t>
            </a:fld>
            <a:endParaRPr lang="en-US" b="1" dirty="0"/>
          </a:p>
        </p:txBody>
      </p:sp>
      <p:sp>
        <p:nvSpPr>
          <p:cNvPr id="590" name="text">
            <a:extLst>
              <a:ext uri="{FF2B5EF4-FFF2-40B4-BE49-F238E27FC236}">
                <a16:creationId xmlns:a16="http://schemas.microsoft.com/office/drawing/2014/main" id="{6013DD45-62CC-5532-567B-04193F860CE6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8629650" y="1862138"/>
            <a:ext cx="58102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C34017C-3044-42FD-BBEF-73F3DB32D6E7}" type="datetime'''''''''''Q''''''''''''''''''''''''''''''2'''">
              <a:rPr lang="en-US" altLang="en-US" b="1" smtClean="0"/>
              <a:pPr/>
              <a:t>Q2</a:t>
            </a:fld>
            <a:endParaRPr lang="en-US" b="1" dirty="0"/>
          </a:p>
        </p:txBody>
      </p:sp>
      <p:sp>
        <p:nvSpPr>
          <p:cNvPr id="591" name="text">
            <a:extLst>
              <a:ext uri="{FF2B5EF4-FFF2-40B4-BE49-F238E27FC236}">
                <a16:creationId xmlns:a16="http://schemas.microsoft.com/office/drawing/2014/main" id="{BD36824E-6369-9846-E466-5912824449AF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9210676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426FF7B-0F60-4923-8BFC-AEE974644245}" type="datetime'''''''''''''''''''''''''''''''''''''''''''Q''''''3'''">
              <a:rPr lang="en-US" altLang="en-US" b="1" smtClean="0"/>
              <a:pPr/>
              <a:t>Q3</a:t>
            </a:fld>
            <a:endParaRPr lang="en-US" b="1" dirty="0"/>
          </a:p>
        </p:txBody>
      </p:sp>
      <p:sp>
        <p:nvSpPr>
          <p:cNvPr id="592" name="text">
            <a:extLst>
              <a:ext uri="{FF2B5EF4-FFF2-40B4-BE49-F238E27FC236}">
                <a16:creationId xmlns:a16="http://schemas.microsoft.com/office/drawing/2014/main" id="{D2CD5FC3-D861-592C-95C5-667FDB22D459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9799638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FAB18D2-2786-4855-A580-645F2425FCE6}" type="datetime'''''''Q''''''''''''''''''''''''4'''''''''''''''''">
              <a:rPr lang="en-US" altLang="en-US" b="1" smtClean="0"/>
              <a:pPr/>
              <a:t>Q4</a:t>
            </a:fld>
            <a:endParaRPr lang="en-US" b="1" dirty="0"/>
          </a:p>
        </p:txBody>
      </p:sp>
      <p:sp>
        <p:nvSpPr>
          <p:cNvPr id="52" name="text">
            <a:extLst>
              <a:ext uri="{FF2B5EF4-FFF2-40B4-BE49-F238E27FC236}">
                <a16:creationId xmlns:a16="http://schemas.microsoft.com/office/drawing/2014/main" id="{68AE71BC-B851-E071-2E87-7FD8458C55C7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2198688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6227835-67C0-4A02-912A-6D08E049CB27}" type="datetime'''''''''''''''''''''''''''''''''''''''''''''''''7'''''''''''''">
              <a:rPr lang="en-US" altLang="en-US" sz="1000" smtClean="0"/>
              <a:pPr/>
              <a:t>7</a:t>
            </a:fld>
            <a:endParaRPr lang="en-US" sz="1000" dirty="0"/>
          </a:p>
        </p:txBody>
      </p:sp>
      <p:sp>
        <p:nvSpPr>
          <p:cNvPr id="54" name="text">
            <a:extLst>
              <a:ext uri="{FF2B5EF4-FFF2-40B4-BE49-F238E27FC236}">
                <a16:creationId xmlns:a16="http://schemas.microsoft.com/office/drawing/2014/main" id="{26ED59D7-B632-A172-DFA0-38C56A80182C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397125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1088191-E52A-442D-B344-7DF4E5447A3F}" type="datetime'''''''''''8'">
              <a:rPr lang="en-US" altLang="en-US" sz="1000" smtClean="0"/>
              <a:pPr/>
              <a:t>8</a:t>
            </a:fld>
            <a:endParaRPr lang="en-US" sz="1000" dirty="0"/>
          </a:p>
        </p:txBody>
      </p:sp>
      <p:sp>
        <p:nvSpPr>
          <p:cNvPr id="38" name="text">
            <a:extLst>
              <a:ext uri="{FF2B5EF4-FFF2-40B4-BE49-F238E27FC236}">
                <a16:creationId xmlns:a16="http://schemas.microsoft.com/office/drawing/2014/main" id="{F5CFD5AB-46E8-2E8B-20BF-377DF330AD2F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595563" y="2122489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941CB51-7924-4FED-B609-7CAA243ED190}" type="datetime'''''''''''''''''''''''''''''''''''''''''''''''''9'''''">
              <a:rPr lang="en-US" altLang="en-US" sz="1000" smtClean="0"/>
              <a:pPr/>
              <a:t>9</a:t>
            </a:fld>
            <a:endParaRPr lang="en-US" sz="1000" dirty="0"/>
          </a:p>
        </p:txBody>
      </p:sp>
      <p:sp>
        <p:nvSpPr>
          <p:cNvPr id="39" name="text">
            <a:extLst>
              <a:ext uri="{FF2B5EF4-FFF2-40B4-BE49-F238E27FC236}">
                <a16:creationId xmlns:a16="http://schemas.microsoft.com/office/drawing/2014/main" id="{5372E59E-0FBA-C5BF-F26F-9CAB88F147AA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787650" y="2122489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80038D6-A1D4-4852-A2D8-3C728E888BA2}" type="datetime'''''''''''''''''''''''''''''''''''''''''''''''''10'''''">
              <a:rPr lang="en-US" altLang="en-US" sz="1000" smtClean="0"/>
              <a:pPr/>
              <a:t>10</a:t>
            </a:fld>
            <a:endParaRPr lang="en-US" sz="1000" dirty="0"/>
          </a:p>
        </p:txBody>
      </p:sp>
      <p:sp>
        <p:nvSpPr>
          <p:cNvPr id="40" name="text">
            <a:extLst>
              <a:ext uri="{FF2B5EF4-FFF2-40B4-BE49-F238E27FC236}">
                <a16:creationId xmlns:a16="http://schemas.microsoft.com/office/drawing/2014/main" id="{29929AD0-6F81-95AD-50BD-670A895FBE5B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2986088" y="2122489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45B2CB4-4108-4D87-AF1D-C80954AAC9D4}" type="datetime'''''''''''''''''''1''''''''''''''''''1'''''''''''''''''''">
              <a:rPr lang="en-US" altLang="en-US" sz="1000" smtClean="0"/>
              <a:pPr/>
              <a:t>11</a:t>
            </a:fld>
            <a:endParaRPr lang="en-US" sz="1000" dirty="0"/>
          </a:p>
        </p:txBody>
      </p:sp>
      <p:sp>
        <p:nvSpPr>
          <p:cNvPr id="469" name="text">
            <a:extLst>
              <a:ext uri="{FF2B5EF4-FFF2-40B4-BE49-F238E27FC236}">
                <a16:creationId xmlns:a16="http://schemas.microsoft.com/office/drawing/2014/main" id="{60277127-7E12-1736-8663-C0FA429459A6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3178175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261B0F0-1350-45E5-817C-E87B899581AF}" type="datetime'''''''''''''''''''''1''''''''''2'''''''''''''">
              <a:rPr lang="en-US" altLang="en-US" sz="1000" smtClean="0"/>
              <a:pPr/>
              <a:t>12</a:t>
            </a:fld>
            <a:endParaRPr lang="en-US" sz="1000" dirty="0"/>
          </a:p>
        </p:txBody>
      </p:sp>
      <p:sp>
        <p:nvSpPr>
          <p:cNvPr id="472" name="text">
            <a:extLst>
              <a:ext uri="{FF2B5EF4-FFF2-40B4-BE49-F238E27FC236}">
                <a16:creationId xmlns:a16="http://schemas.microsoft.com/office/drawing/2014/main" id="{740C1ED0-1785-5F55-E8D3-7C4AC9EDB93C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3376613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F702AA0-B630-49E4-A60E-31CA08924D99}" type="datetime'''''''''''''1'''''''''''''''''''''''''''''''''''''''''''''''">
              <a:rPr lang="en-US" altLang="en-US" sz="1000" smtClean="0"/>
              <a:pPr/>
              <a:t>1</a:t>
            </a:fld>
            <a:endParaRPr lang="en-US" sz="1000" dirty="0"/>
          </a:p>
        </p:txBody>
      </p:sp>
      <p:sp>
        <p:nvSpPr>
          <p:cNvPr id="474" name="text">
            <a:extLst>
              <a:ext uri="{FF2B5EF4-FFF2-40B4-BE49-F238E27FC236}">
                <a16:creationId xmlns:a16="http://schemas.microsoft.com/office/drawing/2014/main" id="{CBE4C69A-645C-C66C-6678-7907A913D47E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3575050" y="2122488"/>
            <a:ext cx="17780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F63A27C-B2B0-4E3B-9F57-04710E53A2D8}" type="datetime'2'''''''''''''''''''''''''''''''''''''''''''''''''''''''">
              <a:rPr lang="en-US" altLang="en-US" sz="1000" smtClean="0"/>
              <a:pPr/>
              <a:t>2</a:t>
            </a:fld>
            <a:endParaRPr lang="en-US" sz="1000" dirty="0"/>
          </a:p>
        </p:txBody>
      </p:sp>
      <p:sp>
        <p:nvSpPr>
          <p:cNvPr id="475" name="text">
            <a:extLst>
              <a:ext uri="{FF2B5EF4-FFF2-40B4-BE49-F238E27FC236}">
                <a16:creationId xmlns:a16="http://schemas.microsoft.com/office/drawing/2014/main" id="{67D79653-B975-72D9-72BB-7805E9ED876F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3752850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16E0D43-444E-4C37-8D9E-A6EA60A4AA86}" type="datetime'''''''''''''''''''''3'''''''''''''''''''''''''''''''">
              <a:rPr lang="en-US" altLang="en-US" sz="1000" smtClean="0"/>
              <a:pPr/>
              <a:t>3</a:t>
            </a:fld>
            <a:endParaRPr lang="en-US" sz="1000" dirty="0"/>
          </a:p>
        </p:txBody>
      </p:sp>
      <p:sp>
        <p:nvSpPr>
          <p:cNvPr id="476" name="text">
            <a:extLst>
              <a:ext uri="{FF2B5EF4-FFF2-40B4-BE49-F238E27FC236}">
                <a16:creationId xmlns:a16="http://schemas.microsoft.com/office/drawing/2014/main" id="{C30A0EA5-201A-17A1-D477-C2C9CA4ED699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3951288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51CC9CE-6B89-4724-8F7E-B907E19ADF70}" type="datetime'''''''''''''4'''''''''''''''''''''''''''''''''''''''''''''''''">
              <a:rPr lang="en-US" altLang="en-US" sz="1000" smtClean="0"/>
              <a:pPr/>
              <a:t>4</a:t>
            </a:fld>
            <a:endParaRPr lang="en-US" sz="1000" dirty="0"/>
          </a:p>
        </p:txBody>
      </p:sp>
      <p:sp>
        <p:nvSpPr>
          <p:cNvPr id="477" name="text">
            <a:extLst>
              <a:ext uri="{FF2B5EF4-FFF2-40B4-BE49-F238E27FC236}">
                <a16:creationId xmlns:a16="http://schemas.microsoft.com/office/drawing/2014/main" id="{0DCA868B-B54F-0138-3565-8347CB16E73F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4143375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3A3575F-0B79-4925-9241-6E52B7C864C1}" type="datetime'''''''5'''''''''''''''''''''''">
              <a:rPr lang="en-US" altLang="en-US" sz="1000" smtClean="0"/>
              <a:pPr/>
              <a:t>5</a:t>
            </a:fld>
            <a:endParaRPr lang="en-US" sz="1000" dirty="0"/>
          </a:p>
        </p:txBody>
      </p:sp>
      <p:sp>
        <p:nvSpPr>
          <p:cNvPr id="478" name="text">
            <a:extLst>
              <a:ext uri="{FF2B5EF4-FFF2-40B4-BE49-F238E27FC236}">
                <a16:creationId xmlns:a16="http://schemas.microsoft.com/office/drawing/2014/main" id="{09F6DE5B-980C-3A07-8158-DF3AD948997E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4341813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72E5D5F-6973-402A-B6BD-D0EC83125BBF}" type="datetime'''''''''''''6'''''''">
              <a:rPr lang="en-US" altLang="en-US" sz="1000" smtClean="0"/>
              <a:pPr/>
              <a:t>6</a:t>
            </a:fld>
            <a:endParaRPr lang="en-US" sz="1000" dirty="0"/>
          </a:p>
        </p:txBody>
      </p:sp>
      <p:sp>
        <p:nvSpPr>
          <p:cNvPr id="479" name="text">
            <a:extLst>
              <a:ext uri="{FF2B5EF4-FFF2-40B4-BE49-F238E27FC236}">
                <a16:creationId xmlns:a16="http://schemas.microsoft.com/office/drawing/2014/main" id="{DF749791-42C2-0CA9-8A5F-CE08549DBC39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4533900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2609581-7493-4850-869F-2CA03D157510}" type="datetime'''''''''''''''''''''7'''''''''''''''''''''''''''''''''''''''">
              <a:rPr lang="en-US" altLang="en-US" sz="1000" smtClean="0"/>
              <a:pPr/>
              <a:t>7</a:t>
            </a:fld>
            <a:endParaRPr lang="en-US" sz="1000" dirty="0"/>
          </a:p>
        </p:txBody>
      </p:sp>
      <p:sp>
        <p:nvSpPr>
          <p:cNvPr id="480" name="text">
            <a:extLst>
              <a:ext uri="{FF2B5EF4-FFF2-40B4-BE49-F238E27FC236}">
                <a16:creationId xmlns:a16="http://schemas.microsoft.com/office/drawing/2014/main" id="{4CAD6EB8-9D71-9C02-37FA-5ACFD12D9BCB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4732338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FA5D2F6-FB9F-4E2A-BBA8-3BA824B05D62}" type="datetime'''''''''''''''8'''''''''''''''">
              <a:rPr lang="en-US" altLang="en-US" sz="1000" smtClean="0"/>
              <a:pPr/>
              <a:t>8</a:t>
            </a:fld>
            <a:endParaRPr lang="en-US" sz="1000" dirty="0"/>
          </a:p>
        </p:txBody>
      </p:sp>
      <p:sp>
        <p:nvSpPr>
          <p:cNvPr id="481" name="text">
            <a:extLst>
              <a:ext uri="{FF2B5EF4-FFF2-40B4-BE49-F238E27FC236}">
                <a16:creationId xmlns:a16="http://schemas.microsoft.com/office/drawing/2014/main" id="{00A29113-D368-C0F8-27AA-BF0D33D97BD1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4930775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1435BFF-DFC9-4147-88F1-BCCACEB53CEE}" type="datetime'''''''''''''''''''''''''''''''''''''''''''''9'''''''''">
              <a:rPr lang="en-US" altLang="en-US" sz="1000" smtClean="0"/>
              <a:pPr/>
              <a:t>9</a:t>
            </a:fld>
            <a:endParaRPr lang="en-US" sz="1000" dirty="0"/>
          </a:p>
        </p:txBody>
      </p:sp>
      <p:sp>
        <p:nvSpPr>
          <p:cNvPr id="482" name="text">
            <a:extLst>
              <a:ext uri="{FF2B5EF4-FFF2-40B4-BE49-F238E27FC236}">
                <a16:creationId xmlns:a16="http://schemas.microsoft.com/office/drawing/2014/main" id="{B58E8C1F-60E6-5E7B-29B3-754BD3A732F6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5122863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BEBA082-6A9D-4C56-B801-2ECB9299D062}" type="datetime'''''''''''''''1''''''''''''''''''''''''0'''''''">
              <a:rPr lang="en-US" altLang="en-US" sz="1000" smtClean="0"/>
              <a:pPr/>
              <a:t>10</a:t>
            </a:fld>
            <a:endParaRPr lang="en-US" sz="1000" dirty="0"/>
          </a:p>
        </p:txBody>
      </p:sp>
      <p:sp>
        <p:nvSpPr>
          <p:cNvPr id="483" name="text">
            <a:extLst>
              <a:ext uri="{FF2B5EF4-FFF2-40B4-BE49-F238E27FC236}">
                <a16:creationId xmlns:a16="http://schemas.microsoft.com/office/drawing/2014/main" id="{F8ED20FD-BA06-B8DB-E5A4-E4AA7F816386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5321300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40A09C1-742D-41F2-9AF0-588921E37397}" type="datetime'''''''''''''1''''''''''''''''''''1'''''''''''">
              <a:rPr lang="en-US" altLang="en-US" sz="1000" smtClean="0"/>
              <a:pPr/>
              <a:t>11</a:t>
            </a:fld>
            <a:endParaRPr lang="en-US" sz="1000" dirty="0"/>
          </a:p>
        </p:txBody>
      </p:sp>
      <p:sp>
        <p:nvSpPr>
          <p:cNvPr id="484" name="text">
            <a:extLst>
              <a:ext uri="{FF2B5EF4-FFF2-40B4-BE49-F238E27FC236}">
                <a16:creationId xmlns:a16="http://schemas.microsoft.com/office/drawing/2014/main" id="{3F1A980C-9291-562E-A674-84DE79AA8A3A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5513388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2F33090-FCF2-430E-B3CE-E17F5CE43FD3}" type="datetime'''''''''''''''''''''''''''''1''2'''''''''''''''''''''''">
              <a:rPr lang="en-US" altLang="en-US" sz="1000" smtClean="0"/>
              <a:pPr/>
              <a:t>12</a:t>
            </a:fld>
            <a:endParaRPr lang="en-US" sz="1000" dirty="0"/>
          </a:p>
        </p:txBody>
      </p:sp>
      <p:sp>
        <p:nvSpPr>
          <p:cNvPr id="527" name="text">
            <a:extLst>
              <a:ext uri="{FF2B5EF4-FFF2-40B4-BE49-F238E27FC236}">
                <a16:creationId xmlns:a16="http://schemas.microsoft.com/office/drawing/2014/main" id="{DF5A4432-B080-DD78-096D-EA0CC13E89DA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5711825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39243F7-6AE0-4F61-8CA2-4AAB42070832}" type="datetime'''''''''''''''''''''''''''''''''''''''''''''''1'">
              <a:rPr lang="en-US" altLang="en-US" sz="1000" smtClean="0"/>
              <a:pPr/>
              <a:t>1</a:t>
            </a:fld>
            <a:endParaRPr lang="en-US" sz="1000" dirty="0"/>
          </a:p>
        </p:txBody>
      </p:sp>
      <p:sp>
        <p:nvSpPr>
          <p:cNvPr id="529" name="text">
            <a:extLst>
              <a:ext uri="{FF2B5EF4-FFF2-40B4-BE49-F238E27FC236}">
                <a16:creationId xmlns:a16="http://schemas.microsoft.com/office/drawing/2014/main" id="{CE8A1854-361E-7464-AD25-F5EAEB700826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5910263" y="2122488"/>
            <a:ext cx="1793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3028098-8853-47CC-800B-442C74DAD03A}" type="datetime'''''''''''''''2'''''''''''''''''''''''''''''''''''''''">
              <a:rPr lang="en-US" altLang="en-US" sz="1000" smtClean="0"/>
              <a:pPr/>
              <a:t>2</a:t>
            </a:fld>
            <a:endParaRPr lang="en-US" sz="1000" dirty="0"/>
          </a:p>
        </p:txBody>
      </p:sp>
      <p:sp>
        <p:nvSpPr>
          <p:cNvPr id="530" name="text">
            <a:extLst>
              <a:ext uri="{FF2B5EF4-FFF2-40B4-BE49-F238E27FC236}">
                <a16:creationId xmlns:a16="http://schemas.microsoft.com/office/drawing/2014/main" id="{ED2AD4A8-81B2-D9F6-3FDB-662039F27F12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6089650" y="2122488"/>
            <a:ext cx="19685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6A288ED-8393-48D5-8225-CDE47C6C2733}" type="datetime'''''''''''''''''''''''''''''''''''''''''''''''3'">
              <a:rPr lang="en-US" altLang="en-US" sz="1000" smtClean="0"/>
              <a:pPr/>
              <a:t>3</a:t>
            </a:fld>
            <a:endParaRPr lang="en-US" sz="1000" dirty="0"/>
          </a:p>
        </p:txBody>
      </p:sp>
      <p:sp>
        <p:nvSpPr>
          <p:cNvPr id="531" name="text">
            <a:extLst>
              <a:ext uri="{FF2B5EF4-FFF2-40B4-BE49-F238E27FC236}">
                <a16:creationId xmlns:a16="http://schemas.microsoft.com/office/drawing/2014/main" id="{840F776E-0687-793C-F281-BE8146E68B46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6286500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81B3CCC-6197-4464-B812-1A074C1A2F89}" type="datetime'''''''''''''''''''''''''''''4'''''''''''''''''''''''''''">
              <a:rPr lang="en-US" altLang="en-US" sz="1000" smtClean="0"/>
              <a:pPr/>
              <a:t>4</a:t>
            </a:fld>
            <a:endParaRPr lang="en-US" sz="1000" dirty="0"/>
          </a:p>
        </p:txBody>
      </p:sp>
      <p:sp>
        <p:nvSpPr>
          <p:cNvPr id="532" name="text">
            <a:extLst>
              <a:ext uri="{FF2B5EF4-FFF2-40B4-BE49-F238E27FC236}">
                <a16:creationId xmlns:a16="http://schemas.microsoft.com/office/drawing/2014/main" id="{6FFD4741-0CA0-2AD4-CF8D-237963D32110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6478588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CDDE179-E239-4421-B10F-CF3454AD001A}" type="datetime'''''''''''''''''''''''''''''5'''''''''''''''''''''">
              <a:rPr lang="en-US" altLang="en-US" sz="1000" smtClean="0"/>
              <a:pPr/>
              <a:t>5</a:t>
            </a:fld>
            <a:endParaRPr lang="en-US" sz="1000" dirty="0"/>
          </a:p>
        </p:txBody>
      </p:sp>
      <p:sp>
        <p:nvSpPr>
          <p:cNvPr id="533" name="text">
            <a:extLst>
              <a:ext uri="{FF2B5EF4-FFF2-40B4-BE49-F238E27FC236}">
                <a16:creationId xmlns:a16="http://schemas.microsoft.com/office/drawing/2014/main" id="{5DF2A30A-1B24-462E-B764-9C879E5869EF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6677025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50F0809-1C95-430B-A9B0-C252C67EBF19}" type="datetime'''6'''">
              <a:rPr lang="en-US" altLang="en-US" sz="1000" smtClean="0"/>
              <a:pPr/>
              <a:t>6</a:t>
            </a:fld>
            <a:endParaRPr lang="en-US" sz="1000" dirty="0"/>
          </a:p>
        </p:txBody>
      </p:sp>
      <p:sp>
        <p:nvSpPr>
          <p:cNvPr id="534" name="text">
            <a:extLst>
              <a:ext uri="{FF2B5EF4-FFF2-40B4-BE49-F238E27FC236}">
                <a16:creationId xmlns:a16="http://schemas.microsoft.com/office/drawing/2014/main" id="{35211050-AAB9-BEF5-CC10-C9A963767710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6869113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2F3E5B2-CB35-4F03-86FC-208107C55968}" type="datetime'''''''''''7'''''''''''''''''''''''''''''">
              <a:rPr lang="en-US" altLang="en-US" sz="1000" smtClean="0"/>
              <a:pPr/>
              <a:t>7</a:t>
            </a:fld>
            <a:endParaRPr lang="en-US" sz="1000" dirty="0"/>
          </a:p>
        </p:txBody>
      </p:sp>
      <p:sp>
        <p:nvSpPr>
          <p:cNvPr id="535" name="text">
            <a:extLst>
              <a:ext uri="{FF2B5EF4-FFF2-40B4-BE49-F238E27FC236}">
                <a16:creationId xmlns:a16="http://schemas.microsoft.com/office/drawing/2014/main" id="{630AB1D4-EA9E-856E-611C-FCC1F740429C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7067550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6C1089A-5839-49A3-ABDF-C285907458E4}" type="datetime'''8'''''''''''''''''''">
              <a:rPr lang="en-US" altLang="en-US" sz="1000" smtClean="0"/>
              <a:pPr/>
              <a:t>8</a:t>
            </a:fld>
            <a:endParaRPr lang="en-US" sz="1000" dirty="0"/>
          </a:p>
        </p:txBody>
      </p:sp>
      <p:sp>
        <p:nvSpPr>
          <p:cNvPr id="536" name="text">
            <a:extLst>
              <a:ext uri="{FF2B5EF4-FFF2-40B4-BE49-F238E27FC236}">
                <a16:creationId xmlns:a16="http://schemas.microsoft.com/office/drawing/2014/main" id="{FE9C8031-E423-AB72-ADCE-D7AA3EB3BF5F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7265988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3B7BF63-A0CC-4B9C-B226-DA542AA6FE5B}" type="datetime'''''''''''''''''''9'''''''''''''''">
              <a:rPr lang="en-US" altLang="en-US" sz="1000" smtClean="0"/>
              <a:pPr/>
              <a:t>9</a:t>
            </a:fld>
            <a:endParaRPr lang="en-US" sz="1000" dirty="0"/>
          </a:p>
        </p:txBody>
      </p:sp>
      <p:sp>
        <p:nvSpPr>
          <p:cNvPr id="537" name="text">
            <a:extLst>
              <a:ext uri="{FF2B5EF4-FFF2-40B4-BE49-F238E27FC236}">
                <a16:creationId xmlns:a16="http://schemas.microsoft.com/office/drawing/2014/main" id="{A4ED2D46-9B4F-FBA3-ED52-A930E483BD3E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7458075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3EB577F-F016-46FF-848C-1D318DB8518A}" type="datetime'''''''''10'''''''''''''''">
              <a:rPr lang="en-US" altLang="en-US" sz="1000" smtClean="0"/>
              <a:pPr/>
              <a:t>10</a:t>
            </a:fld>
            <a:endParaRPr lang="en-US" sz="1000" dirty="0"/>
          </a:p>
        </p:txBody>
      </p:sp>
      <p:sp>
        <p:nvSpPr>
          <p:cNvPr id="538" name="text">
            <a:extLst>
              <a:ext uri="{FF2B5EF4-FFF2-40B4-BE49-F238E27FC236}">
                <a16:creationId xmlns:a16="http://schemas.microsoft.com/office/drawing/2014/main" id="{BABC5755-6D3D-8FD3-3C3A-D91FA38B6886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7656513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D01DA93-0D56-41BF-A4ED-7AE7FB7DCC73}" type="datetime'''''''''''''''''''''''''''''11'''''''''''''">
              <a:rPr lang="en-US" altLang="en-US" sz="1000" smtClean="0"/>
              <a:pPr/>
              <a:t>11</a:t>
            </a:fld>
            <a:endParaRPr lang="en-US" sz="1000" dirty="0"/>
          </a:p>
        </p:txBody>
      </p:sp>
      <p:sp>
        <p:nvSpPr>
          <p:cNvPr id="539" name="text">
            <a:extLst>
              <a:ext uri="{FF2B5EF4-FFF2-40B4-BE49-F238E27FC236}">
                <a16:creationId xmlns:a16="http://schemas.microsoft.com/office/drawing/2014/main" id="{7AFE15A3-A058-B50B-2207-13DD75BAB29F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7848600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AE0D544-F536-4FE0-86BE-460E4CDED38D}" type="datetime'''''''''''''''1''''''''''2'''''''''''''''''''''''''''''''''''">
              <a:rPr lang="en-US" altLang="en-US" sz="1000" smtClean="0"/>
              <a:pPr/>
              <a:t>12</a:t>
            </a:fld>
            <a:endParaRPr lang="en-US" sz="1000" dirty="0"/>
          </a:p>
        </p:txBody>
      </p:sp>
      <p:sp>
        <p:nvSpPr>
          <p:cNvPr id="576" name="text">
            <a:extLst>
              <a:ext uri="{FF2B5EF4-FFF2-40B4-BE49-F238E27FC236}">
                <a16:creationId xmlns:a16="http://schemas.microsoft.com/office/drawing/2014/main" id="{02AA705D-C0C0-17C8-460C-15371A1FF863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8047038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5313415-F498-4A71-ADED-65660F1F50A3}" type="datetime'''''''1'''''''''''''''''''''''''''''''''''''''''''''''''''">
              <a:rPr lang="en-US" altLang="en-US" sz="1000" smtClean="0"/>
              <a:pPr/>
              <a:t>1</a:t>
            </a:fld>
            <a:endParaRPr lang="en-US" sz="1000" dirty="0"/>
          </a:p>
        </p:txBody>
      </p:sp>
      <p:sp>
        <p:nvSpPr>
          <p:cNvPr id="578" name="text">
            <a:extLst>
              <a:ext uri="{FF2B5EF4-FFF2-40B4-BE49-F238E27FC236}">
                <a16:creationId xmlns:a16="http://schemas.microsoft.com/office/drawing/2014/main" id="{A055EDC7-8775-E636-6A44-B3746B07540E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8245475" y="2122488"/>
            <a:ext cx="1857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CD8674E-1ED6-4FB9-A882-BAC4751428CB}" type="datetime'''''''''''''''''''''''''''''''''''2'''''">
              <a:rPr lang="en-US" altLang="en-US" sz="1000" smtClean="0"/>
              <a:pPr/>
              <a:t>2</a:t>
            </a:fld>
            <a:endParaRPr lang="en-US" sz="1000" dirty="0"/>
          </a:p>
        </p:txBody>
      </p:sp>
      <p:sp>
        <p:nvSpPr>
          <p:cNvPr id="579" name="text">
            <a:extLst>
              <a:ext uri="{FF2B5EF4-FFF2-40B4-BE49-F238E27FC236}">
                <a16:creationId xmlns:a16="http://schemas.microsoft.com/office/drawing/2014/main" id="{2C7A6E6C-A15C-C207-78C5-1A1144FE4C9E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8431213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5200B7D-1976-45B8-8AC3-D675B0BAFF93}" type="datetime'3'''''''''''''">
              <a:rPr lang="en-US" altLang="en-US" sz="1000" smtClean="0"/>
              <a:pPr/>
              <a:t>3</a:t>
            </a:fld>
            <a:endParaRPr lang="en-US" sz="1000" dirty="0"/>
          </a:p>
        </p:txBody>
      </p:sp>
      <p:sp>
        <p:nvSpPr>
          <p:cNvPr id="580" name="text">
            <a:extLst>
              <a:ext uri="{FF2B5EF4-FFF2-40B4-BE49-F238E27FC236}">
                <a16:creationId xmlns:a16="http://schemas.microsoft.com/office/drawing/2014/main" id="{D63F2C80-E91A-3902-9AA0-452A48DFBB2C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8629650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49AB53F-F3C8-4BF8-9492-BF2230157088}" type="datetime'''4'''''''''">
              <a:rPr lang="en-US" altLang="en-US" sz="1000" smtClean="0"/>
              <a:pPr/>
              <a:t>4</a:t>
            </a:fld>
            <a:endParaRPr lang="en-US" sz="1000" dirty="0"/>
          </a:p>
        </p:txBody>
      </p:sp>
      <p:sp>
        <p:nvSpPr>
          <p:cNvPr id="581" name="text">
            <a:extLst>
              <a:ext uri="{FF2B5EF4-FFF2-40B4-BE49-F238E27FC236}">
                <a16:creationId xmlns:a16="http://schemas.microsoft.com/office/drawing/2014/main" id="{70792977-AC65-E98C-58A4-084DEEC1E270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8821738" y="2122488"/>
            <a:ext cx="19685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F1DF38D-D7DC-45C4-8790-B128A68ADD48}" type="datetime'''''''''''''''''5'''''''''''''''''''''''''''''''''''''''''''''">
              <a:rPr lang="en-US" altLang="en-US" sz="1000" smtClean="0"/>
              <a:pPr/>
              <a:t>5</a:t>
            </a:fld>
            <a:endParaRPr lang="en-US" sz="1000" dirty="0"/>
          </a:p>
        </p:txBody>
      </p:sp>
      <p:sp>
        <p:nvSpPr>
          <p:cNvPr id="582" name="text">
            <a:extLst>
              <a:ext uri="{FF2B5EF4-FFF2-40B4-BE49-F238E27FC236}">
                <a16:creationId xmlns:a16="http://schemas.microsoft.com/office/drawing/2014/main" id="{1EFECC9C-367A-B33A-B7AA-0812F3A61741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9018588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4653903-5964-4CA5-B88A-F736D0970A98}" type="datetime'''6'''''''''''''''''''''''''">
              <a:rPr lang="en-US" altLang="en-US" sz="1000" smtClean="0"/>
              <a:pPr/>
              <a:t>6</a:t>
            </a:fld>
            <a:endParaRPr lang="en-US" sz="1000" dirty="0"/>
          </a:p>
        </p:txBody>
      </p:sp>
      <p:sp>
        <p:nvSpPr>
          <p:cNvPr id="583" name="text">
            <a:extLst>
              <a:ext uri="{FF2B5EF4-FFF2-40B4-BE49-F238E27FC236}">
                <a16:creationId xmlns:a16="http://schemas.microsoft.com/office/drawing/2014/main" id="{07E30B85-EEFB-C772-8D45-81F64A043DE3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9210675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D208629-1994-415C-A962-3973D4DF1CB5}" type="datetime'7'''''''''''''">
              <a:rPr lang="en-US" altLang="en-US" sz="1000" smtClean="0"/>
              <a:pPr/>
              <a:t>7</a:t>
            </a:fld>
            <a:endParaRPr lang="en-US" sz="1000" dirty="0"/>
          </a:p>
        </p:txBody>
      </p:sp>
      <p:sp>
        <p:nvSpPr>
          <p:cNvPr id="584" name="text">
            <a:extLst>
              <a:ext uri="{FF2B5EF4-FFF2-40B4-BE49-F238E27FC236}">
                <a16:creationId xmlns:a16="http://schemas.microsoft.com/office/drawing/2014/main" id="{F8663177-580F-FFD6-D8FE-1EC22688E297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9409113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18CC8A2-C79B-41B3-8425-8457BED6E4AC}" type="datetime'''''''''''''''''''''8'''''''''''''''''''''''''''''''''''''''''">
              <a:rPr lang="en-US" altLang="en-US" sz="1000" smtClean="0"/>
              <a:pPr/>
              <a:t>8</a:t>
            </a:fld>
            <a:endParaRPr lang="en-US" sz="1000" dirty="0"/>
          </a:p>
        </p:txBody>
      </p:sp>
      <p:sp>
        <p:nvSpPr>
          <p:cNvPr id="585" name="text">
            <a:extLst>
              <a:ext uri="{FF2B5EF4-FFF2-40B4-BE49-F238E27FC236}">
                <a16:creationId xmlns:a16="http://schemas.microsoft.com/office/drawing/2014/main" id="{2E0EAC2A-0949-65B2-60BF-889DB9ADFB53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9607550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A9959FA-E362-46B8-89DD-389AFEC0B216}" type="datetime'''9'''''''''''''''''''''''''''''''''''''''''''''''''''''''''''">
              <a:rPr lang="en-US" altLang="en-US" sz="1000" smtClean="0"/>
              <a:pPr/>
              <a:t>9</a:t>
            </a:fld>
            <a:endParaRPr lang="en-US" sz="1000" dirty="0"/>
          </a:p>
        </p:txBody>
      </p:sp>
      <p:sp>
        <p:nvSpPr>
          <p:cNvPr id="586" name="text">
            <a:extLst>
              <a:ext uri="{FF2B5EF4-FFF2-40B4-BE49-F238E27FC236}">
                <a16:creationId xmlns:a16="http://schemas.microsoft.com/office/drawing/2014/main" id="{89FF2E92-365E-58D4-44D3-1450D62A6BBE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9799638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BDBEAC4-880F-4D2E-AB72-CE436A02E152}" type="datetime'1''''''''''''''''''''''''''''''0'">
              <a:rPr lang="en-US" altLang="en-US" sz="1000" smtClean="0"/>
              <a:pPr/>
              <a:t>10</a:t>
            </a:fld>
            <a:endParaRPr lang="en-US" sz="1000" dirty="0"/>
          </a:p>
        </p:txBody>
      </p:sp>
      <p:sp>
        <p:nvSpPr>
          <p:cNvPr id="587" name="text">
            <a:extLst>
              <a:ext uri="{FF2B5EF4-FFF2-40B4-BE49-F238E27FC236}">
                <a16:creationId xmlns:a16="http://schemas.microsoft.com/office/drawing/2014/main" id="{310435C2-D816-CF4F-FB05-4FFEEDF31618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9998075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2EBA5AF-28B9-4446-8439-B9A7440702A9}" type="datetime'''''''''''''''''''''''''''''''''''''''''''11'''''''''''''''''">
              <a:rPr lang="en-US" altLang="en-US" sz="1000" smtClean="0"/>
              <a:pPr/>
              <a:t>11</a:t>
            </a:fld>
            <a:endParaRPr lang="en-US" sz="1000" dirty="0"/>
          </a:p>
        </p:txBody>
      </p:sp>
      <p:sp>
        <p:nvSpPr>
          <p:cNvPr id="588" name="text">
            <a:extLst>
              <a:ext uri="{FF2B5EF4-FFF2-40B4-BE49-F238E27FC236}">
                <a16:creationId xmlns:a16="http://schemas.microsoft.com/office/drawing/2014/main" id="{D6A5BA73-5ED0-0DFE-4EEC-A4E0C7A11EFC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10190163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1EECCD8-AE7E-4553-9A4B-DDAC62665DE4}" type="datetime'''1''''''''''''''''''2'">
              <a:rPr lang="en-US" altLang="en-US" sz="1000" smtClean="0"/>
              <a:pPr/>
              <a:t>12</a:t>
            </a:fld>
            <a:endParaRPr lang="en-US" sz="1000" dirty="0"/>
          </a:p>
        </p:txBody>
      </p:sp>
      <p:cxnSp>
        <p:nvCxnSpPr>
          <p:cNvPr id="507" name="Gerader Verbinder 506">
            <a:extLst>
              <a:ext uri="{FF2B5EF4-FFF2-40B4-BE49-F238E27FC236}">
                <a16:creationId xmlns:a16="http://schemas.microsoft.com/office/drawing/2014/main" id="{E67D0606-D587-3129-91B2-614727B8F6FA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>
            <a:off x="8047038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1" name="Gerader Verbinder 420">
            <a:extLst>
              <a:ext uri="{FF2B5EF4-FFF2-40B4-BE49-F238E27FC236}">
                <a16:creationId xmlns:a16="http://schemas.microsoft.com/office/drawing/2014/main" id="{AA75208F-6B2D-0041-A491-75122103454C}"/>
              </a:ext>
            </a:extLst>
          </p:cNvPr>
          <p:cNvCxnSpPr/>
          <p:nvPr>
            <p:custDataLst>
              <p:tags r:id="rId67"/>
            </p:custDataLst>
          </p:nvPr>
        </p:nvCxnSpPr>
        <p:spPr bwMode="auto">
          <a:xfrm>
            <a:off x="5711825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964FC740-B40B-2116-0C28-61A0E8EA5EE4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>
            <a:off x="2198688" y="2309812"/>
            <a:ext cx="0" cy="33337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14107EB8-9436-47D8-F549-B95DA7FFD6D5}"/>
              </a:ext>
            </a:extLst>
          </p:cNvPr>
          <p:cNvCxnSpPr/>
          <p:nvPr>
            <p:custDataLst>
              <p:tags r:id="rId69"/>
            </p:custDataLst>
          </p:nvPr>
        </p:nvCxnSpPr>
        <p:spPr bwMode="auto">
          <a:xfrm>
            <a:off x="10388600" y="2309812"/>
            <a:ext cx="0" cy="33337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Gerader Verbinder 62">
            <a:extLst>
              <a:ext uri="{FF2B5EF4-FFF2-40B4-BE49-F238E27FC236}">
                <a16:creationId xmlns:a16="http://schemas.microsoft.com/office/drawing/2014/main" id="{88A661E8-B1AC-6651-5D14-28DE84627044}"/>
              </a:ext>
            </a:extLst>
          </p:cNvPr>
          <p:cNvCxnSpPr/>
          <p:nvPr>
            <p:custDataLst>
              <p:tags r:id="rId70"/>
            </p:custDataLst>
          </p:nvPr>
        </p:nvCxnSpPr>
        <p:spPr bwMode="auto">
          <a:xfrm>
            <a:off x="525463" y="2309812"/>
            <a:ext cx="0" cy="33337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Gerader Verbinder 72">
            <a:extLst>
              <a:ext uri="{FF2B5EF4-FFF2-40B4-BE49-F238E27FC236}">
                <a16:creationId xmlns:a16="http://schemas.microsoft.com/office/drawing/2014/main" id="{EF1E6E95-B1DD-D6C1-5E64-E12954DA2784}"/>
              </a:ext>
            </a:extLst>
          </p:cNvPr>
          <p:cNvCxnSpPr/>
          <p:nvPr>
            <p:custDataLst>
              <p:tags r:id="rId71"/>
            </p:custDataLst>
          </p:nvPr>
        </p:nvCxnSpPr>
        <p:spPr bwMode="auto">
          <a:xfrm>
            <a:off x="11663363" y="2309812"/>
            <a:ext cx="0" cy="33337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0" name="Gerader Verbinder 419">
            <a:extLst>
              <a:ext uri="{FF2B5EF4-FFF2-40B4-BE49-F238E27FC236}">
                <a16:creationId xmlns:a16="http://schemas.microsoft.com/office/drawing/2014/main" id="{1872D9B0-84F4-4F2E-5D6F-08FC1ED76346}"/>
              </a:ext>
            </a:extLst>
          </p:cNvPr>
          <p:cNvCxnSpPr/>
          <p:nvPr>
            <p:custDataLst>
              <p:tags r:id="rId72"/>
            </p:custDataLst>
          </p:nvPr>
        </p:nvCxnSpPr>
        <p:spPr bwMode="auto">
          <a:xfrm>
            <a:off x="3376613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2" name="Gerader Verbinder 411">
            <a:extLst>
              <a:ext uri="{FF2B5EF4-FFF2-40B4-BE49-F238E27FC236}">
                <a16:creationId xmlns:a16="http://schemas.microsoft.com/office/drawing/2014/main" id="{6864E3FF-6012-92C5-DEC3-C1296A409EEB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>
            <a:off x="6286500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3" name="Gerader Verbinder 412">
            <a:extLst>
              <a:ext uri="{FF2B5EF4-FFF2-40B4-BE49-F238E27FC236}">
                <a16:creationId xmlns:a16="http://schemas.microsoft.com/office/drawing/2014/main" id="{69D6BBEA-62FC-3D67-D4EC-08ACF90C12D9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>
            <a:off x="6869113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9" name="Gerader Verbinder 438">
            <a:extLst>
              <a:ext uri="{FF2B5EF4-FFF2-40B4-BE49-F238E27FC236}">
                <a16:creationId xmlns:a16="http://schemas.microsoft.com/office/drawing/2014/main" id="{9D22BA6B-AFEA-3058-E477-9D8B3D5CB690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>
            <a:off x="8629650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0" name="Gerader Verbinder 439">
            <a:extLst>
              <a:ext uri="{FF2B5EF4-FFF2-40B4-BE49-F238E27FC236}">
                <a16:creationId xmlns:a16="http://schemas.microsoft.com/office/drawing/2014/main" id="{24BFC09E-087D-0CE9-6CB5-EF3DEBEBCC34}"/>
              </a:ext>
            </a:extLst>
          </p:cNvPr>
          <p:cNvCxnSpPr/>
          <p:nvPr>
            <p:custDataLst>
              <p:tags r:id="rId76"/>
            </p:custDataLst>
          </p:nvPr>
        </p:nvCxnSpPr>
        <p:spPr bwMode="auto">
          <a:xfrm>
            <a:off x="9210675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1" name="Gerader Verbinder 410">
            <a:extLst>
              <a:ext uri="{FF2B5EF4-FFF2-40B4-BE49-F238E27FC236}">
                <a16:creationId xmlns:a16="http://schemas.microsoft.com/office/drawing/2014/main" id="{3B74E559-36AC-B2FC-7AD4-22920B9318FB}"/>
              </a:ext>
            </a:extLst>
          </p:cNvPr>
          <p:cNvCxnSpPr/>
          <p:nvPr>
            <p:custDataLst>
              <p:tags r:id="rId77"/>
            </p:custDataLst>
          </p:nvPr>
        </p:nvCxnSpPr>
        <p:spPr bwMode="auto">
          <a:xfrm>
            <a:off x="5122863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8" name="Gerader Verbinder 437">
            <a:extLst>
              <a:ext uri="{FF2B5EF4-FFF2-40B4-BE49-F238E27FC236}">
                <a16:creationId xmlns:a16="http://schemas.microsoft.com/office/drawing/2014/main" id="{62D662D8-B554-43E3-05FD-0213F63B9C6F}"/>
              </a:ext>
            </a:extLst>
          </p:cNvPr>
          <p:cNvCxnSpPr/>
          <p:nvPr>
            <p:custDataLst>
              <p:tags r:id="rId78"/>
            </p:custDataLst>
          </p:nvPr>
        </p:nvCxnSpPr>
        <p:spPr bwMode="auto">
          <a:xfrm>
            <a:off x="7458075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0" name="Gerader Verbinder 409">
            <a:extLst>
              <a:ext uri="{FF2B5EF4-FFF2-40B4-BE49-F238E27FC236}">
                <a16:creationId xmlns:a16="http://schemas.microsoft.com/office/drawing/2014/main" id="{069FEE65-9692-FA61-461D-4FAA3661A180}"/>
              </a:ext>
            </a:extLst>
          </p:cNvPr>
          <p:cNvCxnSpPr/>
          <p:nvPr>
            <p:custDataLst>
              <p:tags r:id="rId79"/>
            </p:custDataLst>
          </p:nvPr>
        </p:nvCxnSpPr>
        <p:spPr bwMode="auto">
          <a:xfrm>
            <a:off x="4533900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9" name="Gerader Verbinder 508">
            <a:extLst>
              <a:ext uri="{FF2B5EF4-FFF2-40B4-BE49-F238E27FC236}">
                <a16:creationId xmlns:a16="http://schemas.microsoft.com/office/drawing/2014/main" id="{F722FEFD-121F-C05B-4614-C2807403CEFB}"/>
              </a:ext>
            </a:extLst>
          </p:cNvPr>
          <p:cNvCxnSpPr/>
          <p:nvPr>
            <p:custDataLst>
              <p:tags r:id="rId80"/>
            </p:custDataLst>
          </p:nvPr>
        </p:nvCxnSpPr>
        <p:spPr bwMode="auto">
          <a:xfrm>
            <a:off x="9799638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9" name="Gerader Verbinder 408">
            <a:extLst>
              <a:ext uri="{FF2B5EF4-FFF2-40B4-BE49-F238E27FC236}">
                <a16:creationId xmlns:a16="http://schemas.microsoft.com/office/drawing/2014/main" id="{6EE77EEB-AD2C-2B20-3660-8C0EC3646B49}"/>
              </a:ext>
            </a:extLst>
          </p:cNvPr>
          <p:cNvCxnSpPr/>
          <p:nvPr>
            <p:custDataLst>
              <p:tags r:id="rId81"/>
            </p:custDataLst>
          </p:nvPr>
        </p:nvCxnSpPr>
        <p:spPr bwMode="auto">
          <a:xfrm>
            <a:off x="3951288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8" name="Gerader Verbinder 407">
            <a:extLst>
              <a:ext uri="{FF2B5EF4-FFF2-40B4-BE49-F238E27FC236}">
                <a16:creationId xmlns:a16="http://schemas.microsoft.com/office/drawing/2014/main" id="{ED8D0773-955C-355E-180F-2AA6852ACE02}"/>
              </a:ext>
            </a:extLst>
          </p:cNvPr>
          <p:cNvCxnSpPr/>
          <p:nvPr>
            <p:custDataLst>
              <p:tags r:id="rId82"/>
            </p:custDataLst>
          </p:nvPr>
        </p:nvCxnSpPr>
        <p:spPr bwMode="auto">
          <a:xfrm>
            <a:off x="2787650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3" name="Gerader Verbinder 462">
            <a:extLst>
              <a:ext uri="{FF2B5EF4-FFF2-40B4-BE49-F238E27FC236}">
                <a16:creationId xmlns:a16="http://schemas.microsoft.com/office/drawing/2014/main" id="{E69BBBE6-A902-FB94-08A1-547AF1B23935}"/>
              </a:ext>
            </a:extLst>
          </p:cNvPr>
          <p:cNvCxnSpPr/>
          <p:nvPr>
            <p:custDataLst>
              <p:tags r:id="rId83"/>
            </p:custDataLst>
          </p:nvPr>
        </p:nvCxnSpPr>
        <p:spPr bwMode="auto">
          <a:xfrm>
            <a:off x="525463" y="3421063"/>
            <a:ext cx="111379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4" name="Gerader Verbinder 463">
            <a:extLst>
              <a:ext uri="{FF2B5EF4-FFF2-40B4-BE49-F238E27FC236}">
                <a16:creationId xmlns:a16="http://schemas.microsoft.com/office/drawing/2014/main" id="{C8547EA7-AEBF-E404-DA53-7CF1332249BB}"/>
              </a:ext>
            </a:extLst>
          </p:cNvPr>
          <p:cNvCxnSpPr/>
          <p:nvPr>
            <p:custDataLst>
              <p:tags r:id="rId84"/>
            </p:custDataLst>
          </p:nvPr>
        </p:nvCxnSpPr>
        <p:spPr bwMode="auto">
          <a:xfrm>
            <a:off x="525463" y="5073650"/>
            <a:ext cx="111379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8A211C1D-5BF2-C903-036A-EDB828AEE71C}"/>
              </a:ext>
            </a:extLst>
          </p:cNvPr>
          <p:cNvCxnSpPr/>
          <p:nvPr>
            <p:custDataLst>
              <p:tags r:id="rId85"/>
            </p:custDataLst>
          </p:nvPr>
        </p:nvCxnSpPr>
        <p:spPr bwMode="auto">
          <a:xfrm>
            <a:off x="525463" y="5643563"/>
            <a:ext cx="111379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B0184DA5-085D-3A4B-DE1D-B7BCEEB04F7F}"/>
              </a:ext>
            </a:extLst>
          </p:cNvPr>
          <p:cNvCxnSpPr/>
          <p:nvPr>
            <p:custDataLst>
              <p:tags r:id="rId86"/>
            </p:custDataLst>
          </p:nvPr>
        </p:nvCxnSpPr>
        <p:spPr bwMode="auto">
          <a:xfrm>
            <a:off x="2730500" y="2309813"/>
            <a:ext cx="0" cy="34972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DC18ACB8-FDAD-B3A6-9B9E-029C2D922E1F}"/>
              </a:ext>
            </a:extLst>
          </p:cNvPr>
          <p:cNvCxnSpPr/>
          <p:nvPr>
            <p:custDataLst>
              <p:tags r:id="rId87"/>
            </p:custDataLst>
          </p:nvPr>
        </p:nvCxnSpPr>
        <p:spPr bwMode="auto">
          <a:xfrm>
            <a:off x="525463" y="2309813"/>
            <a:ext cx="111379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AD357E80-F6FD-0414-0B8E-4B20FCC58040}"/>
              </a:ext>
            </a:extLst>
          </p:cNvPr>
          <p:cNvSpPr/>
          <p:nvPr>
            <p:custDataLst>
              <p:tags r:id="rId88"/>
            </p:custDataLst>
          </p:nvPr>
        </p:nvSpPr>
        <p:spPr bwMode="auto">
          <a:xfrm>
            <a:off x="3714750" y="2401888"/>
            <a:ext cx="301625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11EAFD09-EBEE-3387-302D-F2BA0CCD816B}"/>
              </a:ext>
            </a:extLst>
          </p:cNvPr>
          <p:cNvSpPr/>
          <p:nvPr>
            <p:custDataLst>
              <p:tags r:id="rId89"/>
            </p:custDataLst>
          </p:nvPr>
        </p:nvSpPr>
        <p:spPr bwMode="auto">
          <a:xfrm>
            <a:off x="5059364" y="3214688"/>
            <a:ext cx="568325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70" name="Rechteck 469">
            <a:extLst>
              <a:ext uri="{FF2B5EF4-FFF2-40B4-BE49-F238E27FC236}">
                <a16:creationId xmlns:a16="http://schemas.microsoft.com/office/drawing/2014/main" id="{943F9590-AEEB-EE8D-9155-55E0F036DB42}"/>
              </a:ext>
            </a:extLst>
          </p:cNvPr>
          <p:cNvSpPr/>
          <p:nvPr>
            <p:custDataLst>
              <p:tags r:id="rId90"/>
            </p:custDataLst>
          </p:nvPr>
        </p:nvSpPr>
        <p:spPr bwMode="auto">
          <a:xfrm>
            <a:off x="6402388" y="4867275"/>
            <a:ext cx="122238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68" name="Rechteck 467">
            <a:extLst>
              <a:ext uri="{FF2B5EF4-FFF2-40B4-BE49-F238E27FC236}">
                <a16:creationId xmlns:a16="http://schemas.microsoft.com/office/drawing/2014/main" id="{7AB71369-BD51-8159-EA35-E3217543E230}"/>
              </a:ext>
            </a:extLst>
          </p:cNvPr>
          <p:cNvSpPr/>
          <p:nvPr>
            <p:custDataLst>
              <p:tags r:id="rId91"/>
            </p:custDataLst>
          </p:nvPr>
        </p:nvSpPr>
        <p:spPr bwMode="auto">
          <a:xfrm>
            <a:off x="6267450" y="4595813"/>
            <a:ext cx="166688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73" name="Rechteck 472">
            <a:extLst>
              <a:ext uri="{FF2B5EF4-FFF2-40B4-BE49-F238E27FC236}">
                <a16:creationId xmlns:a16="http://schemas.microsoft.com/office/drawing/2014/main" id="{EAE5EBCA-7A39-9EBA-02FB-3D2552F738D3}"/>
              </a:ext>
            </a:extLst>
          </p:cNvPr>
          <p:cNvSpPr/>
          <p:nvPr>
            <p:custDataLst>
              <p:tags r:id="rId92"/>
            </p:custDataLst>
          </p:nvPr>
        </p:nvSpPr>
        <p:spPr bwMode="auto">
          <a:xfrm>
            <a:off x="6134100" y="4325938"/>
            <a:ext cx="166688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85" name="Rechteck 484">
            <a:extLst>
              <a:ext uri="{FF2B5EF4-FFF2-40B4-BE49-F238E27FC236}">
                <a16:creationId xmlns:a16="http://schemas.microsoft.com/office/drawing/2014/main" id="{CD894301-32B4-C084-97C9-91F7B12C04BC}"/>
              </a:ext>
            </a:extLst>
          </p:cNvPr>
          <p:cNvSpPr/>
          <p:nvPr>
            <p:custDataLst>
              <p:tags r:id="rId93"/>
            </p:custDataLst>
          </p:nvPr>
        </p:nvSpPr>
        <p:spPr bwMode="auto">
          <a:xfrm>
            <a:off x="5595938" y="3513138"/>
            <a:ext cx="301625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62" name="Rechteck 461">
            <a:extLst>
              <a:ext uri="{FF2B5EF4-FFF2-40B4-BE49-F238E27FC236}">
                <a16:creationId xmlns:a16="http://schemas.microsoft.com/office/drawing/2014/main" id="{8B7459EB-6C2F-D8AF-DBCA-00A7C9661309}"/>
              </a:ext>
            </a:extLst>
          </p:cNvPr>
          <p:cNvSpPr/>
          <p:nvPr>
            <p:custDataLst>
              <p:tags r:id="rId94"/>
            </p:custDataLst>
          </p:nvPr>
        </p:nvSpPr>
        <p:spPr bwMode="auto">
          <a:xfrm>
            <a:off x="5864225" y="3784600"/>
            <a:ext cx="166688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51" name="Rechteck 450">
            <a:extLst>
              <a:ext uri="{FF2B5EF4-FFF2-40B4-BE49-F238E27FC236}">
                <a16:creationId xmlns:a16="http://schemas.microsoft.com/office/drawing/2014/main" id="{C78195F5-4FAC-DDAC-81C7-72191220813B}"/>
              </a:ext>
            </a:extLst>
          </p:cNvPr>
          <p:cNvSpPr/>
          <p:nvPr>
            <p:custDataLst>
              <p:tags r:id="rId95"/>
            </p:custDataLst>
          </p:nvPr>
        </p:nvSpPr>
        <p:spPr bwMode="auto">
          <a:xfrm>
            <a:off x="6030913" y="4054475"/>
            <a:ext cx="134938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8016A08-335B-D79E-3382-8D89B60551AF}"/>
              </a:ext>
            </a:extLst>
          </p:cNvPr>
          <p:cNvSpPr/>
          <p:nvPr>
            <p:custDataLst>
              <p:tags r:id="rId96"/>
            </p:custDataLst>
          </p:nvPr>
        </p:nvSpPr>
        <p:spPr bwMode="auto">
          <a:xfrm>
            <a:off x="3984626" y="2673350"/>
            <a:ext cx="568325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7D397643-C830-2A54-A18D-FB570C9971DA}"/>
              </a:ext>
            </a:extLst>
          </p:cNvPr>
          <p:cNvSpPr/>
          <p:nvPr>
            <p:custDataLst>
              <p:tags r:id="rId97"/>
            </p:custDataLst>
          </p:nvPr>
        </p:nvSpPr>
        <p:spPr bwMode="auto">
          <a:xfrm>
            <a:off x="4521201" y="2943225"/>
            <a:ext cx="569913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48" name="Rechteck 447">
            <a:extLst>
              <a:ext uri="{FF2B5EF4-FFF2-40B4-BE49-F238E27FC236}">
                <a16:creationId xmlns:a16="http://schemas.microsoft.com/office/drawing/2014/main" id="{C9243B80-BE44-750D-8D36-DA1D84F3C76B}"/>
              </a:ext>
            </a:extLst>
          </p:cNvPr>
          <p:cNvSpPr/>
          <p:nvPr>
            <p:custDataLst>
              <p:tags r:id="rId98"/>
            </p:custDataLst>
          </p:nvPr>
        </p:nvSpPr>
        <p:spPr bwMode="auto">
          <a:xfrm>
            <a:off x="6505575" y="5165725"/>
            <a:ext cx="1349375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49" name="Rechteck 448">
            <a:extLst>
              <a:ext uri="{FF2B5EF4-FFF2-40B4-BE49-F238E27FC236}">
                <a16:creationId xmlns:a16="http://schemas.microsoft.com/office/drawing/2014/main" id="{87ECE8A4-3FA1-DAA1-01B4-5703D2AE6C82}"/>
              </a:ext>
            </a:extLst>
          </p:cNvPr>
          <p:cNvSpPr/>
          <p:nvPr>
            <p:custDataLst>
              <p:tags r:id="rId99"/>
            </p:custDataLst>
          </p:nvPr>
        </p:nvSpPr>
        <p:spPr bwMode="auto">
          <a:xfrm>
            <a:off x="7899400" y="5437188"/>
            <a:ext cx="1133475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26" name="Pfeil: nach links 25">
            <a:extLst>
              <a:ext uri="{FF2B5EF4-FFF2-40B4-BE49-F238E27FC236}">
                <a16:creationId xmlns:a16="http://schemas.microsoft.com/office/drawing/2014/main" id="{EEA68E04-4ADC-F77F-5E63-9E098D47A7A9}"/>
              </a:ext>
            </a:extLst>
          </p:cNvPr>
          <p:cNvSpPr/>
          <p:nvPr>
            <p:custDataLst>
              <p:tags r:id="rId100"/>
            </p:custDataLst>
          </p:nvPr>
        </p:nvSpPr>
        <p:spPr bwMode="auto">
          <a:xfrm>
            <a:off x="2082800" y="2643187"/>
            <a:ext cx="1901825" cy="158750"/>
          </a:xfrm>
          <a:prstGeom prst="leftArrow">
            <a:avLst>
              <a:gd name="adj1" fmla="val 50000"/>
              <a:gd name="adj2" fmla="val 40660"/>
            </a:avLst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9FEACE2B-F877-2E38-2912-E34B16531875}"/>
              </a:ext>
            </a:extLst>
          </p:cNvPr>
          <p:cNvSpPr/>
          <p:nvPr>
            <p:custDataLst>
              <p:tags r:id="rId101"/>
            </p:custDataLst>
          </p:nvPr>
        </p:nvSpPr>
        <p:spPr bwMode="auto">
          <a:xfrm>
            <a:off x="3465513" y="2952750"/>
            <a:ext cx="1055688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C4C62797-2D73-77E8-F3C7-806E607F09E5}"/>
              </a:ext>
            </a:extLst>
          </p:cNvPr>
          <p:cNvSpPr/>
          <p:nvPr>
            <p:custDataLst>
              <p:tags r:id="rId102"/>
            </p:custDataLst>
          </p:nvPr>
        </p:nvSpPr>
        <p:spPr bwMode="auto">
          <a:xfrm>
            <a:off x="4527551" y="3224213"/>
            <a:ext cx="531813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53" name="Rechteck 452">
            <a:extLst>
              <a:ext uri="{FF2B5EF4-FFF2-40B4-BE49-F238E27FC236}">
                <a16:creationId xmlns:a16="http://schemas.microsoft.com/office/drawing/2014/main" id="{F4209156-BE36-6929-AD5E-360F60688075}"/>
              </a:ext>
            </a:extLst>
          </p:cNvPr>
          <p:cNvSpPr/>
          <p:nvPr>
            <p:custDataLst>
              <p:tags r:id="rId103"/>
            </p:custDataLst>
          </p:nvPr>
        </p:nvSpPr>
        <p:spPr bwMode="auto">
          <a:xfrm>
            <a:off x="5781676" y="4335463"/>
            <a:ext cx="352425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CCB03728-1E78-24C0-99E5-7815786E4A7C}"/>
              </a:ext>
            </a:extLst>
          </p:cNvPr>
          <p:cNvSpPr/>
          <p:nvPr>
            <p:custDataLst>
              <p:tags r:id="rId104"/>
            </p:custDataLst>
          </p:nvPr>
        </p:nvSpPr>
        <p:spPr bwMode="auto">
          <a:xfrm>
            <a:off x="2973388" y="2411413"/>
            <a:ext cx="741363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B088C14E-385D-E86E-21FC-52B6372018AF}"/>
              </a:ext>
            </a:extLst>
          </p:cNvPr>
          <p:cNvSpPr/>
          <p:nvPr>
            <p:custDataLst>
              <p:tags r:id="rId105"/>
            </p:custDataLst>
          </p:nvPr>
        </p:nvSpPr>
        <p:spPr bwMode="auto">
          <a:xfrm>
            <a:off x="4886326" y="3522663"/>
            <a:ext cx="709613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D23F999C-4581-E7C3-A6EA-B0A21D13061D}"/>
              </a:ext>
            </a:extLst>
          </p:cNvPr>
          <p:cNvSpPr/>
          <p:nvPr>
            <p:custDataLst>
              <p:tags r:id="rId106"/>
            </p:custDataLst>
          </p:nvPr>
        </p:nvSpPr>
        <p:spPr bwMode="auto">
          <a:xfrm>
            <a:off x="5245100" y="3794125"/>
            <a:ext cx="619125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02491CF6-8FD9-64D1-9947-C94EDBFEADD1}"/>
              </a:ext>
            </a:extLst>
          </p:cNvPr>
          <p:cNvSpPr/>
          <p:nvPr>
            <p:custDataLst>
              <p:tags r:id="rId107"/>
            </p:custDataLst>
          </p:nvPr>
        </p:nvSpPr>
        <p:spPr bwMode="auto">
          <a:xfrm>
            <a:off x="5422900" y="4064000"/>
            <a:ext cx="608013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6C330F49-B1BA-FAD4-C884-C7C8A4FF1742}"/>
              </a:ext>
            </a:extLst>
          </p:cNvPr>
          <p:cNvSpPr/>
          <p:nvPr>
            <p:custDataLst>
              <p:tags r:id="rId108"/>
            </p:custDataLst>
          </p:nvPr>
        </p:nvSpPr>
        <p:spPr bwMode="auto">
          <a:xfrm>
            <a:off x="5781675" y="4605338"/>
            <a:ext cx="485775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52" name="Rechteck 451">
            <a:extLst>
              <a:ext uri="{FF2B5EF4-FFF2-40B4-BE49-F238E27FC236}">
                <a16:creationId xmlns:a16="http://schemas.microsoft.com/office/drawing/2014/main" id="{F151811C-6D50-0CFE-608A-9C9DC427DD2E}"/>
              </a:ext>
            </a:extLst>
          </p:cNvPr>
          <p:cNvSpPr/>
          <p:nvPr>
            <p:custDataLst>
              <p:tags r:id="rId109"/>
            </p:custDataLst>
          </p:nvPr>
        </p:nvSpPr>
        <p:spPr bwMode="auto">
          <a:xfrm>
            <a:off x="5961064" y="4876800"/>
            <a:ext cx="441325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3" name="Raute 522">
            <a:extLst>
              <a:ext uri="{FF2B5EF4-FFF2-40B4-BE49-F238E27FC236}">
                <a16:creationId xmlns:a16="http://schemas.microsoft.com/office/drawing/2014/main" id="{E7B40E2B-68F4-F422-73A8-1CEA0E441527}"/>
              </a:ext>
            </a:extLst>
          </p:cNvPr>
          <p:cNvSpPr/>
          <p:nvPr>
            <p:custDataLst>
              <p:tags r:id="rId110"/>
            </p:custDataLst>
          </p:nvPr>
        </p:nvSpPr>
        <p:spPr bwMode="gray">
          <a:xfrm>
            <a:off x="4470400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5" name="Raute 574">
            <a:extLst>
              <a:ext uri="{FF2B5EF4-FFF2-40B4-BE49-F238E27FC236}">
                <a16:creationId xmlns:a16="http://schemas.microsoft.com/office/drawing/2014/main" id="{72156433-E8AA-0708-8F48-11F2FC6E8830}"/>
              </a:ext>
            </a:extLst>
          </p:cNvPr>
          <p:cNvSpPr/>
          <p:nvPr>
            <p:custDataLst>
              <p:tags r:id="rId111"/>
            </p:custDataLst>
          </p:nvPr>
        </p:nvSpPr>
        <p:spPr bwMode="gray">
          <a:xfrm>
            <a:off x="8834438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2" name="Raute 521">
            <a:extLst>
              <a:ext uri="{FF2B5EF4-FFF2-40B4-BE49-F238E27FC236}">
                <a16:creationId xmlns:a16="http://schemas.microsoft.com/office/drawing/2014/main" id="{AEBA8CF2-8C22-FB53-AF39-88907560D96D}"/>
              </a:ext>
            </a:extLst>
          </p:cNvPr>
          <p:cNvSpPr/>
          <p:nvPr>
            <p:custDataLst>
              <p:tags r:id="rId112"/>
            </p:custDataLst>
          </p:nvPr>
        </p:nvSpPr>
        <p:spPr bwMode="gray">
          <a:xfrm>
            <a:off x="4291013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7" name="Raute 566">
            <a:extLst>
              <a:ext uri="{FF2B5EF4-FFF2-40B4-BE49-F238E27FC236}">
                <a16:creationId xmlns:a16="http://schemas.microsoft.com/office/drawing/2014/main" id="{8104163F-3653-BEFF-301B-3E0B06E471E3}"/>
              </a:ext>
            </a:extLst>
          </p:cNvPr>
          <p:cNvSpPr/>
          <p:nvPr>
            <p:custDataLst>
              <p:tags r:id="rId113"/>
            </p:custDataLst>
          </p:nvPr>
        </p:nvSpPr>
        <p:spPr bwMode="gray">
          <a:xfrm>
            <a:off x="7656513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47" name="Raute 446">
            <a:extLst>
              <a:ext uri="{FF2B5EF4-FFF2-40B4-BE49-F238E27FC236}">
                <a16:creationId xmlns:a16="http://schemas.microsoft.com/office/drawing/2014/main" id="{4EAC8FBD-9365-35A8-4B42-9756464467E0}"/>
              </a:ext>
            </a:extLst>
          </p:cNvPr>
          <p:cNvSpPr/>
          <p:nvPr>
            <p:custDataLst>
              <p:tags r:id="rId114"/>
            </p:custDataLst>
          </p:nvPr>
        </p:nvSpPr>
        <p:spPr bwMode="gray">
          <a:xfrm>
            <a:off x="2916238" y="23939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4" name="Raute 573">
            <a:extLst>
              <a:ext uri="{FF2B5EF4-FFF2-40B4-BE49-F238E27FC236}">
                <a16:creationId xmlns:a16="http://schemas.microsoft.com/office/drawing/2014/main" id="{E41FA045-8375-4473-8114-53A0B2CB12EF}"/>
              </a:ext>
            </a:extLst>
          </p:cNvPr>
          <p:cNvSpPr/>
          <p:nvPr>
            <p:custDataLst>
              <p:tags r:id="rId115"/>
            </p:custDataLst>
          </p:nvPr>
        </p:nvSpPr>
        <p:spPr bwMode="gray">
          <a:xfrm>
            <a:off x="8462963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1" name="Raute 520">
            <a:extLst>
              <a:ext uri="{FF2B5EF4-FFF2-40B4-BE49-F238E27FC236}">
                <a16:creationId xmlns:a16="http://schemas.microsoft.com/office/drawing/2014/main" id="{A14F75EE-6C41-50A7-0DF7-922F47392AC3}"/>
              </a:ext>
            </a:extLst>
          </p:cNvPr>
          <p:cNvSpPr/>
          <p:nvPr>
            <p:custDataLst>
              <p:tags r:id="rId116"/>
            </p:custDataLst>
          </p:nvPr>
        </p:nvSpPr>
        <p:spPr bwMode="gray">
          <a:xfrm>
            <a:off x="4111625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4" name="Raute 563">
            <a:extLst>
              <a:ext uri="{FF2B5EF4-FFF2-40B4-BE49-F238E27FC236}">
                <a16:creationId xmlns:a16="http://schemas.microsoft.com/office/drawing/2014/main" id="{46C722DF-93C8-331F-989D-29D9DEBC36AE}"/>
              </a:ext>
            </a:extLst>
          </p:cNvPr>
          <p:cNvSpPr/>
          <p:nvPr>
            <p:custDataLst>
              <p:tags r:id="rId117"/>
            </p:custDataLst>
          </p:nvPr>
        </p:nvSpPr>
        <p:spPr bwMode="gray">
          <a:xfrm>
            <a:off x="7464425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16" name="Raute 515">
            <a:extLst>
              <a:ext uri="{FF2B5EF4-FFF2-40B4-BE49-F238E27FC236}">
                <a16:creationId xmlns:a16="http://schemas.microsoft.com/office/drawing/2014/main" id="{7491226E-A86C-3C2B-82FF-EC946B8EA3FE}"/>
              </a:ext>
            </a:extLst>
          </p:cNvPr>
          <p:cNvSpPr/>
          <p:nvPr>
            <p:custDataLst>
              <p:tags r:id="rId118"/>
            </p:custDataLst>
          </p:nvPr>
        </p:nvSpPr>
        <p:spPr bwMode="gray">
          <a:xfrm>
            <a:off x="3408363" y="29352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3" name="Raute 572">
            <a:extLst>
              <a:ext uri="{FF2B5EF4-FFF2-40B4-BE49-F238E27FC236}">
                <a16:creationId xmlns:a16="http://schemas.microsoft.com/office/drawing/2014/main" id="{10CE5D4C-8293-343A-B120-E37ECDA1381D}"/>
              </a:ext>
            </a:extLst>
          </p:cNvPr>
          <p:cNvSpPr/>
          <p:nvPr>
            <p:custDataLst>
              <p:tags r:id="rId119"/>
            </p:custDataLst>
          </p:nvPr>
        </p:nvSpPr>
        <p:spPr bwMode="gray">
          <a:xfrm>
            <a:off x="8283575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3" name="Raute 562">
            <a:extLst>
              <a:ext uri="{FF2B5EF4-FFF2-40B4-BE49-F238E27FC236}">
                <a16:creationId xmlns:a16="http://schemas.microsoft.com/office/drawing/2014/main" id="{FD0A3732-F94B-C4CA-2A6B-CEDA5F640A3E}"/>
              </a:ext>
            </a:extLst>
          </p:cNvPr>
          <p:cNvSpPr/>
          <p:nvPr>
            <p:custDataLst>
              <p:tags r:id="rId120"/>
            </p:custDataLst>
          </p:nvPr>
        </p:nvSpPr>
        <p:spPr bwMode="gray">
          <a:xfrm>
            <a:off x="7299325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71" name="Raute 470">
            <a:extLst>
              <a:ext uri="{FF2B5EF4-FFF2-40B4-BE49-F238E27FC236}">
                <a16:creationId xmlns:a16="http://schemas.microsoft.com/office/drawing/2014/main" id="{28E1F681-F7EE-EE18-6A61-1E1F66A55E0B}"/>
              </a:ext>
            </a:extLst>
          </p:cNvPr>
          <p:cNvSpPr/>
          <p:nvPr>
            <p:custDataLst>
              <p:tags r:id="rId121"/>
            </p:custDataLst>
          </p:nvPr>
        </p:nvSpPr>
        <p:spPr bwMode="gray">
          <a:xfrm>
            <a:off x="3254375" y="29352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19" name="Raute 518">
            <a:extLst>
              <a:ext uri="{FF2B5EF4-FFF2-40B4-BE49-F238E27FC236}">
                <a16:creationId xmlns:a16="http://schemas.microsoft.com/office/drawing/2014/main" id="{E124BE18-9C6F-542F-ED3C-6EEE71D36351}"/>
              </a:ext>
            </a:extLst>
          </p:cNvPr>
          <p:cNvSpPr/>
          <p:nvPr>
            <p:custDataLst>
              <p:tags r:id="rId122"/>
            </p:custDataLst>
          </p:nvPr>
        </p:nvSpPr>
        <p:spPr bwMode="gray">
          <a:xfrm>
            <a:off x="3946525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2" name="Raute 571">
            <a:extLst>
              <a:ext uri="{FF2B5EF4-FFF2-40B4-BE49-F238E27FC236}">
                <a16:creationId xmlns:a16="http://schemas.microsoft.com/office/drawing/2014/main" id="{0B12F8ED-8E3B-8C27-7F0D-1D6D3C795576}"/>
              </a:ext>
            </a:extLst>
          </p:cNvPr>
          <p:cNvSpPr/>
          <p:nvPr>
            <p:custDataLst>
              <p:tags r:id="rId123"/>
            </p:custDataLst>
          </p:nvPr>
        </p:nvSpPr>
        <p:spPr bwMode="gray">
          <a:xfrm>
            <a:off x="8194675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67" name="Raute 466">
            <a:extLst>
              <a:ext uri="{FF2B5EF4-FFF2-40B4-BE49-F238E27FC236}">
                <a16:creationId xmlns:a16="http://schemas.microsoft.com/office/drawing/2014/main" id="{187F8F90-6806-B20D-C16E-B4DFEB1E355B}"/>
              </a:ext>
            </a:extLst>
          </p:cNvPr>
          <p:cNvSpPr/>
          <p:nvPr>
            <p:custDataLst>
              <p:tags r:id="rId124"/>
            </p:custDataLst>
          </p:nvPr>
        </p:nvSpPr>
        <p:spPr bwMode="gray">
          <a:xfrm>
            <a:off x="3074988" y="29352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45" name="Raute 544">
            <a:extLst>
              <a:ext uri="{FF2B5EF4-FFF2-40B4-BE49-F238E27FC236}">
                <a16:creationId xmlns:a16="http://schemas.microsoft.com/office/drawing/2014/main" id="{630FC820-89CA-002A-09EE-C02EDE011F0A}"/>
              </a:ext>
            </a:extLst>
          </p:cNvPr>
          <p:cNvSpPr/>
          <p:nvPr>
            <p:custDataLst>
              <p:tags r:id="rId125"/>
            </p:custDataLst>
          </p:nvPr>
        </p:nvSpPr>
        <p:spPr bwMode="gray">
          <a:xfrm>
            <a:off x="5724525" y="4587875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99" name="Raute 598">
            <a:extLst>
              <a:ext uri="{FF2B5EF4-FFF2-40B4-BE49-F238E27FC236}">
                <a16:creationId xmlns:a16="http://schemas.microsoft.com/office/drawing/2014/main" id="{F7F77632-A5BA-66B8-9AB7-5115E5A24192}"/>
              </a:ext>
            </a:extLst>
          </p:cNvPr>
          <p:cNvSpPr/>
          <p:nvPr>
            <p:custDataLst>
              <p:tags r:id="rId126"/>
            </p:custDataLst>
          </p:nvPr>
        </p:nvSpPr>
        <p:spPr bwMode="gray">
          <a:xfrm>
            <a:off x="5187950" y="3776663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1" name="Raute 570">
            <a:extLst>
              <a:ext uri="{FF2B5EF4-FFF2-40B4-BE49-F238E27FC236}">
                <a16:creationId xmlns:a16="http://schemas.microsoft.com/office/drawing/2014/main" id="{B2407BCB-D440-9F15-3339-FB99D3953361}"/>
              </a:ext>
            </a:extLst>
          </p:cNvPr>
          <p:cNvSpPr/>
          <p:nvPr>
            <p:custDataLst>
              <p:tags r:id="rId127"/>
            </p:custDataLst>
          </p:nvPr>
        </p:nvSpPr>
        <p:spPr bwMode="gray">
          <a:xfrm>
            <a:off x="8015288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5" name="Raute 564">
            <a:extLst>
              <a:ext uri="{FF2B5EF4-FFF2-40B4-BE49-F238E27FC236}">
                <a16:creationId xmlns:a16="http://schemas.microsoft.com/office/drawing/2014/main" id="{307C82C8-838E-7296-A8CE-D4BEE40FB16A}"/>
              </a:ext>
            </a:extLst>
          </p:cNvPr>
          <p:cNvSpPr/>
          <p:nvPr>
            <p:custDataLst>
              <p:tags r:id="rId128"/>
            </p:custDataLst>
          </p:nvPr>
        </p:nvSpPr>
        <p:spPr bwMode="gray">
          <a:xfrm>
            <a:off x="6440488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3" name="Raute 552">
            <a:extLst>
              <a:ext uri="{FF2B5EF4-FFF2-40B4-BE49-F238E27FC236}">
                <a16:creationId xmlns:a16="http://schemas.microsoft.com/office/drawing/2014/main" id="{84BE8A3F-35EF-734E-E0A9-3DF4A8B2C82E}"/>
              </a:ext>
            </a:extLst>
          </p:cNvPr>
          <p:cNvSpPr/>
          <p:nvPr>
            <p:custDataLst>
              <p:tags r:id="rId129"/>
            </p:custDataLst>
          </p:nvPr>
        </p:nvSpPr>
        <p:spPr bwMode="gray">
          <a:xfrm>
            <a:off x="4829175" y="350520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0" name="Raute 519">
            <a:extLst>
              <a:ext uri="{FF2B5EF4-FFF2-40B4-BE49-F238E27FC236}">
                <a16:creationId xmlns:a16="http://schemas.microsoft.com/office/drawing/2014/main" id="{582A5F1E-FCAE-2DA0-1002-9E3C724A583E}"/>
              </a:ext>
            </a:extLst>
          </p:cNvPr>
          <p:cNvSpPr/>
          <p:nvPr>
            <p:custDataLst>
              <p:tags r:id="rId130"/>
            </p:custDataLst>
          </p:nvPr>
        </p:nvSpPr>
        <p:spPr bwMode="gray">
          <a:xfrm>
            <a:off x="3767138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0" name="Raute 559">
            <a:extLst>
              <a:ext uri="{FF2B5EF4-FFF2-40B4-BE49-F238E27FC236}">
                <a16:creationId xmlns:a16="http://schemas.microsoft.com/office/drawing/2014/main" id="{03FF0C7C-A82D-5ECC-F88D-8AEF0B9D30DD}"/>
              </a:ext>
            </a:extLst>
          </p:cNvPr>
          <p:cNvSpPr/>
          <p:nvPr>
            <p:custDataLst>
              <p:tags r:id="rId131"/>
            </p:custDataLst>
          </p:nvPr>
        </p:nvSpPr>
        <p:spPr bwMode="gray">
          <a:xfrm>
            <a:off x="5724525" y="431800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6" name="Raute 555">
            <a:extLst>
              <a:ext uri="{FF2B5EF4-FFF2-40B4-BE49-F238E27FC236}">
                <a16:creationId xmlns:a16="http://schemas.microsoft.com/office/drawing/2014/main" id="{4BE4461E-8EA5-CEE7-CBBB-88B7DA8FF4D9}"/>
              </a:ext>
            </a:extLst>
          </p:cNvPr>
          <p:cNvSpPr/>
          <p:nvPr>
            <p:custDataLst>
              <p:tags r:id="rId132"/>
            </p:custDataLst>
          </p:nvPr>
        </p:nvSpPr>
        <p:spPr bwMode="gray">
          <a:xfrm>
            <a:off x="5008563" y="3776663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8" name="Raute 557">
            <a:extLst>
              <a:ext uri="{FF2B5EF4-FFF2-40B4-BE49-F238E27FC236}">
                <a16:creationId xmlns:a16="http://schemas.microsoft.com/office/drawing/2014/main" id="{9DF20F28-894D-C869-3DD3-9D343C603AFC}"/>
              </a:ext>
            </a:extLst>
          </p:cNvPr>
          <p:cNvSpPr/>
          <p:nvPr>
            <p:custDataLst>
              <p:tags r:id="rId133"/>
            </p:custDataLst>
          </p:nvPr>
        </p:nvSpPr>
        <p:spPr bwMode="gray">
          <a:xfrm>
            <a:off x="5365750" y="404653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1" name="Raute 560">
            <a:extLst>
              <a:ext uri="{FF2B5EF4-FFF2-40B4-BE49-F238E27FC236}">
                <a16:creationId xmlns:a16="http://schemas.microsoft.com/office/drawing/2014/main" id="{186ECEE7-C8D2-3487-D295-D810C949A3F6}"/>
              </a:ext>
            </a:extLst>
          </p:cNvPr>
          <p:cNvSpPr/>
          <p:nvPr>
            <p:custDataLst>
              <p:tags r:id="rId134"/>
            </p:custDataLst>
          </p:nvPr>
        </p:nvSpPr>
        <p:spPr bwMode="gray">
          <a:xfrm>
            <a:off x="5903913" y="485933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2" name="Raute 551">
            <a:extLst>
              <a:ext uri="{FF2B5EF4-FFF2-40B4-BE49-F238E27FC236}">
                <a16:creationId xmlns:a16="http://schemas.microsoft.com/office/drawing/2014/main" id="{D0691BE2-1EEC-27B7-DF3A-E811595F2D36}"/>
              </a:ext>
            </a:extLst>
          </p:cNvPr>
          <p:cNvSpPr/>
          <p:nvPr>
            <p:custDataLst>
              <p:tags r:id="rId135"/>
            </p:custDataLst>
          </p:nvPr>
        </p:nvSpPr>
        <p:spPr bwMode="gray">
          <a:xfrm>
            <a:off x="4829175" y="350520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6" name="Raute 565">
            <a:extLst>
              <a:ext uri="{FF2B5EF4-FFF2-40B4-BE49-F238E27FC236}">
                <a16:creationId xmlns:a16="http://schemas.microsoft.com/office/drawing/2014/main" id="{12586517-19D0-8765-B688-ECC2A1F15ECE}"/>
              </a:ext>
            </a:extLst>
          </p:cNvPr>
          <p:cNvSpPr/>
          <p:nvPr>
            <p:custDataLst>
              <p:tags r:id="rId136"/>
            </p:custDataLst>
          </p:nvPr>
        </p:nvSpPr>
        <p:spPr bwMode="gray">
          <a:xfrm>
            <a:off x="6262688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5" name="Raute 524">
            <a:extLst>
              <a:ext uri="{FF2B5EF4-FFF2-40B4-BE49-F238E27FC236}">
                <a16:creationId xmlns:a16="http://schemas.microsoft.com/office/drawing/2014/main" id="{FDCD55F0-0DDF-F6E4-24F1-CB068DF81481}"/>
              </a:ext>
            </a:extLst>
          </p:cNvPr>
          <p:cNvSpPr/>
          <p:nvPr>
            <p:custDataLst>
              <p:tags r:id="rId137"/>
            </p:custDataLst>
          </p:nvPr>
        </p:nvSpPr>
        <p:spPr bwMode="gray">
          <a:xfrm>
            <a:off x="4649788" y="4587875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0" name="Raute 569">
            <a:extLst>
              <a:ext uri="{FF2B5EF4-FFF2-40B4-BE49-F238E27FC236}">
                <a16:creationId xmlns:a16="http://schemas.microsoft.com/office/drawing/2014/main" id="{4CDA7E66-4A51-CEFE-DE1F-9E9A115A912B}"/>
              </a:ext>
            </a:extLst>
          </p:cNvPr>
          <p:cNvSpPr/>
          <p:nvPr>
            <p:custDataLst>
              <p:tags r:id="rId138"/>
            </p:custDataLst>
          </p:nvPr>
        </p:nvSpPr>
        <p:spPr bwMode="gray">
          <a:xfrm>
            <a:off x="7926388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18" name="Raute 517">
            <a:extLst>
              <a:ext uri="{FF2B5EF4-FFF2-40B4-BE49-F238E27FC236}">
                <a16:creationId xmlns:a16="http://schemas.microsoft.com/office/drawing/2014/main" id="{1B04E841-3C55-35CA-0A92-32DB1CAA73BE}"/>
              </a:ext>
            </a:extLst>
          </p:cNvPr>
          <p:cNvSpPr/>
          <p:nvPr>
            <p:custDataLst>
              <p:tags r:id="rId139"/>
            </p:custDataLst>
          </p:nvPr>
        </p:nvSpPr>
        <p:spPr bwMode="gray">
          <a:xfrm>
            <a:off x="3587750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66" name="Raute 465">
            <a:extLst>
              <a:ext uri="{FF2B5EF4-FFF2-40B4-BE49-F238E27FC236}">
                <a16:creationId xmlns:a16="http://schemas.microsoft.com/office/drawing/2014/main" id="{6574B848-414B-841C-013A-FF2A2793E2AC}"/>
              </a:ext>
            </a:extLst>
          </p:cNvPr>
          <p:cNvSpPr/>
          <p:nvPr>
            <p:custDataLst>
              <p:tags r:id="rId140"/>
            </p:custDataLst>
          </p:nvPr>
        </p:nvSpPr>
        <p:spPr bwMode="gray">
          <a:xfrm>
            <a:off x="2922588" y="29352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4" name="Raute 523">
            <a:extLst>
              <a:ext uri="{FF2B5EF4-FFF2-40B4-BE49-F238E27FC236}">
                <a16:creationId xmlns:a16="http://schemas.microsoft.com/office/drawing/2014/main" id="{7DC246B5-3294-D652-85A6-7A7F9094174A}"/>
              </a:ext>
            </a:extLst>
          </p:cNvPr>
          <p:cNvSpPr/>
          <p:nvPr>
            <p:custDataLst>
              <p:tags r:id="rId141"/>
            </p:custDataLst>
          </p:nvPr>
        </p:nvSpPr>
        <p:spPr bwMode="gray">
          <a:xfrm>
            <a:off x="4470400" y="4587875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8" name="Raute 567">
            <a:extLst>
              <a:ext uri="{FF2B5EF4-FFF2-40B4-BE49-F238E27FC236}">
                <a16:creationId xmlns:a16="http://schemas.microsoft.com/office/drawing/2014/main" id="{7E0B5244-C889-4228-2390-73F7817201F8}"/>
              </a:ext>
            </a:extLst>
          </p:cNvPr>
          <p:cNvSpPr/>
          <p:nvPr>
            <p:custDataLst>
              <p:tags r:id="rId142"/>
            </p:custDataLst>
          </p:nvPr>
        </p:nvSpPr>
        <p:spPr bwMode="gray">
          <a:xfrm>
            <a:off x="6083300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9" name="Raute 568">
            <a:extLst>
              <a:ext uri="{FF2B5EF4-FFF2-40B4-BE49-F238E27FC236}">
                <a16:creationId xmlns:a16="http://schemas.microsoft.com/office/drawing/2014/main" id="{DB2279ED-8CCB-8909-0221-CA598B3C69BC}"/>
              </a:ext>
            </a:extLst>
          </p:cNvPr>
          <p:cNvSpPr/>
          <p:nvPr>
            <p:custDataLst>
              <p:tags r:id="rId143"/>
            </p:custDataLst>
          </p:nvPr>
        </p:nvSpPr>
        <p:spPr bwMode="gray">
          <a:xfrm>
            <a:off x="7835900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17" name="Raute 516">
            <a:extLst>
              <a:ext uri="{FF2B5EF4-FFF2-40B4-BE49-F238E27FC236}">
                <a16:creationId xmlns:a16="http://schemas.microsoft.com/office/drawing/2014/main" id="{D1FBF818-F893-71CE-611A-A72878E999C4}"/>
              </a:ext>
            </a:extLst>
          </p:cNvPr>
          <p:cNvSpPr/>
          <p:nvPr>
            <p:custDataLst>
              <p:tags r:id="rId144"/>
            </p:custDataLst>
          </p:nvPr>
        </p:nvSpPr>
        <p:spPr bwMode="gray">
          <a:xfrm>
            <a:off x="3408363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2" name="Raute 561">
            <a:extLst>
              <a:ext uri="{FF2B5EF4-FFF2-40B4-BE49-F238E27FC236}">
                <a16:creationId xmlns:a16="http://schemas.microsoft.com/office/drawing/2014/main" id="{6962966D-7A74-D174-8DA2-9717297B49A0}"/>
              </a:ext>
            </a:extLst>
          </p:cNvPr>
          <p:cNvSpPr/>
          <p:nvPr>
            <p:custDataLst>
              <p:tags r:id="rId145"/>
            </p:custDataLst>
          </p:nvPr>
        </p:nvSpPr>
        <p:spPr bwMode="gray">
          <a:xfrm>
            <a:off x="5859463" y="485933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2" name="Gleichschenkliges Dreieck 41">
            <a:extLst>
              <a:ext uri="{FF2B5EF4-FFF2-40B4-BE49-F238E27FC236}">
                <a16:creationId xmlns:a16="http://schemas.microsoft.com/office/drawing/2014/main" id="{9CA97B58-D46C-1B37-DC04-E6A7B9686393}"/>
              </a:ext>
            </a:extLst>
          </p:cNvPr>
          <p:cNvSpPr/>
          <p:nvPr>
            <p:custDataLst>
              <p:tags r:id="rId146"/>
            </p:custDataLst>
          </p:nvPr>
        </p:nvSpPr>
        <p:spPr bwMode="gray">
          <a:xfrm>
            <a:off x="2673350" y="5749925"/>
            <a:ext cx="114300" cy="114300"/>
          </a:xfrm>
          <a:prstGeom prst="triangle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5" name="Raute 554">
            <a:extLst>
              <a:ext uri="{FF2B5EF4-FFF2-40B4-BE49-F238E27FC236}">
                <a16:creationId xmlns:a16="http://schemas.microsoft.com/office/drawing/2014/main" id="{BD0DA10E-C902-C7D5-874A-9BA97E2DB9ED}"/>
              </a:ext>
            </a:extLst>
          </p:cNvPr>
          <p:cNvSpPr/>
          <p:nvPr>
            <p:custDataLst>
              <p:tags r:id="rId147"/>
            </p:custDataLst>
          </p:nvPr>
        </p:nvSpPr>
        <p:spPr bwMode="gray">
          <a:xfrm>
            <a:off x="4995863" y="3776663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7" name="Raute 556">
            <a:extLst>
              <a:ext uri="{FF2B5EF4-FFF2-40B4-BE49-F238E27FC236}">
                <a16:creationId xmlns:a16="http://schemas.microsoft.com/office/drawing/2014/main" id="{00429394-910B-EC42-576E-18A803CF7953}"/>
              </a:ext>
            </a:extLst>
          </p:cNvPr>
          <p:cNvSpPr/>
          <p:nvPr>
            <p:custDataLst>
              <p:tags r:id="rId148"/>
            </p:custDataLst>
          </p:nvPr>
        </p:nvSpPr>
        <p:spPr bwMode="gray">
          <a:xfrm>
            <a:off x="5187950" y="404653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" name="Raute 54">
            <a:extLst>
              <a:ext uri="{FF2B5EF4-FFF2-40B4-BE49-F238E27FC236}">
                <a16:creationId xmlns:a16="http://schemas.microsoft.com/office/drawing/2014/main" id="{38A689D1-90CE-E0BE-0CBD-5213BFB0EB23}"/>
              </a:ext>
            </a:extLst>
          </p:cNvPr>
          <p:cNvSpPr/>
          <p:nvPr>
            <p:custDataLst>
              <p:tags r:id="rId149"/>
            </p:custDataLst>
          </p:nvPr>
        </p:nvSpPr>
        <p:spPr bwMode="gray">
          <a:xfrm>
            <a:off x="2519363" y="29352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9" name="Raute 558">
            <a:extLst>
              <a:ext uri="{FF2B5EF4-FFF2-40B4-BE49-F238E27FC236}">
                <a16:creationId xmlns:a16="http://schemas.microsoft.com/office/drawing/2014/main" id="{D33845B0-44FC-D9A4-1402-789F158287A6}"/>
              </a:ext>
            </a:extLst>
          </p:cNvPr>
          <p:cNvSpPr/>
          <p:nvPr>
            <p:custDataLst>
              <p:tags r:id="rId150"/>
            </p:custDataLst>
          </p:nvPr>
        </p:nvSpPr>
        <p:spPr bwMode="gray">
          <a:xfrm>
            <a:off x="5545138" y="431800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1" name="Raute 550">
            <a:extLst>
              <a:ext uri="{FF2B5EF4-FFF2-40B4-BE49-F238E27FC236}">
                <a16:creationId xmlns:a16="http://schemas.microsoft.com/office/drawing/2014/main" id="{112F487C-C830-0C4E-FDC4-24A50F6D861B}"/>
              </a:ext>
            </a:extLst>
          </p:cNvPr>
          <p:cNvSpPr/>
          <p:nvPr>
            <p:custDataLst>
              <p:tags r:id="rId151"/>
            </p:custDataLst>
          </p:nvPr>
        </p:nvSpPr>
        <p:spPr bwMode="gray">
          <a:xfrm>
            <a:off x="4649788" y="350520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102" name="text">
            <a:extLst>
              <a:ext uri="{FF2B5EF4-FFF2-40B4-BE49-F238E27FC236}">
                <a16:creationId xmlns:a16="http://schemas.microsoft.com/office/drawing/2014/main" id="{4DFA1A03-F7B8-C97F-C782-EEBE95E5BA6C}"/>
              </a:ext>
            </a:extLst>
          </p:cNvPr>
          <p:cNvSpPr>
            <a:spLocks noGrp="1"/>
          </p:cNvSpPr>
          <p:nvPr>
            <p:custDataLst>
              <p:tags r:id="rId152"/>
            </p:custDataLst>
          </p:nvPr>
        </p:nvSpPr>
        <p:spPr bwMode="auto">
          <a:xfrm>
            <a:off x="10460038" y="5116513"/>
            <a:ext cx="11318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 / Curve</a:t>
            </a:r>
          </a:p>
        </p:txBody>
      </p:sp>
      <p:sp>
        <p:nvSpPr>
          <p:cNvPr id="74" name="text">
            <a:extLst>
              <a:ext uri="{FF2B5EF4-FFF2-40B4-BE49-F238E27FC236}">
                <a16:creationId xmlns:a16="http://schemas.microsoft.com/office/drawing/2014/main" id="{E9401AD5-A541-6AE3-2B6A-FB0206D5DC54}"/>
              </a:ext>
            </a:extLst>
          </p:cNvPr>
          <p:cNvSpPr>
            <a:spLocks noGrp="1"/>
          </p:cNvSpPr>
          <p:nvPr>
            <p:custDataLst>
              <p:tags r:id="rId153"/>
            </p:custDataLst>
          </p:nvPr>
        </p:nvSpPr>
        <p:spPr bwMode="auto">
          <a:xfrm>
            <a:off x="10460038" y="2352675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effectLst/>
              </a:rPr>
              <a:t>Curve</a:t>
            </a:r>
            <a:endParaRPr lang="en-US" dirty="0"/>
          </a:p>
        </p:txBody>
      </p:sp>
      <p:sp>
        <p:nvSpPr>
          <p:cNvPr id="6" name="text">
            <a:extLst>
              <a:ext uri="{FF2B5EF4-FFF2-40B4-BE49-F238E27FC236}">
                <a16:creationId xmlns:a16="http://schemas.microsoft.com/office/drawing/2014/main" id="{B1BAC3CA-7C1A-6A1F-E565-16E9A99D0EDE}"/>
              </a:ext>
            </a:extLst>
          </p:cNvPr>
          <p:cNvSpPr>
            <a:spLocks noGrp="1"/>
          </p:cNvSpPr>
          <p:nvPr>
            <p:custDataLst>
              <p:tags r:id="rId154"/>
            </p:custDataLst>
          </p:nvPr>
        </p:nvSpPr>
        <p:spPr bwMode="auto">
          <a:xfrm>
            <a:off x="596900" y="2352675"/>
            <a:ext cx="10763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>
                <a:effectLst/>
              </a:rPr>
              <a:t>Type </a:t>
            </a:r>
            <a:r>
              <a:rPr lang="en-US" altLang="en-US" dirty="0">
                <a:effectLst/>
              </a:rPr>
              <a:t>2.5 B1-B6</a:t>
            </a:r>
            <a:endParaRPr lang="en-US" dirty="0"/>
          </a:p>
        </p:txBody>
      </p:sp>
      <p:sp>
        <p:nvSpPr>
          <p:cNvPr id="88" name="text">
            <a:extLst>
              <a:ext uri="{FF2B5EF4-FFF2-40B4-BE49-F238E27FC236}">
                <a16:creationId xmlns:a16="http://schemas.microsoft.com/office/drawing/2014/main" id="{4D1A498B-0046-5D63-B485-303FC53F4DA1}"/>
              </a:ext>
            </a:extLst>
          </p:cNvPr>
          <p:cNvSpPr>
            <a:spLocks noGrp="1"/>
          </p:cNvSpPr>
          <p:nvPr>
            <p:custDataLst>
              <p:tags r:id="rId155"/>
            </p:custDataLst>
          </p:nvPr>
        </p:nvSpPr>
        <p:spPr bwMode="auto">
          <a:xfrm>
            <a:off x="596900" y="5116513"/>
            <a:ext cx="10763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/>
              <a:t>Type </a:t>
            </a:r>
            <a:r>
              <a:rPr lang="en-US" altLang="en-US" dirty="0"/>
              <a:t>2.9 B1-B6</a:t>
            </a:r>
            <a:endParaRPr lang="en-US" dirty="0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50FD6F55-A859-C31B-C8FA-4E9A5523E6C0}"/>
              </a:ext>
            </a:extLst>
          </p:cNvPr>
          <p:cNvSpPr>
            <a:spLocks noGrp="1"/>
          </p:cNvSpPr>
          <p:nvPr>
            <p:custDataLst>
              <p:tags r:id="rId156"/>
            </p:custDataLst>
          </p:nvPr>
        </p:nvSpPr>
        <p:spPr bwMode="auto">
          <a:xfrm>
            <a:off x="596900" y="2894013"/>
            <a:ext cx="11795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effectLst/>
              </a:rPr>
              <a:t>Type 1.6A B1-B6</a:t>
            </a:r>
            <a:endParaRPr lang="en-US" dirty="0"/>
          </a:p>
        </p:txBody>
      </p:sp>
      <p:sp>
        <p:nvSpPr>
          <p:cNvPr id="96" name="text">
            <a:extLst>
              <a:ext uri="{FF2B5EF4-FFF2-40B4-BE49-F238E27FC236}">
                <a16:creationId xmlns:a16="http://schemas.microsoft.com/office/drawing/2014/main" id="{6BA53267-AE3E-4B38-2745-ACF3F88B894A}"/>
              </a:ext>
            </a:extLst>
          </p:cNvPr>
          <p:cNvSpPr>
            <a:spLocks noGrp="1"/>
          </p:cNvSpPr>
          <p:nvPr>
            <p:custDataLst>
              <p:tags r:id="rId157"/>
            </p:custDataLst>
          </p:nvPr>
        </p:nvSpPr>
        <p:spPr bwMode="auto">
          <a:xfrm>
            <a:off x="10460038" y="4276725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  <a:endParaRPr lang="en-US" dirty="0"/>
          </a:p>
        </p:txBody>
      </p:sp>
      <p:sp>
        <p:nvSpPr>
          <p:cNvPr id="41" name="text">
            <a:extLst>
              <a:ext uri="{FF2B5EF4-FFF2-40B4-BE49-F238E27FC236}">
                <a16:creationId xmlns:a16="http://schemas.microsoft.com/office/drawing/2014/main" id="{2B414883-B4C1-0C6E-D929-4B46F9B9A1FA}"/>
              </a:ext>
            </a:extLst>
          </p:cNvPr>
          <p:cNvSpPr>
            <a:spLocks noGrp="1"/>
          </p:cNvSpPr>
          <p:nvPr>
            <p:custDataLst>
              <p:tags r:id="rId158"/>
            </p:custDataLst>
          </p:nvPr>
        </p:nvSpPr>
        <p:spPr bwMode="auto">
          <a:xfrm>
            <a:off x="2346325" y="5886450"/>
            <a:ext cx="7699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B5857AE-A69B-49E6-B0EF-C0E89D1D18B4}" type="datetime'''''''''9/2''''''''''''''''''''2/''''''20''''''''2''''''5'''">
              <a:rPr lang="en-US" altLang="en-US" smtClean="0"/>
              <a:pPr/>
              <a:t>9/22/2025</a:t>
            </a:fld>
            <a:endParaRPr lang="en-US" dirty="0"/>
          </a:p>
        </p:txBody>
      </p:sp>
      <p:sp>
        <p:nvSpPr>
          <p:cNvPr id="450" name="text">
            <a:extLst>
              <a:ext uri="{FF2B5EF4-FFF2-40B4-BE49-F238E27FC236}">
                <a16:creationId xmlns:a16="http://schemas.microsoft.com/office/drawing/2014/main" id="{8232DED3-268E-0472-09D4-1323101D8CE8}"/>
              </a:ext>
            </a:extLst>
          </p:cNvPr>
          <p:cNvSpPr>
            <a:spLocks noGrp="1"/>
          </p:cNvSpPr>
          <p:nvPr>
            <p:custDataLst>
              <p:tags r:id="rId159"/>
            </p:custDataLst>
          </p:nvPr>
        </p:nvSpPr>
        <p:spPr bwMode="auto">
          <a:xfrm>
            <a:off x="1776413" y="2139950"/>
            <a:ext cx="350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EBF3DDBE-A98C-4EAD-9052-5493DB14FD65}" type="datetime'''''''''M''''''''''''''''''o''n''''t''''''''''''''''h'''''''''">
              <a:rPr lang="en-US" altLang="en-US" sz="1000" smtClean="0"/>
              <a:pPr/>
              <a:t>Month</a:t>
            </a:fld>
            <a:endParaRPr lang="en-US" sz="1000" dirty="0"/>
          </a:p>
        </p:txBody>
      </p:sp>
      <p:sp>
        <p:nvSpPr>
          <p:cNvPr id="69" name="text">
            <a:extLst>
              <a:ext uri="{FF2B5EF4-FFF2-40B4-BE49-F238E27FC236}">
                <a16:creationId xmlns:a16="http://schemas.microsoft.com/office/drawing/2014/main" id="{59E98448-8CD6-D676-4843-0EF893AE69C5}"/>
              </a:ext>
            </a:extLst>
          </p:cNvPr>
          <p:cNvSpPr>
            <a:spLocks noGrp="1"/>
          </p:cNvSpPr>
          <p:nvPr>
            <p:custDataLst>
              <p:tags r:id="rId160"/>
            </p:custDataLst>
          </p:nvPr>
        </p:nvSpPr>
        <p:spPr bwMode="auto">
          <a:xfrm>
            <a:off x="596900" y="3463925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Type 2.123 S2</a:t>
            </a:r>
            <a:endParaRPr lang="en-US" dirty="0"/>
          </a:p>
        </p:txBody>
      </p:sp>
      <p:sp>
        <p:nvSpPr>
          <p:cNvPr id="92" name="text">
            <a:extLst>
              <a:ext uri="{FF2B5EF4-FFF2-40B4-BE49-F238E27FC236}">
                <a16:creationId xmlns:a16="http://schemas.microsoft.com/office/drawing/2014/main" id="{BAC43218-1AD0-A021-E029-79CDA1AB47A2}"/>
              </a:ext>
            </a:extLst>
          </p:cNvPr>
          <p:cNvSpPr>
            <a:spLocks noGrp="1"/>
          </p:cNvSpPr>
          <p:nvPr>
            <p:custDataLst>
              <p:tags r:id="rId161"/>
            </p:custDataLst>
          </p:nvPr>
        </p:nvSpPr>
        <p:spPr bwMode="auto">
          <a:xfrm>
            <a:off x="10460038" y="3463925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  <a:endParaRPr lang="en-US" dirty="0"/>
          </a:p>
        </p:txBody>
      </p:sp>
      <p:sp>
        <p:nvSpPr>
          <p:cNvPr id="100" name="text">
            <a:extLst>
              <a:ext uri="{FF2B5EF4-FFF2-40B4-BE49-F238E27FC236}">
                <a16:creationId xmlns:a16="http://schemas.microsoft.com/office/drawing/2014/main" id="{5C95FB00-ED9D-3753-ABA4-75BDB89A98B4}"/>
              </a:ext>
            </a:extLst>
          </p:cNvPr>
          <p:cNvSpPr>
            <a:spLocks noGrp="1"/>
          </p:cNvSpPr>
          <p:nvPr>
            <p:custDataLst>
              <p:tags r:id="rId162"/>
            </p:custDataLst>
          </p:nvPr>
        </p:nvSpPr>
        <p:spPr bwMode="auto">
          <a:xfrm>
            <a:off x="10460038" y="4818063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</a:p>
        </p:txBody>
      </p:sp>
      <p:sp>
        <p:nvSpPr>
          <p:cNvPr id="86" name="text">
            <a:extLst>
              <a:ext uri="{FF2B5EF4-FFF2-40B4-BE49-F238E27FC236}">
                <a16:creationId xmlns:a16="http://schemas.microsoft.com/office/drawing/2014/main" id="{2003C058-E365-928D-E3F0-9917AD908D06}"/>
              </a:ext>
            </a:extLst>
          </p:cNvPr>
          <p:cNvSpPr>
            <a:spLocks noGrp="1"/>
          </p:cNvSpPr>
          <p:nvPr>
            <p:custDataLst>
              <p:tags r:id="rId163"/>
            </p:custDataLst>
          </p:nvPr>
        </p:nvSpPr>
        <p:spPr bwMode="auto">
          <a:xfrm>
            <a:off x="596900" y="4818063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/>
              <a:t>Type </a:t>
            </a:r>
            <a:r>
              <a:rPr lang="en-US" altLang="en-US" dirty="0"/>
              <a:t>2.123 S5</a:t>
            </a:r>
            <a:endParaRPr lang="en-US" dirty="0"/>
          </a:p>
        </p:txBody>
      </p:sp>
      <p:sp>
        <p:nvSpPr>
          <p:cNvPr id="71" name="text">
            <a:extLst>
              <a:ext uri="{FF2B5EF4-FFF2-40B4-BE49-F238E27FC236}">
                <a16:creationId xmlns:a16="http://schemas.microsoft.com/office/drawing/2014/main" id="{701F6DD0-D16A-2028-2FBA-45D90AD63ED6}"/>
              </a:ext>
            </a:extLst>
          </p:cNvPr>
          <p:cNvSpPr>
            <a:spLocks noGrp="1"/>
          </p:cNvSpPr>
          <p:nvPr>
            <p:custDataLst>
              <p:tags r:id="rId164"/>
            </p:custDataLst>
          </p:nvPr>
        </p:nvSpPr>
        <p:spPr bwMode="auto">
          <a:xfrm>
            <a:off x="10460038" y="2079625"/>
            <a:ext cx="8874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BCA7072-2ED5-4C4C-B531-C859FFC5020F}" type="datetime'R''''''''esp''o''''n''s''i''''''b''''''''l''''''e'''''">
              <a:rPr lang="en-US" altLang="en-US" b="1" smtClean="0">
                <a:effectLst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Responsible</a:t>
            </a:fld>
            <a:endParaRPr lang="en-US" b="1" dirty="0"/>
          </a:p>
        </p:txBody>
      </p:sp>
      <p:sp>
        <p:nvSpPr>
          <p:cNvPr id="82" name="text">
            <a:extLst>
              <a:ext uri="{FF2B5EF4-FFF2-40B4-BE49-F238E27FC236}">
                <a16:creationId xmlns:a16="http://schemas.microsoft.com/office/drawing/2014/main" id="{69631FFA-C90D-FFA1-2EC6-ED2E3B64C309}"/>
              </a:ext>
            </a:extLst>
          </p:cNvPr>
          <p:cNvSpPr>
            <a:spLocks noGrp="1"/>
          </p:cNvSpPr>
          <p:nvPr>
            <p:custDataLst>
              <p:tags r:id="rId165"/>
            </p:custDataLst>
          </p:nvPr>
        </p:nvSpPr>
        <p:spPr bwMode="auto">
          <a:xfrm>
            <a:off x="10460038" y="4546600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Straight</a:t>
            </a:r>
          </a:p>
        </p:txBody>
      </p:sp>
      <p:sp>
        <p:nvSpPr>
          <p:cNvPr id="67" name="text">
            <a:extLst>
              <a:ext uri="{FF2B5EF4-FFF2-40B4-BE49-F238E27FC236}">
                <a16:creationId xmlns:a16="http://schemas.microsoft.com/office/drawing/2014/main" id="{18918025-4B22-0F3B-1279-E7F5AF31A081}"/>
              </a:ext>
            </a:extLst>
          </p:cNvPr>
          <p:cNvSpPr>
            <a:spLocks noGrp="1"/>
          </p:cNvSpPr>
          <p:nvPr>
            <p:custDataLst>
              <p:tags r:id="rId166"/>
            </p:custDataLst>
          </p:nvPr>
        </p:nvSpPr>
        <p:spPr bwMode="auto">
          <a:xfrm>
            <a:off x="596900" y="4546600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Type 2.123 S1</a:t>
            </a:r>
            <a:endParaRPr lang="en-US" dirty="0"/>
          </a:p>
        </p:txBody>
      </p:sp>
      <p:sp>
        <p:nvSpPr>
          <p:cNvPr id="84" name="text">
            <a:extLst>
              <a:ext uri="{FF2B5EF4-FFF2-40B4-BE49-F238E27FC236}">
                <a16:creationId xmlns:a16="http://schemas.microsoft.com/office/drawing/2014/main" id="{242C031F-D28A-BE26-7957-BB29EF3F8EF8}"/>
              </a:ext>
            </a:extLst>
          </p:cNvPr>
          <p:cNvSpPr>
            <a:spLocks noGrp="1"/>
          </p:cNvSpPr>
          <p:nvPr>
            <p:custDataLst>
              <p:tags r:id="rId167"/>
            </p:custDataLst>
          </p:nvPr>
        </p:nvSpPr>
        <p:spPr bwMode="auto">
          <a:xfrm>
            <a:off x="596900" y="3735388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Type 2.123 S3</a:t>
            </a:r>
            <a:endParaRPr lang="en-US" dirty="0"/>
          </a:p>
        </p:txBody>
      </p:sp>
      <p:sp>
        <p:nvSpPr>
          <p:cNvPr id="98" name="text">
            <a:extLst>
              <a:ext uri="{FF2B5EF4-FFF2-40B4-BE49-F238E27FC236}">
                <a16:creationId xmlns:a16="http://schemas.microsoft.com/office/drawing/2014/main" id="{A67CB9AC-5419-37A4-F0DB-C8CFEA7BD28A}"/>
              </a:ext>
            </a:extLst>
          </p:cNvPr>
          <p:cNvSpPr>
            <a:spLocks noGrp="1"/>
          </p:cNvSpPr>
          <p:nvPr>
            <p:custDataLst>
              <p:tags r:id="rId168"/>
            </p:custDataLst>
          </p:nvPr>
        </p:nvSpPr>
        <p:spPr bwMode="auto">
          <a:xfrm>
            <a:off x="10460038" y="3735388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</a:p>
        </p:txBody>
      </p:sp>
      <p:sp>
        <p:nvSpPr>
          <p:cNvPr id="80" name="text">
            <a:extLst>
              <a:ext uri="{FF2B5EF4-FFF2-40B4-BE49-F238E27FC236}">
                <a16:creationId xmlns:a16="http://schemas.microsoft.com/office/drawing/2014/main" id="{B8D30D39-8289-9A45-8E50-B62C68440795}"/>
              </a:ext>
            </a:extLst>
          </p:cNvPr>
          <p:cNvSpPr>
            <a:spLocks noGrp="1"/>
          </p:cNvSpPr>
          <p:nvPr>
            <p:custDataLst>
              <p:tags r:id="rId169"/>
            </p:custDataLst>
          </p:nvPr>
        </p:nvSpPr>
        <p:spPr bwMode="auto">
          <a:xfrm>
            <a:off x="10460038" y="3165475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Curve</a:t>
            </a:r>
            <a:endParaRPr lang="en-US" dirty="0"/>
          </a:p>
        </p:txBody>
      </p:sp>
      <p:sp>
        <p:nvSpPr>
          <p:cNvPr id="14" name="text">
            <a:extLst>
              <a:ext uri="{FF2B5EF4-FFF2-40B4-BE49-F238E27FC236}">
                <a16:creationId xmlns:a16="http://schemas.microsoft.com/office/drawing/2014/main" id="{3E13E619-5DE9-499A-56E7-6D0BCF338383}"/>
              </a:ext>
            </a:extLst>
          </p:cNvPr>
          <p:cNvSpPr>
            <a:spLocks noGrp="1"/>
          </p:cNvSpPr>
          <p:nvPr>
            <p:custDataLst>
              <p:tags r:id="rId170"/>
            </p:custDataLst>
          </p:nvPr>
        </p:nvSpPr>
        <p:spPr bwMode="auto">
          <a:xfrm>
            <a:off x="596900" y="2079625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DEC0F1C-E2C4-47F0-806C-88D7F6BAC7C9}" type="datetime'''''''A''''''''''c''t''i''''''''v''''ity'''''''''''''''''">
              <a:rPr lang="en-US" altLang="en-US" b="1" smtClean="0">
                <a:effectLst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lang="en-US" b="1" dirty="0"/>
          </a:p>
        </p:txBody>
      </p:sp>
      <p:sp>
        <p:nvSpPr>
          <p:cNvPr id="78" name="text">
            <a:extLst>
              <a:ext uri="{FF2B5EF4-FFF2-40B4-BE49-F238E27FC236}">
                <a16:creationId xmlns:a16="http://schemas.microsoft.com/office/drawing/2014/main" id="{F9053CBC-E326-2D4D-A6BC-89CD762FA0AA}"/>
              </a:ext>
            </a:extLst>
          </p:cNvPr>
          <p:cNvSpPr>
            <a:spLocks noGrp="1"/>
          </p:cNvSpPr>
          <p:nvPr>
            <p:custDataLst>
              <p:tags r:id="rId171"/>
            </p:custDataLst>
          </p:nvPr>
        </p:nvSpPr>
        <p:spPr bwMode="auto">
          <a:xfrm>
            <a:off x="10460038" y="2894013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Curve</a:t>
            </a:r>
            <a:endParaRPr lang="en-US" dirty="0"/>
          </a:p>
        </p:txBody>
      </p:sp>
      <p:sp>
        <p:nvSpPr>
          <p:cNvPr id="12" name="text">
            <a:extLst>
              <a:ext uri="{FF2B5EF4-FFF2-40B4-BE49-F238E27FC236}">
                <a16:creationId xmlns:a16="http://schemas.microsoft.com/office/drawing/2014/main" id="{59779B02-39EE-53A5-E6DD-2DBCAC973ED8}"/>
              </a:ext>
            </a:extLst>
          </p:cNvPr>
          <p:cNvSpPr>
            <a:spLocks noGrp="1"/>
          </p:cNvSpPr>
          <p:nvPr>
            <p:custDataLst>
              <p:tags r:id="rId172"/>
            </p:custDataLst>
          </p:nvPr>
        </p:nvSpPr>
        <p:spPr bwMode="auto">
          <a:xfrm>
            <a:off x="596900" y="4005263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/>
              <a:t>Type </a:t>
            </a:r>
            <a:r>
              <a:rPr lang="en-US" altLang="en-US" dirty="0"/>
              <a:t>2.123 S4</a:t>
            </a:r>
            <a:endParaRPr lang="en-US" dirty="0"/>
          </a:p>
        </p:txBody>
      </p:sp>
      <p:sp>
        <p:nvSpPr>
          <p:cNvPr id="104" name="text">
            <a:extLst>
              <a:ext uri="{FF2B5EF4-FFF2-40B4-BE49-F238E27FC236}">
                <a16:creationId xmlns:a16="http://schemas.microsoft.com/office/drawing/2014/main" id="{38CFDEF0-656A-CB89-9778-19454816F7EC}"/>
              </a:ext>
            </a:extLst>
          </p:cNvPr>
          <p:cNvSpPr>
            <a:spLocks noGrp="1"/>
          </p:cNvSpPr>
          <p:nvPr>
            <p:custDataLst>
              <p:tags r:id="rId173"/>
            </p:custDataLst>
          </p:nvPr>
        </p:nvSpPr>
        <p:spPr bwMode="auto">
          <a:xfrm>
            <a:off x="10460038" y="5387975"/>
            <a:ext cx="11318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 / Curve</a:t>
            </a:r>
          </a:p>
        </p:txBody>
      </p:sp>
      <p:sp>
        <p:nvSpPr>
          <p:cNvPr id="94" name="text">
            <a:extLst>
              <a:ext uri="{FF2B5EF4-FFF2-40B4-BE49-F238E27FC236}">
                <a16:creationId xmlns:a16="http://schemas.microsoft.com/office/drawing/2014/main" id="{E33A07BE-B4D4-93B8-CCB6-64E7484A447D}"/>
              </a:ext>
            </a:extLst>
          </p:cNvPr>
          <p:cNvSpPr>
            <a:spLocks noGrp="1"/>
          </p:cNvSpPr>
          <p:nvPr>
            <p:custDataLst>
              <p:tags r:id="rId174"/>
            </p:custDataLst>
          </p:nvPr>
        </p:nvSpPr>
        <p:spPr bwMode="auto">
          <a:xfrm>
            <a:off x="10460038" y="4005263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  <a:endParaRPr lang="en-US" dirty="0"/>
          </a:p>
        </p:txBody>
      </p:sp>
      <p:sp>
        <p:nvSpPr>
          <p:cNvPr id="11" name="text">
            <a:extLst>
              <a:ext uri="{FF2B5EF4-FFF2-40B4-BE49-F238E27FC236}">
                <a16:creationId xmlns:a16="http://schemas.microsoft.com/office/drawing/2014/main" id="{F438A3C7-5AE2-360A-6026-501E75E507C3}"/>
              </a:ext>
            </a:extLst>
          </p:cNvPr>
          <p:cNvSpPr>
            <a:spLocks noGrp="1"/>
          </p:cNvSpPr>
          <p:nvPr>
            <p:custDataLst>
              <p:tags r:id="rId175"/>
            </p:custDataLst>
          </p:nvPr>
        </p:nvSpPr>
        <p:spPr bwMode="auto">
          <a:xfrm>
            <a:off x="596900" y="3165475"/>
            <a:ext cx="1171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effectLst/>
              </a:rPr>
              <a:t>Type 2.8C B1-B6</a:t>
            </a:r>
            <a:endParaRPr lang="en-US" dirty="0"/>
          </a:p>
        </p:txBody>
      </p:sp>
      <p:sp>
        <p:nvSpPr>
          <p:cNvPr id="90" name="text">
            <a:extLst>
              <a:ext uri="{FF2B5EF4-FFF2-40B4-BE49-F238E27FC236}">
                <a16:creationId xmlns:a16="http://schemas.microsoft.com/office/drawing/2014/main" id="{EF0E1176-CA3F-692B-10C2-C780EE0ECF02}"/>
              </a:ext>
            </a:extLst>
          </p:cNvPr>
          <p:cNvSpPr>
            <a:spLocks noGrp="1"/>
          </p:cNvSpPr>
          <p:nvPr>
            <p:custDataLst>
              <p:tags r:id="rId176"/>
            </p:custDataLst>
          </p:nvPr>
        </p:nvSpPr>
        <p:spPr bwMode="auto">
          <a:xfrm>
            <a:off x="596900" y="5387975"/>
            <a:ext cx="14144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/>
              <a:t>Type </a:t>
            </a:r>
            <a:r>
              <a:rPr lang="en-US" altLang="en-US" dirty="0"/>
              <a:t>1.E / 2.4 S1-S6</a:t>
            </a:r>
            <a:endParaRPr lang="en-US" dirty="0"/>
          </a:p>
        </p:txBody>
      </p:sp>
      <p:sp>
        <p:nvSpPr>
          <p:cNvPr id="8" name="text">
            <a:extLst>
              <a:ext uri="{FF2B5EF4-FFF2-40B4-BE49-F238E27FC236}">
                <a16:creationId xmlns:a16="http://schemas.microsoft.com/office/drawing/2014/main" id="{1B2350A2-E12B-1256-0EB2-93F715E323A1}"/>
              </a:ext>
            </a:extLst>
          </p:cNvPr>
          <p:cNvSpPr>
            <a:spLocks noGrp="1"/>
          </p:cNvSpPr>
          <p:nvPr>
            <p:custDataLst>
              <p:tags r:id="rId177"/>
            </p:custDataLst>
          </p:nvPr>
        </p:nvSpPr>
        <p:spPr bwMode="auto">
          <a:xfrm>
            <a:off x="596900" y="2624138"/>
            <a:ext cx="11731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effectLst/>
              </a:rPr>
              <a:t>Type 1.7B B1-B6</a:t>
            </a:r>
            <a:endParaRPr lang="en-US" dirty="0"/>
          </a:p>
        </p:txBody>
      </p:sp>
      <p:sp>
        <p:nvSpPr>
          <p:cNvPr id="13" name="text">
            <a:extLst>
              <a:ext uri="{FF2B5EF4-FFF2-40B4-BE49-F238E27FC236}">
                <a16:creationId xmlns:a16="http://schemas.microsoft.com/office/drawing/2014/main" id="{FD590E64-D8DC-2C25-2CE5-9E43E6C5F261}"/>
              </a:ext>
            </a:extLst>
          </p:cNvPr>
          <p:cNvSpPr>
            <a:spLocks noGrp="1"/>
          </p:cNvSpPr>
          <p:nvPr>
            <p:custDataLst>
              <p:tags r:id="rId178"/>
            </p:custDataLst>
          </p:nvPr>
        </p:nvSpPr>
        <p:spPr bwMode="auto">
          <a:xfrm>
            <a:off x="596900" y="4276725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Type 2.123 S6</a:t>
            </a:r>
            <a:endParaRPr lang="en-US" dirty="0"/>
          </a:p>
        </p:txBody>
      </p:sp>
      <p:sp>
        <p:nvSpPr>
          <p:cNvPr id="76" name="text">
            <a:extLst>
              <a:ext uri="{FF2B5EF4-FFF2-40B4-BE49-F238E27FC236}">
                <a16:creationId xmlns:a16="http://schemas.microsoft.com/office/drawing/2014/main" id="{201BC115-F11D-20B2-778A-B7E8435318D1}"/>
              </a:ext>
            </a:extLst>
          </p:cNvPr>
          <p:cNvSpPr>
            <a:spLocks noGrp="1"/>
          </p:cNvSpPr>
          <p:nvPr>
            <p:custDataLst>
              <p:tags r:id="rId179"/>
            </p:custDataLst>
          </p:nvPr>
        </p:nvSpPr>
        <p:spPr bwMode="auto">
          <a:xfrm>
            <a:off x="10460038" y="2624138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Curve</a:t>
            </a:r>
            <a:endParaRPr lang="en-US" dirty="0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AEC083CD-68AE-B5B4-5D56-C662A442A3A9}"/>
              </a:ext>
            </a:extLst>
          </p:cNvPr>
          <p:cNvSpPr/>
          <p:nvPr/>
        </p:nvSpPr>
        <p:spPr>
          <a:xfrm>
            <a:off x="5712610" y="4750790"/>
            <a:ext cx="480567" cy="32954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31" name="Textfeld 430">
            <a:extLst>
              <a:ext uri="{FF2B5EF4-FFF2-40B4-BE49-F238E27FC236}">
                <a16:creationId xmlns:a16="http://schemas.microsoft.com/office/drawing/2014/main" id="{F5925334-D710-57C7-A360-D222A293ADA6}"/>
              </a:ext>
            </a:extLst>
          </p:cNvPr>
          <p:cNvSpPr txBox="1"/>
          <p:nvPr/>
        </p:nvSpPr>
        <p:spPr>
          <a:xfrm>
            <a:off x="6881814" y="2597813"/>
            <a:ext cx="3286304" cy="1570549"/>
          </a:xfrm>
          <a:prstGeom prst="rect">
            <a:avLst/>
          </a:prstGeom>
          <a:solidFill>
            <a:schemeClr val="bg1">
              <a:lumMod val="85000"/>
              <a:alpha val="25000"/>
            </a:schemeClr>
          </a:solidFill>
          <a:ln w="19050">
            <a:solidFill>
              <a:srgbClr val="FF0000"/>
            </a:solidFill>
          </a:ln>
        </p:spPr>
        <p:txBody>
          <a:bodyPr wrap="square" lIns="36000" tIns="36000" rIns="36000" bIns="36000" rtlCol="0">
            <a:spAutoFit/>
          </a:bodyPr>
          <a:lstStyle/>
          <a:p>
            <a:pPr algn="l">
              <a:spcBef>
                <a:spcPts val="400"/>
              </a:spcBef>
              <a:spcAft>
                <a:spcPts val="400"/>
              </a:spcAft>
            </a:pPr>
            <a:r>
              <a:rPr lang="en-US" sz="1400" dirty="0">
                <a:solidFill>
                  <a:schemeClr val="tx1"/>
                </a:solidFill>
                <a:latin typeface="+mn-lt"/>
              </a:rPr>
              <a:t>Just 2 M10-P Milestones are defined for Sector 5</a:t>
            </a:r>
            <a:r>
              <a:rPr lang="en-US" sz="1400" dirty="0"/>
              <a:t>.</a:t>
            </a:r>
          </a:p>
          <a:p>
            <a:pPr algn="l">
              <a:spcBef>
                <a:spcPts val="400"/>
              </a:spcBef>
              <a:spcAft>
                <a:spcPts val="400"/>
              </a:spcAft>
            </a:pPr>
            <a:r>
              <a:rPr lang="en-US" sz="1400" dirty="0">
                <a:solidFill>
                  <a:schemeClr val="tx1"/>
                </a:solidFill>
                <a:latin typeface="+mn-lt"/>
              </a:rPr>
              <a:t>Recommendation:</a:t>
            </a:r>
          </a:p>
          <a:p>
            <a:pPr algn="l">
              <a:spcBef>
                <a:spcPts val="400"/>
              </a:spcBef>
              <a:spcAft>
                <a:spcPts val="400"/>
              </a:spcAft>
            </a:pPr>
            <a:r>
              <a:rPr lang="en-US" sz="1400" dirty="0"/>
              <a:t>Clarify whether in fact only two </a:t>
            </a:r>
            <a:r>
              <a:rPr lang="en-US" sz="1400" dirty="0" err="1"/>
              <a:t>quadru</a:t>
            </a:r>
            <a:r>
              <a:rPr lang="en-US" sz="1400" dirty="0"/>
              <a:t>-pole modules (Type 2.123) will actually be installed in sector 5.</a:t>
            </a:r>
            <a:endParaRPr lang="en-US" sz="1400" dirty="0">
              <a:solidFill>
                <a:schemeClr val="tx1"/>
              </a:solidFill>
              <a:latin typeface="+mn-lt"/>
            </a:endParaRPr>
          </a:p>
        </p:txBody>
      </p:sp>
      <p:cxnSp>
        <p:nvCxnSpPr>
          <p:cNvPr id="434" name="Verbinder: gekrümmt 433">
            <a:extLst>
              <a:ext uri="{FF2B5EF4-FFF2-40B4-BE49-F238E27FC236}">
                <a16:creationId xmlns:a16="http://schemas.microsoft.com/office/drawing/2014/main" id="{6799CFC9-FDD6-FE5A-931D-9E806D0F2F57}"/>
              </a:ext>
            </a:extLst>
          </p:cNvPr>
          <p:cNvCxnSpPr>
            <a:cxnSpLocks/>
            <a:stCxn id="431" idx="1"/>
            <a:endCxn id="7" idx="0"/>
          </p:cNvCxnSpPr>
          <p:nvPr/>
        </p:nvCxnSpPr>
        <p:spPr>
          <a:xfrm rot="10800000" flipV="1">
            <a:off x="5952894" y="3383088"/>
            <a:ext cx="928920" cy="1367702"/>
          </a:xfrm>
          <a:prstGeom prst="curvedConnector2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0012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2E9E61-582B-2B9F-5701-773EBAA40F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" name="think-cell data - do not delete" hidden="1">
            <a:extLst>
              <a:ext uri="{FF2B5EF4-FFF2-40B4-BE49-F238E27FC236}">
                <a16:creationId xmlns:a16="http://schemas.microsoft.com/office/drawing/2014/main" id="{1CD17FC4-C305-AF5E-5BEA-03A3929DA7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2" imgW="473" imgH="473" progId="TCLayout.ActiveDocument.1">
                  <p:embed/>
                </p:oleObj>
              </mc:Choice>
              <mc:Fallback>
                <p:oleObj name="think-cell Folie" r:id="rId182" imgW="473" imgH="473" progId="TCLayout.ActiveDocument.1">
                  <p:embed/>
                  <p:pic>
                    <p:nvPicPr>
                      <p:cNvPr id="6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D17FC4-C305-AF5E-5BEA-03A3929DA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D98B4D-AB5B-4C3E-FA68-2984F5FA34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IS100 Workshop – Installation Plan Dipole and quadrupole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138D66B-9EDA-CE7C-4111-0B56BA9254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 dirty="0"/>
              <a:t>Open issues / to clarify (</a:t>
            </a:r>
            <a:r>
              <a:rPr lang="en-US" dirty="0"/>
              <a:t>Interruption delivery milestones</a:t>
            </a:r>
            <a:r>
              <a:rPr lang="pt-BR" dirty="0"/>
              <a:t>)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35FD6AC-C321-5629-F23B-5F717004A0E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BB8E8AF-B3CB-31E9-040D-1D09395373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6CAA572-B29E-A010-2FBF-1B7A4E1822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9449A-3FF3-45CE-9F4F-09BADC0910C6}" type="slidenum">
              <a:rPr lang="de-DE" noProof="0"/>
              <a:t>18</a:t>
            </a:fld>
            <a:endParaRPr lang="de-DE" noProof="0" dirty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FBADB580-0261-2880-C3DE-01C9A8FB593A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0299700" y="2309812"/>
            <a:ext cx="84138" cy="3333750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43BF40A5-5CDA-DA54-D472-3C50A518A562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3311525" y="2309812"/>
            <a:ext cx="134938" cy="3333750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BC1820BA-9341-109A-60D1-C3B453B84DB9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5640388" y="2309812"/>
            <a:ext cx="134938" cy="3333750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2D2BF888-3FF5-2020-8518-BE29E526E463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969250" y="2309812"/>
            <a:ext cx="134938" cy="3333750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19" name="text">
            <a:extLst>
              <a:ext uri="{FF2B5EF4-FFF2-40B4-BE49-F238E27FC236}">
                <a16:creationId xmlns:a16="http://schemas.microsoft.com/office/drawing/2014/main" id="{60ECF0A4-95A2-7660-C47A-93033519B65E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198688" y="1601788"/>
            <a:ext cx="117792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02F4FE3-1A2A-4D1E-B90B-6D4D4AE5980A}" type="datetime'''''''2''''025'''''''''''''''''''''''''''''">
              <a:rPr lang="en-US" altLang="en-US" b="1" smtClean="0"/>
              <a:pPr/>
              <a:t>2025</a:t>
            </a:fld>
            <a:endParaRPr lang="en-US" b="1" dirty="0"/>
          </a:p>
        </p:txBody>
      </p:sp>
      <p:sp>
        <p:nvSpPr>
          <p:cNvPr id="505" name="text">
            <a:extLst>
              <a:ext uri="{FF2B5EF4-FFF2-40B4-BE49-F238E27FC236}">
                <a16:creationId xmlns:a16="http://schemas.microsoft.com/office/drawing/2014/main" id="{6E97C21D-ACA5-44B2-F6AF-CBF6031CC7A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376613" y="1601788"/>
            <a:ext cx="23352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14216BF-C595-40C5-BE77-C33A25291AE9}" type="datetime'''20''''''''''2''''''''''''''''''''''6'">
              <a:rPr lang="en-US" altLang="en-US" b="1" smtClean="0"/>
              <a:pPr/>
              <a:t>2026</a:t>
            </a:fld>
            <a:endParaRPr lang="en-US" b="1" dirty="0"/>
          </a:p>
        </p:txBody>
      </p:sp>
      <p:sp>
        <p:nvSpPr>
          <p:cNvPr id="544" name="text">
            <a:extLst>
              <a:ext uri="{FF2B5EF4-FFF2-40B4-BE49-F238E27FC236}">
                <a16:creationId xmlns:a16="http://schemas.microsoft.com/office/drawing/2014/main" id="{E069303F-58E3-75C8-2933-CF3CFEF2FFD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711825" y="1601788"/>
            <a:ext cx="23352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F38DC23-C9E9-43FB-A5D4-8322146BEBBB}" type="datetime'''20''''''2''''''''''''''''''''''''''''''''7'''''''''''">
              <a:rPr lang="en-US" altLang="en-US" b="1" smtClean="0"/>
              <a:pPr/>
              <a:t>2027</a:t>
            </a:fld>
            <a:endParaRPr lang="en-US" b="1" dirty="0"/>
          </a:p>
        </p:txBody>
      </p:sp>
      <p:sp>
        <p:nvSpPr>
          <p:cNvPr id="593" name="text">
            <a:extLst>
              <a:ext uri="{FF2B5EF4-FFF2-40B4-BE49-F238E27FC236}">
                <a16:creationId xmlns:a16="http://schemas.microsoft.com/office/drawing/2014/main" id="{79F06576-D242-0F09-7390-06BAA582C95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047038" y="1601788"/>
            <a:ext cx="23415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209150C-C0DE-4561-B062-B29A358BD156}" type="datetime'''''''2''''''0''''''''''2''''''''''''''''''8'''''''''''">
              <a:rPr lang="en-US" altLang="en-US" b="1" smtClean="0"/>
              <a:pPr/>
              <a:t>2028</a:t>
            </a:fld>
            <a:endParaRPr lang="en-US" b="1" dirty="0"/>
          </a:p>
        </p:txBody>
      </p:sp>
      <p:sp>
        <p:nvSpPr>
          <p:cNvPr id="406" name="text">
            <a:extLst>
              <a:ext uri="{FF2B5EF4-FFF2-40B4-BE49-F238E27FC236}">
                <a16:creationId xmlns:a16="http://schemas.microsoft.com/office/drawing/2014/main" id="{120EA48E-091D-EA08-294E-6B80849949A6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198688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AD80CA9-3A45-47D4-A0F6-4F9DF0A26299}" type="datetime'''Q3'''''''''''''">
              <a:rPr lang="en-US" altLang="en-US" b="1" smtClean="0"/>
              <a:pPr/>
              <a:t>Q3</a:t>
            </a:fld>
            <a:endParaRPr lang="en-US" b="1" dirty="0"/>
          </a:p>
        </p:txBody>
      </p:sp>
      <p:sp>
        <p:nvSpPr>
          <p:cNvPr id="407" name="text">
            <a:extLst>
              <a:ext uri="{FF2B5EF4-FFF2-40B4-BE49-F238E27FC236}">
                <a16:creationId xmlns:a16="http://schemas.microsoft.com/office/drawing/2014/main" id="{905E7871-783C-D31E-9298-FED662B665D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787650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D73C281-6788-4916-9632-5A2D9D5F72A2}" type="datetime'Q4'''''''''''">
              <a:rPr lang="en-US" altLang="en-US" b="1" smtClean="0"/>
              <a:pPr/>
              <a:t>Q4</a:t>
            </a:fld>
            <a:endParaRPr lang="en-US" b="1" dirty="0"/>
          </a:p>
        </p:txBody>
      </p:sp>
      <p:sp>
        <p:nvSpPr>
          <p:cNvPr id="497" name="text">
            <a:extLst>
              <a:ext uri="{FF2B5EF4-FFF2-40B4-BE49-F238E27FC236}">
                <a16:creationId xmlns:a16="http://schemas.microsoft.com/office/drawing/2014/main" id="{7D4584E2-6D8E-0F5A-F652-8E3368A663A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376614" y="1862138"/>
            <a:ext cx="57467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75BFCDF-E2A1-431E-8EE0-5000BA81F963}" type="datetime'''''''''''''''''''''''''Q1'''''">
              <a:rPr lang="en-US" altLang="en-US" b="1" smtClean="0"/>
              <a:pPr/>
              <a:t>Q1</a:t>
            </a:fld>
            <a:endParaRPr lang="en-US" b="1" dirty="0"/>
          </a:p>
        </p:txBody>
      </p:sp>
      <p:sp>
        <p:nvSpPr>
          <p:cNvPr id="498" name="text">
            <a:extLst>
              <a:ext uri="{FF2B5EF4-FFF2-40B4-BE49-F238E27FC236}">
                <a16:creationId xmlns:a16="http://schemas.microsoft.com/office/drawing/2014/main" id="{5A8BBC0D-808B-E8B8-D25C-720A7CC9AFE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951289" y="1862138"/>
            <a:ext cx="5826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0ADFC55-3886-4F74-8205-E6781F7E51EF}" type="datetime'''''''''''''''''''''''''''''''''''Q''''''''''''''2'''''''">
              <a:rPr lang="en-US" altLang="en-US" b="1" smtClean="0"/>
              <a:pPr/>
              <a:t>Q2</a:t>
            </a:fld>
            <a:endParaRPr lang="en-US" b="1" dirty="0"/>
          </a:p>
        </p:txBody>
      </p:sp>
      <p:sp>
        <p:nvSpPr>
          <p:cNvPr id="499" name="text">
            <a:extLst>
              <a:ext uri="{FF2B5EF4-FFF2-40B4-BE49-F238E27FC236}">
                <a16:creationId xmlns:a16="http://schemas.microsoft.com/office/drawing/2014/main" id="{DB7E1063-9F6B-0D8B-6798-C5E095316E13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533900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A9D8F26-01FA-43D4-BB68-A2C11942FD84}" type="datetime'''Q''''''''''''''''''''''''''''''''''''''''''''''''''''3'''''">
              <a:rPr lang="en-US" altLang="en-US" b="1" smtClean="0"/>
              <a:pPr/>
              <a:t>Q3</a:t>
            </a:fld>
            <a:endParaRPr lang="en-US" b="1" dirty="0"/>
          </a:p>
        </p:txBody>
      </p:sp>
      <p:sp>
        <p:nvSpPr>
          <p:cNvPr id="500" name="text">
            <a:extLst>
              <a:ext uri="{FF2B5EF4-FFF2-40B4-BE49-F238E27FC236}">
                <a16:creationId xmlns:a16="http://schemas.microsoft.com/office/drawing/2014/main" id="{0D5FA581-1186-9AD7-23AF-F3741B05A5A1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122863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1FC14B9-B0F7-49A3-B82F-6545FBC37EDC}" type="datetime'''''''''''Q''''''''''''''''''''''4'''''''">
              <a:rPr lang="en-US" altLang="en-US" b="1" smtClean="0"/>
              <a:pPr/>
              <a:t>Q4</a:t>
            </a:fld>
            <a:endParaRPr lang="en-US" b="1" dirty="0"/>
          </a:p>
        </p:txBody>
      </p:sp>
      <p:sp>
        <p:nvSpPr>
          <p:cNvPr id="540" name="text">
            <a:extLst>
              <a:ext uri="{FF2B5EF4-FFF2-40B4-BE49-F238E27FC236}">
                <a16:creationId xmlns:a16="http://schemas.microsoft.com/office/drawing/2014/main" id="{DBEE6BBE-4FCE-F9C0-CD80-274D62E64190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711826" y="1862138"/>
            <a:ext cx="57467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F913DF8-AF63-4911-9044-347BED8B935B}" type="datetime'''Q''''''''''''''''''''''''''''1'''''''''''">
              <a:rPr lang="en-US" altLang="en-US" b="1" smtClean="0"/>
              <a:pPr/>
              <a:t>Q1</a:t>
            </a:fld>
            <a:endParaRPr lang="en-US" b="1" dirty="0"/>
          </a:p>
        </p:txBody>
      </p:sp>
      <p:sp>
        <p:nvSpPr>
          <p:cNvPr id="541" name="text">
            <a:extLst>
              <a:ext uri="{FF2B5EF4-FFF2-40B4-BE49-F238E27FC236}">
                <a16:creationId xmlns:a16="http://schemas.microsoft.com/office/drawing/2014/main" id="{0BD03E2E-6A52-8E27-D69C-52FBF6511DDF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286501" y="1862138"/>
            <a:ext cx="5826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23BB49B-F987-4D5E-B1FB-A45DC4DC2BAE}" type="datetime'''''''''''''''Q''''''''''''''''''''''2'''''''''''''''''''''">
              <a:rPr lang="en-US" altLang="en-US" b="1" smtClean="0"/>
              <a:pPr/>
              <a:t>Q2</a:t>
            </a:fld>
            <a:endParaRPr lang="en-US" b="1" dirty="0"/>
          </a:p>
        </p:txBody>
      </p:sp>
      <p:sp>
        <p:nvSpPr>
          <p:cNvPr id="542" name="text">
            <a:extLst>
              <a:ext uri="{FF2B5EF4-FFF2-40B4-BE49-F238E27FC236}">
                <a16:creationId xmlns:a16="http://schemas.microsoft.com/office/drawing/2014/main" id="{19289440-F419-E470-5485-D54471DE3D8E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869113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4AF189E-61C0-4071-BABB-68D2781C0521}" type="datetime'''''''''''''Q3'">
              <a:rPr lang="en-US" altLang="en-US" b="1" smtClean="0"/>
              <a:pPr/>
              <a:t>Q3</a:t>
            </a:fld>
            <a:endParaRPr lang="en-US" b="1" dirty="0"/>
          </a:p>
        </p:txBody>
      </p:sp>
      <p:sp>
        <p:nvSpPr>
          <p:cNvPr id="543" name="text">
            <a:extLst>
              <a:ext uri="{FF2B5EF4-FFF2-40B4-BE49-F238E27FC236}">
                <a16:creationId xmlns:a16="http://schemas.microsoft.com/office/drawing/2014/main" id="{71EEEF99-350B-AB10-051B-2B5606855AC3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458075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C44E379-C25F-4312-88C0-9E59046226C3}" type="datetime'''Q''''''''''''''''''''''4'''''''''''''''''''''">
              <a:rPr lang="en-US" altLang="en-US" b="1" smtClean="0"/>
              <a:pPr/>
              <a:t>Q4</a:t>
            </a:fld>
            <a:endParaRPr lang="en-US" b="1" dirty="0"/>
          </a:p>
        </p:txBody>
      </p:sp>
      <p:sp>
        <p:nvSpPr>
          <p:cNvPr id="589" name="text">
            <a:extLst>
              <a:ext uri="{FF2B5EF4-FFF2-40B4-BE49-F238E27FC236}">
                <a16:creationId xmlns:a16="http://schemas.microsoft.com/office/drawing/2014/main" id="{C341425D-8304-D6CF-5D83-F850CDFC2CBB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8047039" y="1862138"/>
            <a:ext cx="5826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EA13AA6-F14D-4345-812D-CE7997E98106}" type="datetime'''''''''''''''''''''''''''Q''''''''''''''''1'''''">
              <a:rPr lang="en-US" altLang="en-US" b="1" smtClean="0"/>
              <a:pPr/>
              <a:t>Q1</a:t>
            </a:fld>
            <a:endParaRPr lang="en-US" b="1" dirty="0"/>
          </a:p>
        </p:txBody>
      </p:sp>
      <p:sp>
        <p:nvSpPr>
          <p:cNvPr id="590" name="text">
            <a:extLst>
              <a:ext uri="{FF2B5EF4-FFF2-40B4-BE49-F238E27FC236}">
                <a16:creationId xmlns:a16="http://schemas.microsoft.com/office/drawing/2014/main" id="{FBE484DF-08C0-C581-4686-D4B3862994AB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8629650" y="1862138"/>
            <a:ext cx="58102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C34017C-3044-42FD-BBEF-73F3DB32D6E7}" type="datetime'''''''''''Q''''''''''''''''''''''''''''''2'''">
              <a:rPr lang="en-US" altLang="en-US" b="1" smtClean="0"/>
              <a:pPr/>
              <a:t>Q2</a:t>
            </a:fld>
            <a:endParaRPr lang="en-US" b="1" dirty="0"/>
          </a:p>
        </p:txBody>
      </p:sp>
      <p:sp>
        <p:nvSpPr>
          <p:cNvPr id="591" name="text">
            <a:extLst>
              <a:ext uri="{FF2B5EF4-FFF2-40B4-BE49-F238E27FC236}">
                <a16:creationId xmlns:a16="http://schemas.microsoft.com/office/drawing/2014/main" id="{7957D821-795F-D744-FBF7-B166556239FC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9210676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426FF7B-0F60-4923-8BFC-AEE974644245}" type="datetime'''''''''''''''''''''''''''''''''''''''''''Q''''''3'''">
              <a:rPr lang="en-US" altLang="en-US" b="1" smtClean="0"/>
              <a:pPr/>
              <a:t>Q3</a:t>
            </a:fld>
            <a:endParaRPr lang="en-US" b="1" dirty="0"/>
          </a:p>
        </p:txBody>
      </p:sp>
      <p:sp>
        <p:nvSpPr>
          <p:cNvPr id="592" name="text">
            <a:extLst>
              <a:ext uri="{FF2B5EF4-FFF2-40B4-BE49-F238E27FC236}">
                <a16:creationId xmlns:a16="http://schemas.microsoft.com/office/drawing/2014/main" id="{354FCB0A-A166-C845-D96B-D39978933FAF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9799638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FAB18D2-2786-4855-A580-645F2425FCE6}" type="datetime'''''''Q''''''''''''''''''''''''4'''''''''''''''''">
              <a:rPr lang="en-US" altLang="en-US" b="1" smtClean="0"/>
              <a:pPr/>
              <a:t>Q4</a:t>
            </a:fld>
            <a:endParaRPr lang="en-US" b="1" dirty="0"/>
          </a:p>
        </p:txBody>
      </p:sp>
      <p:sp>
        <p:nvSpPr>
          <p:cNvPr id="52" name="text">
            <a:extLst>
              <a:ext uri="{FF2B5EF4-FFF2-40B4-BE49-F238E27FC236}">
                <a16:creationId xmlns:a16="http://schemas.microsoft.com/office/drawing/2014/main" id="{52101ED9-BBAC-5115-85B2-317827A9D113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2198688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6227835-67C0-4A02-912A-6D08E049CB27}" type="datetime'''''''''''''''''''''''''''''''''''''''''''''''''7'''''''''''''">
              <a:rPr lang="en-US" altLang="en-US" sz="1000" smtClean="0"/>
              <a:pPr/>
              <a:t>7</a:t>
            </a:fld>
            <a:endParaRPr lang="en-US" sz="1000" dirty="0"/>
          </a:p>
        </p:txBody>
      </p:sp>
      <p:sp>
        <p:nvSpPr>
          <p:cNvPr id="54" name="text">
            <a:extLst>
              <a:ext uri="{FF2B5EF4-FFF2-40B4-BE49-F238E27FC236}">
                <a16:creationId xmlns:a16="http://schemas.microsoft.com/office/drawing/2014/main" id="{A0EA2742-F28B-D1FA-CA87-9BEC3D3D92AD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397125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1088191-E52A-442D-B344-7DF4E5447A3F}" type="datetime'''''''''''8'">
              <a:rPr lang="en-US" altLang="en-US" sz="1000" smtClean="0"/>
              <a:pPr/>
              <a:t>8</a:t>
            </a:fld>
            <a:endParaRPr lang="en-US" sz="1000" dirty="0"/>
          </a:p>
        </p:txBody>
      </p:sp>
      <p:sp>
        <p:nvSpPr>
          <p:cNvPr id="38" name="text">
            <a:extLst>
              <a:ext uri="{FF2B5EF4-FFF2-40B4-BE49-F238E27FC236}">
                <a16:creationId xmlns:a16="http://schemas.microsoft.com/office/drawing/2014/main" id="{141D666E-148B-A88A-F5D0-1B1C2370CC48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595563" y="2122489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941CB51-7924-4FED-B609-7CAA243ED190}" type="datetime'''''''''''''''''''''''''''''''''''''''''''''''''9'''''">
              <a:rPr lang="en-US" altLang="en-US" sz="1000" smtClean="0"/>
              <a:pPr/>
              <a:t>9</a:t>
            </a:fld>
            <a:endParaRPr lang="en-US" sz="1000" dirty="0"/>
          </a:p>
        </p:txBody>
      </p:sp>
      <p:sp>
        <p:nvSpPr>
          <p:cNvPr id="39" name="text">
            <a:extLst>
              <a:ext uri="{FF2B5EF4-FFF2-40B4-BE49-F238E27FC236}">
                <a16:creationId xmlns:a16="http://schemas.microsoft.com/office/drawing/2014/main" id="{E5B89DEE-13C1-2FC2-5FFB-696B7C083273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787650" y="2122489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80038D6-A1D4-4852-A2D8-3C728E888BA2}" type="datetime'''''''''''''''''''''''''''''''''''''''''''''''''10'''''">
              <a:rPr lang="en-US" altLang="en-US" sz="1000" smtClean="0"/>
              <a:pPr/>
              <a:t>10</a:t>
            </a:fld>
            <a:endParaRPr lang="en-US" sz="1000" dirty="0"/>
          </a:p>
        </p:txBody>
      </p:sp>
      <p:sp>
        <p:nvSpPr>
          <p:cNvPr id="40" name="text">
            <a:extLst>
              <a:ext uri="{FF2B5EF4-FFF2-40B4-BE49-F238E27FC236}">
                <a16:creationId xmlns:a16="http://schemas.microsoft.com/office/drawing/2014/main" id="{D92849F4-AA9E-2B18-7636-61540EEEA50E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2986088" y="2122489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45B2CB4-4108-4D87-AF1D-C80954AAC9D4}" type="datetime'''''''''''''''''''1''''''''''''''''''1'''''''''''''''''''">
              <a:rPr lang="en-US" altLang="en-US" sz="1000" smtClean="0"/>
              <a:pPr/>
              <a:t>11</a:t>
            </a:fld>
            <a:endParaRPr lang="en-US" sz="1000" dirty="0"/>
          </a:p>
        </p:txBody>
      </p:sp>
      <p:sp>
        <p:nvSpPr>
          <p:cNvPr id="469" name="text">
            <a:extLst>
              <a:ext uri="{FF2B5EF4-FFF2-40B4-BE49-F238E27FC236}">
                <a16:creationId xmlns:a16="http://schemas.microsoft.com/office/drawing/2014/main" id="{2FC25469-B568-0CB0-345C-3324D001DBB0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3178175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261B0F0-1350-45E5-817C-E87B899581AF}" type="datetime'''''''''''''''''''''1''''''''''2'''''''''''''">
              <a:rPr lang="en-US" altLang="en-US" sz="1000" smtClean="0"/>
              <a:pPr/>
              <a:t>12</a:t>
            </a:fld>
            <a:endParaRPr lang="en-US" sz="1000" dirty="0"/>
          </a:p>
        </p:txBody>
      </p:sp>
      <p:sp>
        <p:nvSpPr>
          <p:cNvPr id="472" name="text">
            <a:extLst>
              <a:ext uri="{FF2B5EF4-FFF2-40B4-BE49-F238E27FC236}">
                <a16:creationId xmlns:a16="http://schemas.microsoft.com/office/drawing/2014/main" id="{FF20CDBB-E70D-EA24-7D35-6DE729F270D8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3376613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F702AA0-B630-49E4-A60E-31CA08924D99}" type="datetime'''''''''''''1'''''''''''''''''''''''''''''''''''''''''''''''">
              <a:rPr lang="en-US" altLang="en-US" sz="1000" smtClean="0"/>
              <a:pPr/>
              <a:t>1</a:t>
            </a:fld>
            <a:endParaRPr lang="en-US" sz="1000" dirty="0"/>
          </a:p>
        </p:txBody>
      </p:sp>
      <p:sp>
        <p:nvSpPr>
          <p:cNvPr id="474" name="text">
            <a:extLst>
              <a:ext uri="{FF2B5EF4-FFF2-40B4-BE49-F238E27FC236}">
                <a16:creationId xmlns:a16="http://schemas.microsoft.com/office/drawing/2014/main" id="{CB277532-044E-DE42-B7CE-C05FD7022E79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3575050" y="2122488"/>
            <a:ext cx="17780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F63A27C-B2B0-4E3B-9F57-04710E53A2D8}" type="datetime'2'''''''''''''''''''''''''''''''''''''''''''''''''''''''">
              <a:rPr lang="en-US" altLang="en-US" sz="1000" smtClean="0"/>
              <a:pPr/>
              <a:t>2</a:t>
            </a:fld>
            <a:endParaRPr lang="en-US" sz="1000" dirty="0"/>
          </a:p>
        </p:txBody>
      </p:sp>
      <p:sp>
        <p:nvSpPr>
          <p:cNvPr id="475" name="text">
            <a:extLst>
              <a:ext uri="{FF2B5EF4-FFF2-40B4-BE49-F238E27FC236}">
                <a16:creationId xmlns:a16="http://schemas.microsoft.com/office/drawing/2014/main" id="{F7391804-B7B0-6AB3-C3A6-F40C842591B3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3752850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16E0D43-444E-4C37-8D9E-A6EA60A4AA86}" type="datetime'''''''''''''''''''''3'''''''''''''''''''''''''''''''">
              <a:rPr lang="en-US" altLang="en-US" sz="1000" smtClean="0"/>
              <a:pPr/>
              <a:t>3</a:t>
            </a:fld>
            <a:endParaRPr lang="en-US" sz="1000" dirty="0"/>
          </a:p>
        </p:txBody>
      </p:sp>
      <p:sp>
        <p:nvSpPr>
          <p:cNvPr id="476" name="text">
            <a:extLst>
              <a:ext uri="{FF2B5EF4-FFF2-40B4-BE49-F238E27FC236}">
                <a16:creationId xmlns:a16="http://schemas.microsoft.com/office/drawing/2014/main" id="{66209322-9881-EFF9-CC78-3886ABECBA97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3951288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51CC9CE-6B89-4724-8F7E-B907E19ADF70}" type="datetime'''''''''''''4'''''''''''''''''''''''''''''''''''''''''''''''''">
              <a:rPr lang="en-US" altLang="en-US" sz="1000" smtClean="0"/>
              <a:pPr/>
              <a:t>4</a:t>
            </a:fld>
            <a:endParaRPr lang="en-US" sz="1000" dirty="0"/>
          </a:p>
        </p:txBody>
      </p:sp>
      <p:sp>
        <p:nvSpPr>
          <p:cNvPr id="477" name="text">
            <a:extLst>
              <a:ext uri="{FF2B5EF4-FFF2-40B4-BE49-F238E27FC236}">
                <a16:creationId xmlns:a16="http://schemas.microsoft.com/office/drawing/2014/main" id="{6A2CB4CA-32CC-B421-18D6-45B900E96385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4143375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3A3575F-0B79-4925-9241-6E52B7C864C1}" type="datetime'''''''5'''''''''''''''''''''''">
              <a:rPr lang="en-US" altLang="en-US" sz="1000" smtClean="0"/>
              <a:pPr/>
              <a:t>5</a:t>
            </a:fld>
            <a:endParaRPr lang="en-US" sz="1000" dirty="0"/>
          </a:p>
        </p:txBody>
      </p:sp>
      <p:sp>
        <p:nvSpPr>
          <p:cNvPr id="478" name="text">
            <a:extLst>
              <a:ext uri="{FF2B5EF4-FFF2-40B4-BE49-F238E27FC236}">
                <a16:creationId xmlns:a16="http://schemas.microsoft.com/office/drawing/2014/main" id="{996FCA9B-AA03-865A-E933-3495E7BD039A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4341813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72E5D5F-6973-402A-B6BD-D0EC83125BBF}" type="datetime'''''''''''''6'''''''">
              <a:rPr lang="en-US" altLang="en-US" sz="1000" smtClean="0"/>
              <a:pPr/>
              <a:t>6</a:t>
            </a:fld>
            <a:endParaRPr lang="en-US" sz="1000" dirty="0"/>
          </a:p>
        </p:txBody>
      </p:sp>
      <p:sp>
        <p:nvSpPr>
          <p:cNvPr id="479" name="text">
            <a:extLst>
              <a:ext uri="{FF2B5EF4-FFF2-40B4-BE49-F238E27FC236}">
                <a16:creationId xmlns:a16="http://schemas.microsoft.com/office/drawing/2014/main" id="{F1C89918-301A-54F6-4709-DB148D2D14E8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4533900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2609581-7493-4850-869F-2CA03D157510}" type="datetime'''''''''''''''''''''7'''''''''''''''''''''''''''''''''''''''">
              <a:rPr lang="en-US" altLang="en-US" sz="1000" smtClean="0"/>
              <a:pPr/>
              <a:t>7</a:t>
            </a:fld>
            <a:endParaRPr lang="en-US" sz="1000" dirty="0"/>
          </a:p>
        </p:txBody>
      </p:sp>
      <p:sp>
        <p:nvSpPr>
          <p:cNvPr id="480" name="text">
            <a:extLst>
              <a:ext uri="{FF2B5EF4-FFF2-40B4-BE49-F238E27FC236}">
                <a16:creationId xmlns:a16="http://schemas.microsoft.com/office/drawing/2014/main" id="{21D7995C-3E1F-9923-CF76-677044AC6DD2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4732338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FA5D2F6-FB9F-4E2A-BBA8-3BA824B05D62}" type="datetime'''''''''''''''8'''''''''''''''">
              <a:rPr lang="en-US" altLang="en-US" sz="1000" smtClean="0"/>
              <a:pPr/>
              <a:t>8</a:t>
            </a:fld>
            <a:endParaRPr lang="en-US" sz="1000" dirty="0"/>
          </a:p>
        </p:txBody>
      </p:sp>
      <p:sp>
        <p:nvSpPr>
          <p:cNvPr id="481" name="text">
            <a:extLst>
              <a:ext uri="{FF2B5EF4-FFF2-40B4-BE49-F238E27FC236}">
                <a16:creationId xmlns:a16="http://schemas.microsoft.com/office/drawing/2014/main" id="{053BA236-6A04-46DB-BEF8-562DA4AD1F12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4930775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1435BFF-DFC9-4147-88F1-BCCACEB53CEE}" type="datetime'''''''''''''''''''''''''''''''''''''''''''''9'''''''''">
              <a:rPr lang="en-US" altLang="en-US" sz="1000" smtClean="0"/>
              <a:pPr/>
              <a:t>9</a:t>
            </a:fld>
            <a:endParaRPr lang="en-US" sz="1000" dirty="0"/>
          </a:p>
        </p:txBody>
      </p:sp>
      <p:sp>
        <p:nvSpPr>
          <p:cNvPr id="482" name="text">
            <a:extLst>
              <a:ext uri="{FF2B5EF4-FFF2-40B4-BE49-F238E27FC236}">
                <a16:creationId xmlns:a16="http://schemas.microsoft.com/office/drawing/2014/main" id="{247E0E5F-BD53-25A6-C0C5-EC2D64337ED4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5122863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BEBA082-6A9D-4C56-B801-2ECB9299D062}" type="datetime'''''''''''''''1''''''''''''''''''''''''0'''''''">
              <a:rPr lang="en-US" altLang="en-US" sz="1000" smtClean="0"/>
              <a:pPr/>
              <a:t>10</a:t>
            </a:fld>
            <a:endParaRPr lang="en-US" sz="1000" dirty="0"/>
          </a:p>
        </p:txBody>
      </p:sp>
      <p:sp>
        <p:nvSpPr>
          <p:cNvPr id="483" name="text">
            <a:extLst>
              <a:ext uri="{FF2B5EF4-FFF2-40B4-BE49-F238E27FC236}">
                <a16:creationId xmlns:a16="http://schemas.microsoft.com/office/drawing/2014/main" id="{B5C457DD-233B-C807-283C-35E9D5C79BC2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5321300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40A09C1-742D-41F2-9AF0-588921E37397}" type="datetime'''''''''''''1''''''''''''''''''''1'''''''''''">
              <a:rPr lang="en-US" altLang="en-US" sz="1000" smtClean="0"/>
              <a:pPr/>
              <a:t>11</a:t>
            </a:fld>
            <a:endParaRPr lang="en-US" sz="1000" dirty="0"/>
          </a:p>
        </p:txBody>
      </p:sp>
      <p:sp>
        <p:nvSpPr>
          <p:cNvPr id="484" name="text">
            <a:extLst>
              <a:ext uri="{FF2B5EF4-FFF2-40B4-BE49-F238E27FC236}">
                <a16:creationId xmlns:a16="http://schemas.microsoft.com/office/drawing/2014/main" id="{1C87F754-1A1E-8325-EDFA-414DE2C72A44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5513388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2F33090-FCF2-430E-B3CE-E17F5CE43FD3}" type="datetime'''''''''''''''''''''''''''''1''2'''''''''''''''''''''''">
              <a:rPr lang="en-US" altLang="en-US" sz="1000" smtClean="0"/>
              <a:pPr/>
              <a:t>12</a:t>
            </a:fld>
            <a:endParaRPr lang="en-US" sz="1000" dirty="0"/>
          </a:p>
        </p:txBody>
      </p:sp>
      <p:sp>
        <p:nvSpPr>
          <p:cNvPr id="527" name="text">
            <a:extLst>
              <a:ext uri="{FF2B5EF4-FFF2-40B4-BE49-F238E27FC236}">
                <a16:creationId xmlns:a16="http://schemas.microsoft.com/office/drawing/2014/main" id="{F0DDB975-2AB2-2A95-6292-D3161ED8F20C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5711825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39243F7-6AE0-4F61-8CA2-4AAB42070832}" type="datetime'''''''''''''''''''''''''''''''''''''''''''''''1'">
              <a:rPr lang="en-US" altLang="en-US" sz="1000" smtClean="0"/>
              <a:pPr/>
              <a:t>1</a:t>
            </a:fld>
            <a:endParaRPr lang="en-US" sz="1000" dirty="0"/>
          </a:p>
        </p:txBody>
      </p:sp>
      <p:sp>
        <p:nvSpPr>
          <p:cNvPr id="529" name="text">
            <a:extLst>
              <a:ext uri="{FF2B5EF4-FFF2-40B4-BE49-F238E27FC236}">
                <a16:creationId xmlns:a16="http://schemas.microsoft.com/office/drawing/2014/main" id="{1C7831C3-A3DA-A6BB-B5A3-ECCA9DBE8C30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5910263" y="2122488"/>
            <a:ext cx="1793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3028098-8853-47CC-800B-442C74DAD03A}" type="datetime'''''''''''''''2'''''''''''''''''''''''''''''''''''''''">
              <a:rPr lang="en-US" altLang="en-US" sz="1000" smtClean="0"/>
              <a:pPr/>
              <a:t>2</a:t>
            </a:fld>
            <a:endParaRPr lang="en-US" sz="1000" dirty="0"/>
          </a:p>
        </p:txBody>
      </p:sp>
      <p:sp>
        <p:nvSpPr>
          <p:cNvPr id="530" name="text">
            <a:extLst>
              <a:ext uri="{FF2B5EF4-FFF2-40B4-BE49-F238E27FC236}">
                <a16:creationId xmlns:a16="http://schemas.microsoft.com/office/drawing/2014/main" id="{47A24351-AA54-68D8-53D6-F4C74F5645CE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6089650" y="2122488"/>
            <a:ext cx="19685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6A288ED-8393-48D5-8225-CDE47C6C2733}" type="datetime'''''''''''''''''''''''''''''''''''''''''''''''3'">
              <a:rPr lang="en-US" altLang="en-US" sz="1000" smtClean="0"/>
              <a:pPr/>
              <a:t>3</a:t>
            </a:fld>
            <a:endParaRPr lang="en-US" sz="1000" dirty="0"/>
          </a:p>
        </p:txBody>
      </p:sp>
      <p:sp>
        <p:nvSpPr>
          <p:cNvPr id="531" name="text">
            <a:extLst>
              <a:ext uri="{FF2B5EF4-FFF2-40B4-BE49-F238E27FC236}">
                <a16:creationId xmlns:a16="http://schemas.microsoft.com/office/drawing/2014/main" id="{E4A603D5-2339-323E-E3DD-874572DD128B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6286500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81B3CCC-6197-4464-B812-1A074C1A2F89}" type="datetime'''''''''''''''''''''''''''''4'''''''''''''''''''''''''''">
              <a:rPr lang="en-US" altLang="en-US" sz="1000" smtClean="0"/>
              <a:pPr/>
              <a:t>4</a:t>
            </a:fld>
            <a:endParaRPr lang="en-US" sz="1000" dirty="0"/>
          </a:p>
        </p:txBody>
      </p:sp>
      <p:sp>
        <p:nvSpPr>
          <p:cNvPr id="532" name="text">
            <a:extLst>
              <a:ext uri="{FF2B5EF4-FFF2-40B4-BE49-F238E27FC236}">
                <a16:creationId xmlns:a16="http://schemas.microsoft.com/office/drawing/2014/main" id="{814849AD-5180-7C46-E3A3-BE07FE5849F5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6478588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CDDE179-E239-4421-B10F-CF3454AD001A}" type="datetime'''''''''''''''''''''''''''''5'''''''''''''''''''''">
              <a:rPr lang="en-US" altLang="en-US" sz="1000" smtClean="0"/>
              <a:pPr/>
              <a:t>5</a:t>
            </a:fld>
            <a:endParaRPr lang="en-US" sz="1000" dirty="0"/>
          </a:p>
        </p:txBody>
      </p:sp>
      <p:sp>
        <p:nvSpPr>
          <p:cNvPr id="533" name="text">
            <a:extLst>
              <a:ext uri="{FF2B5EF4-FFF2-40B4-BE49-F238E27FC236}">
                <a16:creationId xmlns:a16="http://schemas.microsoft.com/office/drawing/2014/main" id="{738CF9F2-1D13-5BDF-5CA8-CFB21D56E146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6677025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50F0809-1C95-430B-A9B0-C252C67EBF19}" type="datetime'''6'''">
              <a:rPr lang="en-US" altLang="en-US" sz="1000" smtClean="0"/>
              <a:pPr/>
              <a:t>6</a:t>
            </a:fld>
            <a:endParaRPr lang="en-US" sz="1000" dirty="0"/>
          </a:p>
        </p:txBody>
      </p:sp>
      <p:sp>
        <p:nvSpPr>
          <p:cNvPr id="534" name="text">
            <a:extLst>
              <a:ext uri="{FF2B5EF4-FFF2-40B4-BE49-F238E27FC236}">
                <a16:creationId xmlns:a16="http://schemas.microsoft.com/office/drawing/2014/main" id="{8B816380-A9ED-0009-73AC-71C269763AA0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6869113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2F3E5B2-CB35-4F03-86FC-208107C55968}" type="datetime'''''''''''7'''''''''''''''''''''''''''''">
              <a:rPr lang="en-US" altLang="en-US" sz="1000" smtClean="0"/>
              <a:pPr/>
              <a:t>7</a:t>
            </a:fld>
            <a:endParaRPr lang="en-US" sz="1000" dirty="0"/>
          </a:p>
        </p:txBody>
      </p:sp>
      <p:sp>
        <p:nvSpPr>
          <p:cNvPr id="535" name="text">
            <a:extLst>
              <a:ext uri="{FF2B5EF4-FFF2-40B4-BE49-F238E27FC236}">
                <a16:creationId xmlns:a16="http://schemas.microsoft.com/office/drawing/2014/main" id="{9F247E7E-8D67-A5AA-4CC1-C703BC128E35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7067550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6C1089A-5839-49A3-ABDF-C285907458E4}" type="datetime'''8'''''''''''''''''''">
              <a:rPr lang="en-US" altLang="en-US" sz="1000" smtClean="0"/>
              <a:pPr/>
              <a:t>8</a:t>
            </a:fld>
            <a:endParaRPr lang="en-US" sz="1000" dirty="0"/>
          </a:p>
        </p:txBody>
      </p:sp>
      <p:sp>
        <p:nvSpPr>
          <p:cNvPr id="536" name="text">
            <a:extLst>
              <a:ext uri="{FF2B5EF4-FFF2-40B4-BE49-F238E27FC236}">
                <a16:creationId xmlns:a16="http://schemas.microsoft.com/office/drawing/2014/main" id="{1EF3C10F-B8FD-D367-E115-E493A3F3E38B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7265988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3B7BF63-A0CC-4B9C-B226-DA542AA6FE5B}" type="datetime'''''''''''''''''''9'''''''''''''''">
              <a:rPr lang="en-US" altLang="en-US" sz="1000" smtClean="0"/>
              <a:pPr/>
              <a:t>9</a:t>
            </a:fld>
            <a:endParaRPr lang="en-US" sz="1000" dirty="0"/>
          </a:p>
        </p:txBody>
      </p:sp>
      <p:sp>
        <p:nvSpPr>
          <p:cNvPr id="537" name="text">
            <a:extLst>
              <a:ext uri="{FF2B5EF4-FFF2-40B4-BE49-F238E27FC236}">
                <a16:creationId xmlns:a16="http://schemas.microsoft.com/office/drawing/2014/main" id="{87B6353C-F214-EB48-4D9A-2BC684ED004A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7458075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3EB577F-F016-46FF-848C-1D318DB8518A}" type="datetime'''''''''10'''''''''''''''">
              <a:rPr lang="en-US" altLang="en-US" sz="1000" smtClean="0"/>
              <a:pPr/>
              <a:t>10</a:t>
            </a:fld>
            <a:endParaRPr lang="en-US" sz="1000" dirty="0"/>
          </a:p>
        </p:txBody>
      </p:sp>
      <p:sp>
        <p:nvSpPr>
          <p:cNvPr id="538" name="text">
            <a:extLst>
              <a:ext uri="{FF2B5EF4-FFF2-40B4-BE49-F238E27FC236}">
                <a16:creationId xmlns:a16="http://schemas.microsoft.com/office/drawing/2014/main" id="{3E66D1A8-E30C-3EBB-D838-E4C078882E63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7656513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D01DA93-0D56-41BF-A4ED-7AE7FB7DCC73}" type="datetime'''''''''''''''''''''''''''''11'''''''''''''">
              <a:rPr lang="en-US" altLang="en-US" sz="1000" smtClean="0"/>
              <a:pPr/>
              <a:t>11</a:t>
            </a:fld>
            <a:endParaRPr lang="en-US" sz="1000" dirty="0"/>
          </a:p>
        </p:txBody>
      </p:sp>
      <p:sp>
        <p:nvSpPr>
          <p:cNvPr id="539" name="text">
            <a:extLst>
              <a:ext uri="{FF2B5EF4-FFF2-40B4-BE49-F238E27FC236}">
                <a16:creationId xmlns:a16="http://schemas.microsoft.com/office/drawing/2014/main" id="{354B3D95-B414-7FDD-EC66-42F3313FB587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7848600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AE0D544-F536-4FE0-86BE-460E4CDED38D}" type="datetime'''''''''''''''1''''''''''2'''''''''''''''''''''''''''''''''''">
              <a:rPr lang="en-US" altLang="en-US" sz="1000" smtClean="0"/>
              <a:pPr/>
              <a:t>12</a:t>
            </a:fld>
            <a:endParaRPr lang="en-US" sz="1000" dirty="0"/>
          </a:p>
        </p:txBody>
      </p:sp>
      <p:sp>
        <p:nvSpPr>
          <p:cNvPr id="576" name="text">
            <a:extLst>
              <a:ext uri="{FF2B5EF4-FFF2-40B4-BE49-F238E27FC236}">
                <a16:creationId xmlns:a16="http://schemas.microsoft.com/office/drawing/2014/main" id="{7DCD2DC7-EF16-3679-BB3F-B616C0B059C8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8047038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5313415-F498-4A71-ADED-65660F1F50A3}" type="datetime'''''''1'''''''''''''''''''''''''''''''''''''''''''''''''''">
              <a:rPr lang="en-US" altLang="en-US" sz="1000" smtClean="0"/>
              <a:pPr/>
              <a:t>1</a:t>
            </a:fld>
            <a:endParaRPr lang="en-US" sz="1000" dirty="0"/>
          </a:p>
        </p:txBody>
      </p:sp>
      <p:sp>
        <p:nvSpPr>
          <p:cNvPr id="578" name="text">
            <a:extLst>
              <a:ext uri="{FF2B5EF4-FFF2-40B4-BE49-F238E27FC236}">
                <a16:creationId xmlns:a16="http://schemas.microsoft.com/office/drawing/2014/main" id="{8AD7D516-390A-C7CC-C78A-5DDD245D475D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8245475" y="2122488"/>
            <a:ext cx="1857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CD8674E-1ED6-4FB9-A882-BAC4751428CB}" type="datetime'''''''''''''''''''''''''''''''''''2'''''">
              <a:rPr lang="en-US" altLang="en-US" sz="1000" smtClean="0"/>
              <a:pPr/>
              <a:t>2</a:t>
            </a:fld>
            <a:endParaRPr lang="en-US" sz="1000" dirty="0"/>
          </a:p>
        </p:txBody>
      </p:sp>
      <p:sp>
        <p:nvSpPr>
          <p:cNvPr id="579" name="text">
            <a:extLst>
              <a:ext uri="{FF2B5EF4-FFF2-40B4-BE49-F238E27FC236}">
                <a16:creationId xmlns:a16="http://schemas.microsoft.com/office/drawing/2014/main" id="{5874408A-FC53-E4B3-D9EB-0A112F64EFBC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8431213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5200B7D-1976-45B8-8AC3-D675B0BAFF93}" type="datetime'3'''''''''''''">
              <a:rPr lang="en-US" altLang="en-US" sz="1000" smtClean="0"/>
              <a:pPr/>
              <a:t>3</a:t>
            </a:fld>
            <a:endParaRPr lang="en-US" sz="1000" dirty="0"/>
          </a:p>
        </p:txBody>
      </p:sp>
      <p:sp>
        <p:nvSpPr>
          <p:cNvPr id="580" name="text">
            <a:extLst>
              <a:ext uri="{FF2B5EF4-FFF2-40B4-BE49-F238E27FC236}">
                <a16:creationId xmlns:a16="http://schemas.microsoft.com/office/drawing/2014/main" id="{44D1AB81-7B7E-4F15-F5F4-E030DE1BEACD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8629650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49AB53F-F3C8-4BF8-9492-BF2230157088}" type="datetime'''4'''''''''">
              <a:rPr lang="en-US" altLang="en-US" sz="1000" smtClean="0"/>
              <a:pPr/>
              <a:t>4</a:t>
            </a:fld>
            <a:endParaRPr lang="en-US" sz="1000" dirty="0"/>
          </a:p>
        </p:txBody>
      </p:sp>
      <p:sp>
        <p:nvSpPr>
          <p:cNvPr id="581" name="text">
            <a:extLst>
              <a:ext uri="{FF2B5EF4-FFF2-40B4-BE49-F238E27FC236}">
                <a16:creationId xmlns:a16="http://schemas.microsoft.com/office/drawing/2014/main" id="{C0F47C48-8D1A-EF06-8886-724F5B539854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8821738" y="2122488"/>
            <a:ext cx="19685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F1DF38D-D7DC-45C4-8790-B128A68ADD48}" type="datetime'''''''''''''''''5'''''''''''''''''''''''''''''''''''''''''''''">
              <a:rPr lang="en-US" altLang="en-US" sz="1000" smtClean="0"/>
              <a:pPr/>
              <a:t>5</a:t>
            </a:fld>
            <a:endParaRPr lang="en-US" sz="1000" dirty="0"/>
          </a:p>
        </p:txBody>
      </p:sp>
      <p:sp>
        <p:nvSpPr>
          <p:cNvPr id="582" name="text">
            <a:extLst>
              <a:ext uri="{FF2B5EF4-FFF2-40B4-BE49-F238E27FC236}">
                <a16:creationId xmlns:a16="http://schemas.microsoft.com/office/drawing/2014/main" id="{3AB5D698-5683-4EA2-7FA2-E5B7855F3DAC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9018588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4653903-5964-4CA5-B88A-F736D0970A98}" type="datetime'''6'''''''''''''''''''''''''">
              <a:rPr lang="en-US" altLang="en-US" sz="1000" smtClean="0"/>
              <a:pPr/>
              <a:t>6</a:t>
            </a:fld>
            <a:endParaRPr lang="en-US" sz="1000" dirty="0"/>
          </a:p>
        </p:txBody>
      </p:sp>
      <p:sp>
        <p:nvSpPr>
          <p:cNvPr id="583" name="text">
            <a:extLst>
              <a:ext uri="{FF2B5EF4-FFF2-40B4-BE49-F238E27FC236}">
                <a16:creationId xmlns:a16="http://schemas.microsoft.com/office/drawing/2014/main" id="{DBF7F70D-E23A-2C9F-AF62-0368458E9CED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9210675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D208629-1994-415C-A962-3973D4DF1CB5}" type="datetime'7'''''''''''''">
              <a:rPr lang="en-US" altLang="en-US" sz="1000" smtClean="0"/>
              <a:pPr/>
              <a:t>7</a:t>
            </a:fld>
            <a:endParaRPr lang="en-US" sz="1000" dirty="0"/>
          </a:p>
        </p:txBody>
      </p:sp>
      <p:sp>
        <p:nvSpPr>
          <p:cNvPr id="584" name="text">
            <a:extLst>
              <a:ext uri="{FF2B5EF4-FFF2-40B4-BE49-F238E27FC236}">
                <a16:creationId xmlns:a16="http://schemas.microsoft.com/office/drawing/2014/main" id="{18CED6FB-A694-FE18-4A02-F5825CF00224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9409113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18CC8A2-C79B-41B3-8425-8457BED6E4AC}" type="datetime'''''''''''''''''''''8'''''''''''''''''''''''''''''''''''''''''">
              <a:rPr lang="en-US" altLang="en-US" sz="1000" smtClean="0"/>
              <a:pPr/>
              <a:t>8</a:t>
            </a:fld>
            <a:endParaRPr lang="en-US" sz="1000" dirty="0"/>
          </a:p>
        </p:txBody>
      </p:sp>
      <p:sp>
        <p:nvSpPr>
          <p:cNvPr id="585" name="text">
            <a:extLst>
              <a:ext uri="{FF2B5EF4-FFF2-40B4-BE49-F238E27FC236}">
                <a16:creationId xmlns:a16="http://schemas.microsoft.com/office/drawing/2014/main" id="{16288ED8-A1C5-3336-7232-EDB523BC4B9B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9607550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A9959FA-E362-46B8-89DD-389AFEC0B216}" type="datetime'''9'''''''''''''''''''''''''''''''''''''''''''''''''''''''''''">
              <a:rPr lang="en-US" altLang="en-US" sz="1000" smtClean="0"/>
              <a:pPr/>
              <a:t>9</a:t>
            </a:fld>
            <a:endParaRPr lang="en-US" sz="1000" dirty="0"/>
          </a:p>
        </p:txBody>
      </p:sp>
      <p:sp>
        <p:nvSpPr>
          <p:cNvPr id="586" name="text">
            <a:extLst>
              <a:ext uri="{FF2B5EF4-FFF2-40B4-BE49-F238E27FC236}">
                <a16:creationId xmlns:a16="http://schemas.microsoft.com/office/drawing/2014/main" id="{FE2C89FE-219F-0066-9B2F-B3F623F66A93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9799638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BDBEAC4-880F-4D2E-AB72-CE436A02E152}" type="datetime'1''''''''''''''''''''''''''''''0'">
              <a:rPr lang="en-US" altLang="en-US" sz="1000" smtClean="0"/>
              <a:pPr/>
              <a:t>10</a:t>
            </a:fld>
            <a:endParaRPr lang="en-US" sz="1000" dirty="0"/>
          </a:p>
        </p:txBody>
      </p:sp>
      <p:sp>
        <p:nvSpPr>
          <p:cNvPr id="587" name="text">
            <a:extLst>
              <a:ext uri="{FF2B5EF4-FFF2-40B4-BE49-F238E27FC236}">
                <a16:creationId xmlns:a16="http://schemas.microsoft.com/office/drawing/2014/main" id="{5A00207E-D690-2F95-CC10-0C72874764CE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9998075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2EBA5AF-28B9-4446-8439-B9A7440702A9}" type="datetime'''''''''''''''''''''''''''''''''''''''''''11'''''''''''''''''">
              <a:rPr lang="en-US" altLang="en-US" sz="1000" smtClean="0"/>
              <a:pPr/>
              <a:t>11</a:t>
            </a:fld>
            <a:endParaRPr lang="en-US" sz="1000" dirty="0"/>
          </a:p>
        </p:txBody>
      </p:sp>
      <p:sp>
        <p:nvSpPr>
          <p:cNvPr id="588" name="text">
            <a:extLst>
              <a:ext uri="{FF2B5EF4-FFF2-40B4-BE49-F238E27FC236}">
                <a16:creationId xmlns:a16="http://schemas.microsoft.com/office/drawing/2014/main" id="{70870399-BEE2-F653-F1DB-AF50C32916FD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10190163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1EECCD8-AE7E-4553-9A4B-DDAC62665DE4}" type="datetime'''1''''''''''''''''''2'">
              <a:rPr lang="en-US" altLang="en-US" sz="1000" smtClean="0"/>
              <a:pPr/>
              <a:t>12</a:t>
            </a:fld>
            <a:endParaRPr lang="en-US" sz="1000" dirty="0"/>
          </a:p>
        </p:txBody>
      </p:sp>
      <p:cxnSp>
        <p:nvCxnSpPr>
          <p:cNvPr id="507" name="Gerader Verbinder 506">
            <a:extLst>
              <a:ext uri="{FF2B5EF4-FFF2-40B4-BE49-F238E27FC236}">
                <a16:creationId xmlns:a16="http://schemas.microsoft.com/office/drawing/2014/main" id="{CC02C7C0-6F35-D2BD-8E45-82B0A2813D2E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>
            <a:off x="8047038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1" name="Gerader Verbinder 420">
            <a:extLst>
              <a:ext uri="{FF2B5EF4-FFF2-40B4-BE49-F238E27FC236}">
                <a16:creationId xmlns:a16="http://schemas.microsoft.com/office/drawing/2014/main" id="{6674D82B-919A-A7BA-0E0C-ED2220E16F24}"/>
              </a:ext>
            </a:extLst>
          </p:cNvPr>
          <p:cNvCxnSpPr/>
          <p:nvPr>
            <p:custDataLst>
              <p:tags r:id="rId67"/>
            </p:custDataLst>
          </p:nvPr>
        </p:nvCxnSpPr>
        <p:spPr bwMode="auto">
          <a:xfrm>
            <a:off x="5711825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0791CFE0-57EE-5D99-978F-CF53E9255E0A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>
            <a:off x="2198688" y="2309812"/>
            <a:ext cx="0" cy="33337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65423DBC-0151-29F4-9E3A-7F5937AD8A3B}"/>
              </a:ext>
            </a:extLst>
          </p:cNvPr>
          <p:cNvCxnSpPr/>
          <p:nvPr>
            <p:custDataLst>
              <p:tags r:id="rId69"/>
            </p:custDataLst>
          </p:nvPr>
        </p:nvCxnSpPr>
        <p:spPr bwMode="auto">
          <a:xfrm>
            <a:off x="10388600" y="2309812"/>
            <a:ext cx="0" cy="33337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Gerader Verbinder 62">
            <a:extLst>
              <a:ext uri="{FF2B5EF4-FFF2-40B4-BE49-F238E27FC236}">
                <a16:creationId xmlns:a16="http://schemas.microsoft.com/office/drawing/2014/main" id="{402F7FD8-D9D6-38A1-11EF-F13AF5535830}"/>
              </a:ext>
            </a:extLst>
          </p:cNvPr>
          <p:cNvCxnSpPr/>
          <p:nvPr>
            <p:custDataLst>
              <p:tags r:id="rId70"/>
            </p:custDataLst>
          </p:nvPr>
        </p:nvCxnSpPr>
        <p:spPr bwMode="auto">
          <a:xfrm>
            <a:off x="525463" y="2309812"/>
            <a:ext cx="0" cy="33337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Gerader Verbinder 72">
            <a:extLst>
              <a:ext uri="{FF2B5EF4-FFF2-40B4-BE49-F238E27FC236}">
                <a16:creationId xmlns:a16="http://schemas.microsoft.com/office/drawing/2014/main" id="{48A59ED7-05F3-946C-36CB-94DC343FBBD9}"/>
              </a:ext>
            </a:extLst>
          </p:cNvPr>
          <p:cNvCxnSpPr/>
          <p:nvPr>
            <p:custDataLst>
              <p:tags r:id="rId71"/>
            </p:custDataLst>
          </p:nvPr>
        </p:nvCxnSpPr>
        <p:spPr bwMode="auto">
          <a:xfrm>
            <a:off x="11663363" y="2309812"/>
            <a:ext cx="0" cy="33337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0" name="Gerader Verbinder 419">
            <a:extLst>
              <a:ext uri="{FF2B5EF4-FFF2-40B4-BE49-F238E27FC236}">
                <a16:creationId xmlns:a16="http://schemas.microsoft.com/office/drawing/2014/main" id="{996C61C4-00E5-C139-F5AB-EB7E5DC8DA42}"/>
              </a:ext>
            </a:extLst>
          </p:cNvPr>
          <p:cNvCxnSpPr/>
          <p:nvPr>
            <p:custDataLst>
              <p:tags r:id="rId72"/>
            </p:custDataLst>
          </p:nvPr>
        </p:nvCxnSpPr>
        <p:spPr bwMode="auto">
          <a:xfrm>
            <a:off x="3376613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2" name="Gerader Verbinder 411">
            <a:extLst>
              <a:ext uri="{FF2B5EF4-FFF2-40B4-BE49-F238E27FC236}">
                <a16:creationId xmlns:a16="http://schemas.microsoft.com/office/drawing/2014/main" id="{E6B4EE7C-EA79-A8C8-1E42-BB1C77C71C2E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>
            <a:off x="6286500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3" name="Gerader Verbinder 412">
            <a:extLst>
              <a:ext uri="{FF2B5EF4-FFF2-40B4-BE49-F238E27FC236}">
                <a16:creationId xmlns:a16="http://schemas.microsoft.com/office/drawing/2014/main" id="{BB263002-2B52-D1B4-59B4-AD0C0326894F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>
            <a:off x="6869113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9" name="Gerader Verbinder 438">
            <a:extLst>
              <a:ext uri="{FF2B5EF4-FFF2-40B4-BE49-F238E27FC236}">
                <a16:creationId xmlns:a16="http://schemas.microsoft.com/office/drawing/2014/main" id="{EC372769-A730-824E-E37D-E21C528C439F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>
            <a:off x="8629650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0" name="Gerader Verbinder 439">
            <a:extLst>
              <a:ext uri="{FF2B5EF4-FFF2-40B4-BE49-F238E27FC236}">
                <a16:creationId xmlns:a16="http://schemas.microsoft.com/office/drawing/2014/main" id="{2B69D1CD-31F6-963E-3211-074842965AE3}"/>
              </a:ext>
            </a:extLst>
          </p:cNvPr>
          <p:cNvCxnSpPr/>
          <p:nvPr>
            <p:custDataLst>
              <p:tags r:id="rId76"/>
            </p:custDataLst>
          </p:nvPr>
        </p:nvCxnSpPr>
        <p:spPr bwMode="auto">
          <a:xfrm>
            <a:off x="9210675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1" name="Gerader Verbinder 410">
            <a:extLst>
              <a:ext uri="{FF2B5EF4-FFF2-40B4-BE49-F238E27FC236}">
                <a16:creationId xmlns:a16="http://schemas.microsoft.com/office/drawing/2014/main" id="{C591430F-CE50-97DB-8BBE-7CB43D1E64C0}"/>
              </a:ext>
            </a:extLst>
          </p:cNvPr>
          <p:cNvCxnSpPr/>
          <p:nvPr>
            <p:custDataLst>
              <p:tags r:id="rId77"/>
            </p:custDataLst>
          </p:nvPr>
        </p:nvCxnSpPr>
        <p:spPr bwMode="auto">
          <a:xfrm>
            <a:off x="5122863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8" name="Gerader Verbinder 437">
            <a:extLst>
              <a:ext uri="{FF2B5EF4-FFF2-40B4-BE49-F238E27FC236}">
                <a16:creationId xmlns:a16="http://schemas.microsoft.com/office/drawing/2014/main" id="{7174FB2C-F9BE-E711-1D05-A3CCF55D156D}"/>
              </a:ext>
            </a:extLst>
          </p:cNvPr>
          <p:cNvCxnSpPr/>
          <p:nvPr>
            <p:custDataLst>
              <p:tags r:id="rId78"/>
            </p:custDataLst>
          </p:nvPr>
        </p:nvCxnSpPr>
        <p:spPr bwMode="auto">
          <a:xfrm>
            <a:off x="7458075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0" name="Gerader Verbinder 409">
            <a:extLst>
              <a:ext uri="{FF2B5EF4-FFF2-40B4-BE49-F238E27FC236}">
                <a16:creationId xmlns:a16="http://schemas.microsoft.com/office/drawing/2014/main" id="{A1D746AB-2343-5B5D-7F93-2094DF29F54A}"/>
              </a:ext>
            </a:extLst>
          </p:cNvPr>
          <p:cNvCxnSpPr/>
          <p:nvPr>
            <p:custDataLst>
              <p:tags r:id="rId79"/>
            </p:custDataLst>
          </p:nvPr>
        </p:nvCxnSpPr>
        <p:spPr bwMode="auto">
          <a:xfrm>
            <a:off x="4533900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9" name="Gerader Verbinder 508">
            <a:extLst>
              <a:ext uri="{FF2B5EF4-FFF2-40B4-BE49-F238E27FC236}">
                <a16:creationId xmlns:a16="http://schemas.microsoft.com/office/drawing/2014/main" id="{78FD7381-D676-E844-72E5-83CA3DDD9D9B}"/>
              </a:ext>
            </a:extLst>
          </p:cNvPr>
          <p:cNvCxnSpPr/>
          <p:nvPr>
            <p:custDataLst>
              <p:tags r:id="rId80"/>
            </p:custDataLst>
          </p:nvPr>
        </p:nvCxnSpPr>
        <p:spPr bwMode="auto">
          <a:xfrm>
            <a:off x="9799638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9" name="Gerader Verbinder 408">
            <a:extLst>
              <a:ext uri="{FF2B5EF4-FFF2-40B4-BE49-F238E27FC236}">
                <a16:creationId xmlns:a16="http://schemas.microsoft.com/office/drawing/2014/main" id="{5832728D-5D3B-1CE8-5425-E17553B46D46}"/>
              </a:ext>
            </a:extLst>
          </p:cNvPr>
          <p:cNvCxnSpPr/>
          <p:nvPr>
            <p:custDataLst>
              <p:tags r:id="rId81"/>
            </p:custDataLst>
          </p:nvPr>
        </p:nvCxnSpPr>
        <p:spPr bwMode="auto">
          <a:xfrm>
            <a:off x="3951288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8" name="Gerader Verbinder 407">
            <a:extLst>
              <a:ext uri="{FF2B5EF4-FFF2-40B4-BE49-F238E27FC236}">
                <a16:creationId xmlns:a16="http://schemas.microsoft.com/office/drawing/2014/main" id="{6F33252D-9468-E310-FE74-2573FF994B3D}"/>
              </a:ext>
            </a:extLst>
          </p:cNvPr>
          <p:cNvCxnSpPr/>
          <p:nvPr>
            <p:custDataLst>
              <p:tags r:id="rId82"/>
            </p:custDataLst>
          </p:nvPr>
        </p:nvCxnSpPr>
        <p:spPr bwMode="auto">
          <a:xfrm>
            <a:off x="2787650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3" name="Gerader Verbinder 462">
            <a:extLst>
              <a:ext uri="{FF2B5EF4-FFF2-40B4-BE49-F238E27FC236}">
                <a16:creationId xmlns:a16="http://schemas.microsoft.com/office/drawing/2014/main" id="{7F65D438-FDAB-AA02-54AF-748A6D01B465}"/>
              </a:ext>
            </a:extLst>
          </p:cNvPr>
          <p:cNvCxnSpPr/>
          <p:nvPr>
            <p:custDataLst>
              <p:tags r:id="rId83"/>
            </p:custDataLst>
          </p:nvPr>
        </p:nvCxnSpPr>
        <p:spPr bwMode="auto">
          <a:xfrm>
            <a:off x="525463" y="3421063"/>
            <a:ext cx="111379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4" name="Gerader Verbinder 463">
            <a:extLst>
              <a:ext uri="{FF2B5EF4-FFF2-40B4-BE49-F238E27FC236}">
                <a16:creationId xmlns:a16="http://schemas.microsoft.com/office/drawing/2014/main" id="{7F3E62C9-5C41-63AF-12F4-049D223A8714}"/>
              </a:ext>
            </a:extLst>
          </p:cNvPr>
          <p:cNvCxnSpPr/>
          <p:nvPr>
            <p:custDataLst>
              <p:tags r:id="rId84"/>
            </p:custDataLst>
          </p:nvPr>
        </p:nvCxnSpPr>
        <p:spPr bwMode="auto">
          <a:xfrm>
            <a:off x="525463" y="5073650"/>
            <a:ext cx="111379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3B72BC92-81C0-CB95-D294-19093AE91E5C}"/>
              </a:ext>
            </a:extLst>
          </p:cNvPr>
          <p:cNvCxnSpPr/>
          <p:nvPr>
            <p:custDataLst>
              <p:tags r:id="rId85"/>
            </p:custDataLst>
          </p:nvPr>
        </p:nvCxnSpPr>
        <p:spPr bwMode="auto">
          <a:xfrm>
            <a:off x="525463" y="5643563"/>
            <a:ext cx="111379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3F9F5165-AA21-60B0-0F10-6A92BA956C6D}"/>
              </a:ext>
            </a:extLst>
          </p:cNvPr>
          <p:cNvCxnSpPr/>
          <p:nvPr>
            <p:custDataLst>
              <p:tags r:id="rId86"/>
            </p:custDataLst>
          </p:nvPr>
        </p:nvCxnSpPr>
        <p:spPr bwMode="auto">
          <a:xfrm>
            <a:off x="2730500" y="2309813"/>
            <a:ext cx="0" cy="34972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03ACEAA3-FA89-ED27-91B5-DD6A1CA5E72F}"/>
              </a:ext>
            </a:extLst>
          </p:cNvPr>
          <p:cNvCxnSpPr/>
          <p:nvPr>
            <p:custDataLst>
              <p:tags r:id="rId87"/>
            </p:custDataLst>
          </p:nvPr>
        </p:nvCxnSpPr>
        <p:spPr bwMode="auto">
          <a:xfrm>
            <a:off x="525463" y="2309813"/>
            <a:ext cx="111379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01547865-E159-DBE7-29F2-C7441D297C42}"/>
              </a:ext>
            </a:extLst>
          </p:cNvPr>
          <p:cNvSpPr/>
          <p:nvPr>
            <p:custDataLst>
              <p:tags r:id="rId88"/>
            </p:custDataLst>
          </p:nvPr>
        </p:nvSpPr>
        <p:spPr bwMode="auto">
          <a:xfrm>
            <a:off x="3714750" y="2401888"/>
            <a:ext cx="301625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0F0CC2AE-A108-47D1-0C57-FB5EA5A04CEC}"/>
              </a:ext>
            </a:extLst>
          </p:cNvPr>
          <p:cNvSpPr/>
          <p:nvPr>
            <p:custDataLst>
              <p:tags r:id="rId89"/>
            </p:custDataLst>
          </p:nvPr>
        </p:nvSpPr>
        <p:spPr bwMode="auto">
          <a:xfrm>
            <a:off x="5059364" y="3214688"/>
            <a:ext cx="568325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70" name="Rechteck 469">
            <a:extLst>
              <a:ext uri="{FF2B5EF4-FFF2-40B4-BE49-F238E27FC236}">
                <a16:creationId xmlns:a16="http://schemas.microsoft.com/office/drawing/2014/main" id="{5F026577-7A4A-F75B-EFB5-2E9073919B22}"/>
              </a:ext>
            </a:extLst>
          </p:cNvPr>
          <p:cNvSpPr/>
          <p:nvPr>
            <p:custDataLst>
              <p:tags r:id="rId90"/>
            </p:custDataLst>
          </p:nvPr>
        </p:nvSpPr>
        <p:spPr bwMode="auto">
          <a:xfrm>
            <a:off x="6402388" y="4867275"/>
            <a:ext cx="122238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68" name="Rechteck 467">
            <a:extLst>
              <a:ext uri="{FF2B5EF4-FFF2-40B4-BE49-F238E27FC236}">
                <a16:creationId xmlns:a16="http://schemas.microsoft.com/office/drawing/2014/main" id="{E20B3F03-BEAF-FE33-1E4C-96E04886CA0E}"/>
              </a:ext>
            </a:extLst>
          </p:cNvPr>
          <p:cNvSpPr/>
          <p:nvPr>
            <p:custDataLst>
              <p:tags r:id="rId91"/>
            </p:custDataLst>
          </p:nvPr>
        </p:nvSpPr>
        <p:spPr bwMode="auto">
          <a:xfrm>
            <a:off x="6267450" y="4595813"/>
            <a:ext cx="166688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73" name="Rechteck 472">
            <a:extLst>
              <a:ext uri="{FF2B5EF4-FFF2-40B4-BE49-F238E27FC236}">
                <a16:creationId xmlns:a16="http://schemas.microsoft.com/office/drawing/2014/main" id="{68B91FD1-FF29-6B2E-A7C4-248E60A5E09E}"/>
              </a:ext>
            </a:extLst>
          </p:cNvPr>
          <p:cNvSpPr/>
          <p:nvPr>
            <p:custDataLst>
              <p:tags r:id="rId92"/>
            </p:custDataLst>
          </p:nvPr>
        </p:nvSpPr>
        <p:spPr bwMode="auto">
          <a:xfrm>
            <a:off x="6134100" y="4325938"/>
            <a:ext cx="166688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85" name="Rechteck 484">
            <a:extLst>
              <a:ext uri="{FF2B5EF4-FFF2-40B4-BE49-F238E27FC236}">
                <a16:creationId xmlns:a16="http://schemas.microsoft.com/office/drawing/2014/main" id="{CE434827-6ECB-92C2-23CD-65BE5D281D4F}"/>
              </a:ext>
            </a:extLst>
          </p:cNvPr>
          <p:cNvSpPr/>
          <p:nvPr>
            <p:custDataLst>
              <p:tags r:id="rId93"/>
            </p:custDataLst>
          </p:nvPr>
        </p:nvSpPr>
        <p:spPr bwMode="auto">
          <a:xfrm>
            <a:off x="5595938" y="3513138"/>
            <a:ext cx="301625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62" name="Rechteck 461">
            <a:extLst>
              <a:ext uri="{FF2B5EF4-FFF2-40B4-BE49-F238E27FC236}">
                <a16:creationId xmlns:a16="http://schemas.microsoft.com/office/drawing/2014/main" id="{F9F90D8E-0794-5794-4613-18F29B70F3FA}"/>
              </a:ext>
            </a:extLst>
          </p:cNvPr>
          <p:cNvSpPr/>
          <p:nvPr>
            <p:custDataLst>
              <p:tags r:id="rId94"/>
            </p:custDataLst>
          </p:nvPr>
        </p:nvSpPr>
        <p:spPr bwMode="auto">
          <a:xfrm>
            <a:off x="5864225" y="3784600"/>
            <a:ext cx="166688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51" name="Rechteck 450">
            <a:extLst>
              <a:ext uri="{FF2B5EF4-FFF2-40B4-BE49-F238E27FC236}">
                <a16:creationId xmlns:a16="http://schemas.microsoft.com/office/drawing/2014/main" id="{2105B7A3-E7B8-9AB4-DAD0-E299385DFEF3}"/>
              </a:ext>
            </a:extLst>
          </p:cNvPr>
          <p:cNvSpPr/>
          <p:nvPr>
            <p:custDataLst>
              <p:tags r:id="rId95"/>
            </p:custDataLst>
          </p:nvPr>
        </p:nvSpPr>
        <p:spPr bwMode="auto">
          <a:xfrm>
            <a:off x="6030913" y="4054475"/>
            <a:ext cx="134938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2F14EF27-2CCD-61FB-FADA-6E812D85095B}"/>
              </a:ext>
            </a:extLst>
          </p:cNvPr>
          <p:cNvSpPr/>
          <p:nvPr>
            <p:custDataLst>
              <p:tags r:id="rId96"/>
            </p:custDataLst>
          </p:nvPr>
        </p:nvSpPr>
        <p:spPr bwMode="auto">
          <a:xfrm>
            <a:off x="3984626" y="2673350"/>
            <a:ext cx="568325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5547E7E-F206-F9E0-FDCA-BC134F59D5EC}"/>
              </a:ext>
            </a:extLst>
          </p:cNvPr>
          <p:cNvSpPr/>
          <p:nvPr>
            <p:custDataLst>
              <p:tags r:id="rId97"/>
            </p:custDataLst>
          </p:nvPr>
        </p:nvSpPr>
        <p:spPr bwMode="auto">
          <a:xfrm>
            <a:off x="4521201" y="2943225"/>
            <a:ext cx="569913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48" name="Rechteck 447">
            <a:extLst>
              <a:ext uri="{FF2B5EF4-FFF2-40B4-BE49-F238E27FC236}">
                <a16:creationId xmlns:a16="http://schemas.microsoft.com/office/drawing/2014/main" id="{4C27DE2D-210A-4978-BBEC-26A147124696}"/>
              </a:ext>
            </a:extLst>
          </p:cNvPr>
          <p:cNvSpPr/>
          <p:nvPr>
            <p:custDataLst>
              <p:tags r:id="rId98"/>
            </p:custDataLst>
          </p:nvPr>
        </p:nvSpPr>
        <p:spPr bwMode="auto">
          <a:xfrm>
            <a:off x="6505575" y="5165725"/>
            <a:ext cx="1349375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49" name="Rechteck 448">
            <a:extLst>
              <a:ext uri="{FF2B5EF4-FFF2-40B4-BE49-F238E27FC236}">
                <a16:creationId xmlns:a16="http://schemas.microsoft.com/office/drawing/2014/main" id="{98F11232-4549-4A99-A8F3-68EC339A105E}"/>
              </a:ext>
            </a:extLst>
          </p:cNvPr>
          <p:cNvSpPr/>
          <p:nvPr>
            <p:custDataLst>
              <p:tags r:id="rId99"/>
            </p:custDataLst>
          </p:nvPr>
        </p:nvSpPr>
        <p:spPr bwMode="auto">
          <a:xfrm>
            <a:off x="7899400" y="5437188"/>
            <a:ext cx="1133475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26" name="Pfeil: nach links 25">
            <a:extLst>
              <a:ext uri="{FF2B5EF4-FFF2-40B4-BE49-F238E27FC236}">
                <a16:creationId xmlns:a16="http://schemas.microsoft.com/office/drawing/2014/main" id="{AC73EF52-A52C-62F8-1660-4D9BCDE84199}"/>
              </a:ext>
            </a:extLst>
          </p:cNvPr>
          <p:cNvSpPr/>
          <p:nvPr>
            <p:custDataLst>
              <p:tags r:id="rId100"/>
            </p:custDataLst>
          </p:nvPr>
        </p:nvSpPr>
        <p:spPr bwMode="auto">
          <a:xfrm>
            <a:off x="2082800" y="2643187"/>
            <a:ext cx="1901825" cy="158750"/>
          </a:xfrm>
          <a:prstGeom prst="leftArrow">
            <a:avLst>
              <a:gd name="adj1" fmla="val 50000"/>
              <a:gd name="adj2" fmla="val 40660"/>
            </a:avLst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720EC57C-B132-9789-CCFE-E6623F65F278}"/>
              </a:ext>
            </a:extLst>
          </p:cNvPr>
          <p:cNvSpPr/>
          <p:nvPr>
            <p:custDataLst>
              <p:tags r:id="rId101"/>
            </p:custDataLst>
          </p:nvPr>
        </p:nvSpPr>
        <p:spPr bwMode="auto">
          <a:xfrm>
            <a:off x="3465513" y="2952750"/>
            <a:ext cx="1055688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609D557C-F9B9-A0BA-024F-F53AC57806F1}"/>
              </a:ext>
            </a:extLst>
          </p:cNvPr>
          <p:cNvSpPr/>
          <p:nvPr>
            <p:custDataLst>
              <p:tags r:id="rId102"/>
            </p:custDataLst>
          </p:nvPr>
        </p:nvSpPr>
        <p:spPr bwMode="auto">
          <a:xfrm>
            <a:off x="4527551" y="3224213"/>
            <a:ext cx="531813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53" name="Rechteck 452">
            <a:extLst>
              <a:ext uri="{FF2B5EF4-FFF2-40B4-BE49-F238E27FC236}">
                <a16:creationId xmlns:a16="http://schemas.microsoft.com/office/drawing/2014/main" id="{019C2295-FA7B-4EDF-0F51-F5E6C6B871B1}"/>
              </a:ext>
            </a:extLst>
          </p:cNvPr>
          <p:cNvSpPr/>
          <p:nvPr>
            <p:custDataLst>
              <p:tags r:id="rId103"/>
            </p:custDataLst>
          </p:nvPr>
        </p:nvSpPr>
        <p:spPr bwMode="auto">
          <a:xfrm>
            <a:off x="5781676" y="4335463"/>
            <a:ext cx="352425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D41A65A6-3B4F-5884-86FF-B2456DC9602F}"/>
              </a:ext>
            </a:extLst>
          </p:cNvPr>
          <p:cNvSpPr/>
          <p:nvPr>
            <p:custDataLst>
              <p:tags r:id="rId104"/>
            </p:custDataLst>
          </p:nvPr>
        </p:nvSpPr>
        <p:spPr bwMode="auto">
          <a:xfrm>
            <a:off x="2973388" y="2411413"/>
            <a:ext cx="741363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E31B0F1E-0FB0-EDF3-DB2C-CD8356285749}"/>
              </a:ext>
            </a:extLst>
          </p:cNvPr>
          <p:cNvSpPr/>
          <p:nvPr>
            <p:custDataLst>
              <p:tags r:id="rId105"/>
            </p:custDataLst>
          </p:nvPr>
        </p:nvSpPr>
        <p:spPr bwMode="auto">
          <a:xfrm>
            <a:off x="4886326" y="3522663"/>
            <a:ext cx="709613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069215F1-A6BA-EA34-EA18-2647E47AA413}"/>
              </a:ext>
            </a:extLst>
          </p:cNvPr>
          <p:cNvSpPr/>
          <p:nvPr>
            <p:custDataLst>
              <p:tags r:id="rId106"/>
            </p:custDataLst>
          </p:nvPr>
        </p:nvSpPr>
        <p:spPr bwMode="auto">
          <a:xfrm>
            <a:off x="5245100" y="3794125"/>
            <a:ext cx="619125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9CF7E3F6-025B-6CF2-B52B-13BFB35D3CD1}"/>
              </a:ext>
            </a:extLst>
          </p:cNvPr>
          <p:cNvSpPr/>
          <p:nvPr>
            <p:custDataLst>
              <p:tags r:id="rId107"/>
            </p:custDataLst>
          </p:nvPr>
        </p:nvSpPr>
        <p:spPr bwMode="auto">
          <a:xfrm>
            <a:off x="5422900" y="4064000"/>
            <a:ext cx="608013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FA21A2EC-621B-EDA7-7927-7E8264F1EB79}"/>
              </a:ext>
            </a:extLst>
          </p:cNvPr>
          <p:cNvSpPr/>
          <p:nvPr>
            <p:custDataLst>
              <p:tags r:id="rId108"/>
            </p:custDataLst>
          </p:nvPr>
        </p:nvSpPr>
        <p:spPr bwMode="auto">
          <a:xfrm>
            <a:off x="5781675" y="4605338"/>
            <a:ext cx="485775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52" name="Rechteck 451">
            <a:extLst>
              <a:ext uri="{FF2B5EF4-FFF2-40B4-BE49-F238E27FC236}">
                <a16:creationId xmlns:a16="http://schemas.microsoft.com/office/drawing/2014/main" id="{E648C055-E2DC-0F43-BD14-0D0AF1EE011F}"/>
              </a:ext>
            </a:extLst>
          </p:cNvPr>
          <p:cNvSpPr/>
          <p:nvPr>
            <p:custDataLst>
              <p:tags r:id="rId109"/>
            </p:custDataLst>
          </p:nvPr>
        </p:nvSpPr>
        <p:spPr bwMode="auto">
          <a:xfrm>
            <a:off x="5961064" y="4876800"/>
            <a:ext cx="441325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3" name="Raute 522">
            <a:extLst>
              <a:ext uri="{FF2B5EF4-FFF2-40B4-BE49-F238E27FC236}">
                <a16:creationId xmlns:a16="http://schemas.microsoft.com/office/drawing/2014/main" id="{F6869184-FA43-97DD-7313-C60DF186C9EF}"/>
              </a:ext>
            </a:extLst>
          </p:cNvPr>
          <p:cNvSpPr/>
          <p:nvPr>
            <p:custDataLst>
              <p:tags r:id="rId110"/>
            </p:custDataLst>
          </p:nvPr>
        </p:nvSpPr>
        <p:spPr bwMode="gray">
          <a:xfrm>
            <a:off x="4470400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5" name="Raute 574">
            <a:extLst>
              <a:ext uri="{FF2B5EF4-FFF2-40B4-BE49-F238E27FC236}">
                <a16:creationId xmlns:a16="http://schemas.microsoft.com/office/drawing/2014/main" id="{01842664-CA5C-4E29-E121-9CA4A2DD5495}"/>
              </a:ext>
            </a:extLst>
          </p:cNvPr>
          <p:cNvSpPr/>
          <p:nvPr>
            <p:custDataLst>
              <p:tags r:id="rId111"/>
            </p:custDataLst>
          </p:nvPr>
        </p:nvSpPr>
        <p:spPr bwMode="gray">
          <a:xfrm>
            <a:off x="8834438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2" name="Raute 521">
            <a:extLst>
              <a:ext uri="{FF2B5EF4-FFF2-40B4-BE49-F238E27FC236}">
                <a16:creationId xmlns:a16="http://schemas.microsoft.com/office/drawing/2014/main" id="{7B858169-53BC-109D-20BE-1F61B88563BB}"/>
              </a:ext>
            </a:extLst>
          </p:cNvPr>
          <p:cNvSpPr/>
          <p:nvPr>
            <p:custDataLst>
              <p:tags r:id="rId112"/>
            </p:custDataLst>
          </p:nvPr>
        </p:nvSpPr>
        <p:spPr bwMode="gray">
          <a:xfrm>
            <a:off x="4291013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7" name="Raute 566">
            <a:extLst>
              <a:ext uri="{FF2B5EF4-FFF2-40B4-BE49-F238E27FC236}">
                <a16:creationId xmlns:a16="http://schemas.microsoft.com/office/drawing/2014/main" id="{DC617BCD-1593-E02F-3C7C-A1AFBDEE8269}"/>
              </a:ext>
            </a:extLst>
          </p:cNvPr>
          <p:cNvSpPr/>
          <p:nvPr>
            <p:custDataLst>
              <p:tags r:id="rId113"/>
            </p:custDataLst>
          </p:nvPr>
        </p:nvSpPr>
        <p:spPr bwMode="gray">
          <a:xfrm>
            <a:off x="7656513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47" name="Raute 446">
            <a:extLst>
              <a:ext uri="{FF2B5EF4-FFF2-40B4-BE49-F238E27FC236}">
                <a16:creationId xmlns:a16="http://schemas.microsoft.com/office/drawing/2014/main" id="{CE69B98E-567F-E587-6ACD-F3E354465A71}"/>
              </a:ext>
            </a:extLst>
          </p:cNvPr>
          <p:cNvSpPr/>
          <p:nvPr>
            <p:custDataLst>
              <p:tags r:id="rId114"/>
            </p:custDataLst>
          </p:nvPr>
        </p:nvSpPr>
        <p:spPr bwMode="gray">
          <a:xfrm>
            <a:off x="2916238" y="23939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4" name="Raute 573">
            <a:extLst>
              <a:ext uri="{FF2B5EF4-FFF2-40B4-BE49-F238E27FC236}">
                <a16:creationId xmlns:a16="http://schemas.microsoft.com/office/drawing/2014/main" id="{7ED4BB69-8C61-A7A1-6818-3B2D8C488BA3}"/>
              </a:ext>
            </a:extLst>
          </p:cNvPr>
          <p:cNvSpPr/>
          <p:nvPr>
            <p:custDataLst>
              <p:tags r:id="rId115"/>
            </p:custDataLst>
          </p:nvPr>
        </p:nvSpPr>
        <p:spPr bwMode="gray">
          <a:xfrm>
            <a:off x="8462963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1" name="Raute 520">
            <a:extLst>
              <a:ext uri="{FF2B5EF4-FFF2-40B4-BE49-F238E27FC236}">
                <a16:creationId xmlns:a16="http://schemas.microsoft.com/office/drawing/2014/main" id="{CB42D38D-5910-2FCB-B8C3-67A9F84311AF}"/>
              </a:ext>
            </a:extLst>
          </p:cNvPr>
          <p:cNvSpPr/>
          <p:nvPr>
            <p:custDataLst>
              <p:tags r:id="rId116"/>
            </p:custDataLst>
          </p:nvPr>
        </p:nvSpPr>
        <p:spPr bwMode="gray">
          <a:xfrm>
            <a:off x="4111625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4" name="Raute 563">
            <a:extLst>
              <a:ext uri="{FF2B5EF4-FFF2-40B4-BE49-F238E27FC236}">
                <a16:creationId xmlns:a16="http://schemas.microsoft.com/office/drawing/2014/main" id="{568448F2-B9BE-2930-F077-6127A9021C51}"/>
              </a:ext>
            </a:extLst>
          </p:cNvPr>
          <p:cNvSpPr/>
          <p:nvPr>
            <p:custDataLst>
              <p:tags r:id="rId117"/>
            </p:custDataLst>
          </p:nvPr>
        </p:nvSpPr>
        <p:spPr bwMode="gray">
          <a:xfrm>
            <a:off x="7464425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16" name="Raute 515">
            <a:extLst>
              <a:ext uri="{FF2B5EF4-FFF2-40B4-BE49-F238E27FC236}">
                <a16:creationId xmlns:a16="http://schemas.microsoft.com/office/drawing/2014/main" id="{1C5497DC-3B8B-B38E-B77E-7A1BDF5C178C}"/>
              </a:ext>
            </a:extLst>
          </p:cNvPr>
          <p:cNvSpPr/>
          <p:nvPr>
            <p:custDataLst>
              <p:tags r:id="rId118"/>
            </p:custDataLst>
          </p:nvPr>
        </p:nvSpPr>
        <p:spPr bwMode="gray">
          <a:xfrm>
            <a:off x="3408363" y="29352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3" name="Raute 572">
            <a:extLst>
              <a:ext uri="{FF2B5EF4-FFF2-40B4-BE49-F238E27FC236}">
                <a16:creationId xmlns:a16="http://schemas.microsoft.com/office/drawing/2014/main" id="{91DCEBF5-1AA3-C55B-9152-1E0358C1B247}"/>
              </a:ext>
            </a:extLst>
          </p:cNvPr>
          <p:cNvSpPr/>
          <p:nvPr>
            <p:custDataLst>
              <p:tags r:id="rId119"/>
            </p:custDataLst>
          </p:nvPr>
        </p:nvSpPr>
        <p:spPr bwMode="gray">
          <a:xfrm>
            <a:off x="8283575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3" name="Raute 562">
            <a:extLst>
              <a:ext uri="{FF2B5EF4-FFF2-40B4-BE49-F238E27FC236}">
                <a16:creationId xmlns:a16="http://schemas.microsoft.com/office/drawing/2014/main" id="{664C5F3B-9C3B-BF16-8DDC-92D983CE51B1}"/>
              </a:ext>
            </a:extLst>
          </p:cNvPr>
          <p:cNvSpPr/>
          <p:nvPr>
            <p:custDataLst>
              <p:tags r:id="rId120"/>
            </p:custDataLst>
          </p:nvPr>
        </p:nvSpPr>
        <p:spPr bwMode="gray">
          <a:xfrm>
            <a:off x="7299325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71" name="Raute 470">
            <a:extLst>
              <a:ext uri="{FF2B5EF4-FFF2-40B4-BE49-F238E27FC236}">
                <a16:creationId xmlns:a16="http://schemas.microsoft.com/office/drawing/2014/main" id="{89D66E88-FE32-4DE0-AAA1-FB8C3FCFBCA9}"/>
              </a:ext>
            </a:extLst>
          </p:cNvPr>
          <p:cNvSpPr/>
          <p:nvPr>
            <p:custDataLst>
              <p:tags r:id="rId121"/>
            </p:custDataLst>
          </p:nvPr>
        </p:nvSpPr>
        <p:spPr bwMode="gray">
          <a:xfrm>
            <a:off x="3254375" y="29352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19" name="Raute 518">
            <a:extLst>
              <a:ext uri="{FF2B5EF4-FFF2-40B4-BE49-F238E27FC236}">
                <a16:creationId xmlns:a16="http://schemas.microsoft.com/office/drawing/2014/main" id="{6F12FA5D-CEBA-CF41-BF66-B7DA6CF67667}"/>
              </a:ext>
            </a:extLst>
          </p:cNvPr>
          <p:cNvSpPr/>
          <p:nvPr>
            <p:custDataLst>
              <p:tags r:id="rId122"/>
            </p:custDataLst>
          </p:nvPr>
        </p:nvSpPr>
        <p:spPr bwMode="gray">
          <a:xfrm>
            <a:off x="3946525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2" name="Raute 571">
            <a:extLst>
              <a:ext uri="{FF2B5EF4-FFF2-40B4-BE49-F238E27FC236}">
                <a16:creationId xmlns:a16="http://schemas.microsoft.com/office/drawing/2014/main" id="{9E0F8234-95BB-66DD-28F7-B399A066588D}"/>
              </a:ext>
            </a:extLst>
          </p:cNvPr>
          <p:cNvSpPr/>
          <p:nvPr>
            <p:custDataLst>
              <p:tags r:id="rId123"/>
            </p:custDataLst>
          </p:nvPr>
        </p:nvSpPr>
        <p:spPr bwMode="gray">
          <a:xfrm>
            <a:off x="8194675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67" name="Raute 466">
            <a:extLst>
              <a:ext uri="{FF2B5EF4-FFF2-40B4-BE49-F238E27FC236}">
                <a16:creationId xmlns:a16="http://schemas.microsoft.com/office/drawing/2014/main" id="{33FC332A-5885-704C-D6B4-748E1C6F6B8E}"/>
              </a:ext>
            </a:extLst>
          </p:cNvPr>
          <p:cNvSpPr/>
          <p:nvPr>
            <p:custDataLst>
              <p:tags r:id="rId124"/>
            </p:custDataLst>
          </p:nvPr>
        </p:nvSpPr>
        <p:spPr bwMode="gray">
          <a:xfrm>
            <a:off x="3074988" y="29352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45" name="Raute 544">
            <a:extLst>
              <a:ext uri="{FF2B5EF4-FFF2-40B4-BE49-F238E27FC236}">
                <a16:creationId xmlns:a16="http://schemas.microsoft.com/office/drawing/2014/main" id="{E4251E9D-B5F9-A5CF-F9BB-74E5810E7748}"/>
              </a:ext>
            </a:extLst>
          </p:cNvPr>
          <p:cNvSpPr/>
          <p:nvPr>
            <p:custDataLst>
              <p:tags r:id="rId125"/>
            </p:custDataLst>
          </p:nvPr>
        </p:nvSpPr>
        <p:spPr bwMode="gray">
          <a:xfrm>
            <a:off x="5724525" y="4587875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99" name="Raute 598">
            <a:extLst>
              <a:ext uri="{FF2B5EF4-FFF2-40B4-BE49-F238E27FC236}">
                <a16:creationId xmlns:a16="http://schemas.microsoft.com/office/drawing/2014/main" id="{AE97BDD3-01C2-186D-AEF8-6CBCE47269CB}"/>
              </a:ext>
            </a:extLst>
          </p:cNvPr>
          <p:cNvSpPr/>
          <p:nvPr>
            <p:custDataLst>
              <p:tags r:id="rId126"/>
            </p:custDataLst>
          </p:nvPr>
        </p:nvSpPr>
        <p:spPr bwMode="gray">
          <a:xfrm>
            <a:off x="5187950" y="3776663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1" name="Raute 570">
            <a:extLst>
              <a:ext uri="{FF2B5EF4-FFF2-40B4-BE49-F238E27FC236}">
                <a16:creationId xmlns:a16="http://schemas.microsoft.com/office/drawing/2014/main" id="{A35E5CED-36C0-AEAB-CD8D-93811AFEC371}"/>
              </a:ext>
            </a:extLst>
          </p:cNvPr>
          <p:cNvSpPr/>
          <p:nvPr>
            <p:custDataLst>
              <p:tags r:id="rId127"/>
            </p:custDataLst>
          </p:nvPr>
        </p:nvSpPr>
        <p:spPr bwMode="gray">
          <a:xfrm>
            <a:off x="8015288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5" name="Raute 564">
            <a:extLst>
              <a:ext uri="{FF2B5EF4-FFF2-40B4-BE49-F238E27FC236}">
                <a16:creationId xmlns:a16="http://schemas.microsoft.com/office/drawing/2014/main" id="{D89AF9B3-BFB2-4B57-F90A-04B4C9542BCD}"/>
              </a:ext>
            </a:extLst>
          </p:cNvPr>
          <p:cNvSpPr/>
          <p:nvPr>
            <p:custDataLst>
              <p:tags r:id="rId128"/>
            </p:custDataLst>
          </p:nvPr>
        </p:nvSpPr>
        <p:spPr bwMode="gray">
          <a:xfrm>
            <a:off x="6440488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3" name="Raute 552">
            <a:extLst>
              <a:ext uri="{FF2B5EF4-FFF2-40B4-BE49-F238E27FC236}">
                <a16:creationId xmlns:a16="http://schemas.microsoft.com/office/drawing/2014/main" id="{F51A10A8-B7D9-8D95-190B-B5B004F06689}"/>
              </a:ext>
            </a:extLst>
          </p:cNvPr>
          <p:cNvSpPr/>
          <p:nvPr>
            <p:custDataLst>
              <p:tags r:id="rId129"/>
            </p:custDataLst>
          </p:nvPr>
        </p:nvSpPr>
        <p:spPr bwMode="gray">
          <a:xfrm>
            <a:off x="4829175" y="350520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0" name="Raute 519">
            <a:extLst>
              <a:ext uri="{FF2B5EF4-FFF2-40B4-BE49-F238E27FC236}">
                <a16:creationId xmlns:a16="http://schemas.microsoft.com/office/drawing/2014/main" id="{B9E011C6-A9FE-4634-7D9B-014DA208CCE1}"/>
              </a:ext>
            </a:extLst>
          </p:cNvPr>
          <p:cNvSpPr/>
          <p:nvPr>
            <p:custDataLst>
              <p:tags r:id="rId130"/>
            </p:custDataLst>
          </p:nvPr>
        </p:nvSpPr>
        <p:spPr bwMode="gray">
          <a:xfrm>
            <a:off x="3767138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0" name="Raute 559">
            <a:extLst>
              <a:ext uri="{FF2B5EF4-FFF2-40B4-BE49-F238E27FC236}">
                <a16:creationId xmlns:a16="http://schemas.microsoft.com/office/drawing/2014/main" id="{559CFA5F-96D6-1FCE-613F-08066CC0F56F}"/>
              </a:ext>
            </a:extLst>
          </p:cNvPr>
          <p:cNvSpPr/>
          <p:nvPr>
            <p:custDataLst>
              <p:tags r:id="rId131"/>
            </p:custDataLst>
          </p:nvPr>
        </p:nvSpPr>
        <p:spPr bwMode="gray">
          <a:xfrm>
            <a:off x="5724525" y="431800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6" name="Raute 555">
            <a:extLst>
              <a:ext uri="{FF2B5EF4-FFF2-40B4-BE49-F238E27FC236}">
                <a16:creationId xmlns:a16="http://schemas.microsoft.com/office/drawing/2014/main" id="{95D5E10A-682F-E73F-8DAF-0562A78F8311}"/>
              </a:ext>
            </a:extLst>
          </p:cNvPr>
          <p:cNvSpPr/>
          <p:nvPr>
            <p:custDataLst>
              <p:tags r:id="rId132"/>
            </p:custDataLst>
          </p:nvPr>
        </p:nvSpPr>
        <p:spPr bwMode="gray">
          <a:xfrm>
            <a:off x="5008563" y="3776663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8" name="Raute 557">
            <a:extLst>
              <a:ext uri="{FF2B5EF4-FFF2-40B4-BE49-F238E27FC236}">
                <a16:creationId xmlns:a16="http://schemas.microsoft.com/office/drawing/2014/main" id="{CCAB89FF-3813-A499-A552-1C931E78D459}"/>
              </a:ext>
            </a:extLst>
          </p:cNvPr>
          <p:cNvSpPr/>
          <p:nvPr>
            <p:custDataLst>
              <p:tags r:id="rId133"/>
            </p:custDataLst>
          </p:nvPr>
        </p:nvSpPr>
        <p:spPr bwMode="gray">
          <a:xfrm>
            <a:off x="5365750" y="404653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1" name="Raute 560">
            <a:extLst>
              <a:ext uri="{FF2B5EF4-FFF2-40B4-BE49-F238E27FC236}">
                <a16:creationId xmlns:a16="http://schemas.microsoft.com/office/drawing/2014/main" id="{3D81EE05-6F9B-B094-E424-8728C9AE218D}"/>
              </a:ext>
            </a:extLst>
          </p:cNvPr>
          <p:cNvSpPr/>
          <p:nvPr>
            <p:custDataLst>
              <p:tags r:id="rId134"/>
            </p:custDataLst>
          </p:nvPr>
        </p:nvSpPr>
        <p:spPr bwMode="gray">
          <a:xfrm>
            <a:off x="5903913" y="485933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2" name="Raute 551">
            <a:extLst>
              <a:ext uri="{FF2B5EF4-FFF2-40B4-BE49-F238E27FC236}">
                <a16:creationId xmlns:a16="http://schemas.microsoft.com/office/drawing/2014/main" id="{199B6A72-DF3B-3462-DB99-9D14160C3559}"/>
              </a:ext>
            </a:extLst>
          </p:cNvPr>
          <p:cNvSpPr/>
          <p:nvPr>
            <p:custDataLst>
              <p:tags r:id="rId135"/>
            </p:custDataLst>
          </p:nvPr>
        </p:nvSpPr>
        <p:spPr bwMode="gray">
          <a:xfrm>
            <a:off x="4829175" y="350520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6" name="Raute 565">
            <a:extLst>
              <a:ext uri="{FF2B5EF4-FFF2-40B4-BE49-F238E27FC236}">
                <a16:creationId xmlns:a16="http://schemas.microsoft.com/office/drawing/2014/main" id="{27FDD0A3-AD15-1B13-21BD-894732B244C4}"/>
              </a:ext>
            </a:extLst>
          </p:cNvPr>
          <p:cNvSpPr/>
          <p:nvPr>
            <p:custDataLst>
              <p:tags r:id="rId136"/>
            </p:custDataLst>
          </p:nvPr>
        </p:nvSpPr>
        <p:spPr bwMode="gray">
          <a:xfrm>
            <a:off x="6262688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5" name="Raute 524">
            <a:extLst>
              <a:ext uri="{FF2B5EF4-FFF2-40B4-BE49-F238E27FC236}">
                <a16:creationId xmlns:a16="http://schemas.microsoft.com/office/drawing/2014/main" id="{931EE992-6E0F-572F-12D0-3DECC89D5D14}"/>
              </a:ext>
            </a:extLst>
          </p:cNvPr>
          <p:cNvSpPr/>
          <p:nvPr>
            <p:custDataLst>
              <p:tags r:id="rId137"/>
            </p:custDataLst>
          </p:nvPr>
        </p:nvSpPr>
        <p:spPr bwMode="gray">
          <a:xfrm>
            <a:off x="4649788" y="4587875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0" name="Raute 569">
            <a:extLst>
              <a:ext uri="{FF2B5EF4-FFF2-40B4-BE49-F238E27FC236}">
                <a16:creationId xmlns:a16="http://schemas.microsoft.com/office/drawing/2014/main" id="{388A93C9-5C73-F062-2CCD-3425A5B855E5}"/>
              </a:ext>
            </a:extLst>
          </p:cNvPr>
          <p:cNvSpPr/>
          <p:nvPr>
            <p:custDataLst>
              <p:tags r:id="rId138"/>
            </p:custDataLst>
          </p:nvPr>
        </p:nvSpPr>
        <p:spPr bwMode="gray">
          <a:xfrm>
            <a:off x="7926388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18" name="Raute 517">
            <a:extLst>
              <a:ext uri="{FF2B5EF4-FFF2-40B4-BE49-F238E27FC236}">
                <a16:creationId xmlns:a16="http://schemas.microsoft.com/office/drawing/2014/main" id="{98B2E04E-67C0-E2B9-0D80-D4F597A797D4}"/>
              </a:ext>
            </a:extLst>
          </p:cNvPr>
          <p:cNvSpPr/>
          <p:nvPr>
            <p:custDataLst>
              <p:tags r:id="rId139"/>
            </p:custDataLst>
          </p:nvPr>
        </p:nvSpPr>
        <p:spPr bwMode="gray">
          <a:xfrm>
            <a:off x="3587750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66" name="Raute 465">
            <a:extLst>
              <a:ext uri="{FF2B5EF4-FFF2-40B4-BE49-F238E27FC236}">
                <a16:creationId xmlns:a16="http://schemas.microsoft.com/office/drawing/2014/main" id="{AF18419D-2EF9-2DE3-21DC-B82AFFE764EE}"/>
              </a:ext>
            </a:extLst>
          </p:cNvPr>
          <p:cNvSpPr/>
          <p:nvPr>
            <p:custDataLst>
              <p:tags r:id="rId140"/>
            </p:custDataLst>
          </p:nvPr>
        </p:nvSpPr>
        <p:spPr bwMode="gray">
          <a:xfrm>
            <a:off x="2922588" y="29352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4" name="Raute 523">
            <a:extLst>
              <a:ext uri="{FF2B5EF4-FFF2-40B4-BE49-F238E27FC236}">
                <a16:creationId xmlns:a16="http://schemas.microsoft.com/office/drawing/2014/main" id="{765506A0-1134-37B8-8C5F-E4443794AC6B}"/>
              </a:ext>
            </a:extLst>
          </p:cNvPr>
          <p:cNvSpPr/>
          <p:nvPr>
            <p:custDataLst>
              <p:tags r:id="rId141"/>
            </p:custDataLst>
          </p:nvPr>
        </p:nvSpPr>
        <p:spPr bwMode="gray">
          <a:xfrm>
            <a:off x="4470400" y="4587875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8" name="Raute 567">
            <a:extLst>
              <a:ext uri="{FF2B5EF4-FFF2-40B4-BE49-F238E27FC236}">
                <a16:creationId xmlns:a16="http://schemas.microsoft.com/office/drawing/2014/main" id="{2ABEFB54-44FB-4CEE-0434-448A5D18FBC7}"/>
              </a:ext>
            </a:extLst>
          </p:cNvPr>
          <p:cNvSpPr/>
          <p:nvPr>
            <p:custDataLst>
              <p:tags r:id="rId142"/>
            </p:custDataLst>
          </p:nvPr>
        </p:nvSpPr>
        <p:spPr bwMode="gray">
          <a:xfrm>
            <a:off x="6083300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9" name="Raute 568">
            <a:extLst>
              <a:ext uri="{FF2B5EF4-FFF2-40B4-BE49-F238E27FC236}">
                <a16:creationId xmlns:a16="http://schemas.microsoft.com/office/drawing/2014/main" id="{1F9B2BD3-5B89-65A3-C714-E6EB56985462}"/>
              </a:ext>
            </a:extLst>
          </p:cNvPr>
          <p:cNvSpPr/>
          <p:nvPr>
            <p:custDataLst>
              <p:tags r:id="rId143"/>
            </p:custDataLst>
          </p:nvPr>
        </p:nvSpPr>
        <p:spPr bwMode="gray">
          <a:xfrm>
            <a:off x="7835900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17" name="Raute 516">
            <a:extLst>
              <a:ext uri="{FF2B5EF4-FFF2-40B4-BE49-F238E27FC236}">
                <a16:creationId xmlns:a16="http://schemas.microsoft.com/office/drawing/2014/main" id="{DA50AFC1-ED18-E5AA-C68F-164323EE3A73}"/>
              </a:ext>
            </a:extLst>
          </p:cNvPr>
          <p:cNvSpPr/>
          <p:nvPr>
            <p:custDataLst>
              <p:tags r:id="rId144"/>
            </p:custDataLst>
          </p:nvPr>
        </p:nvSpPr>
        <p:spPr bwMode="gray">
          <a:xfrm>
            <a:off x="3408363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2" name="Raute 561">
            <a:extLst>
              <a:ext uri="{FF2B5EF4-FFF2-40B4-BE49-F238E27FC236}">
                <a16:creationId xmlns:a16="http://schemas.microsoft.com/office/drawing/2014/main" id="{EBD7EDC2-F555-F2B7-3891-D23D4D376B4A}"/>
              </a:ext>
            </a:extLst>
          </p:cNvPr>
          <p:cNvSpPr/>
          <p:nvPr>
            <p:custDataLst>
              <p:tags r:id="rId145"/>
            </p:custDataLst>
          </p:nvPr>
        </p:nvSpPr>
        <p:spPr bwMode="gray">
          <a:xfrm>
            <a:off x="5859463" y="485933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2" name="Gleichschenkliges Dreieck 41">
            <a:extLst>
              <a:ext uri="{FF2B5EF4-FFF2-40B4-BE49-F238E27FC236}">
                <a16:creationId xmlns:a16="http://schemas.microsoft.com/office/drawing/2014/main" id="{5295EFD0-B9FC-280E-4006-33324934529A}"/>
              </a:ext>
            </a:extLst>
          </p:cNvPr>
          <p:cNvSpPr/>
          <p:nvPr>
            <p:custDataLst>
              <p:tags r:id="rId146"/>
            </p:custDataLst>
          </p:nvPr>
        </p:nvSpPr>
        <p:spPr bwMode="gray">
          <a:xfrm>
            <a:off x="2673350" y="5749925"/>
            <a:ext cx="114300" cy="114300"/>
          </a:xfrm>
          <a:prstGeom prst="triangle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5" name="Raute 554">
            <a:extLst>
              <a:ext uri="{FF2B5EF4-FFF2-40B4-BE49-F238E27FC236}">
                <a16:creationId xmlns:a16="http://schemas.microsoft.com/office/drawing/2014/main" id="{5E753C16-C4E9-6599-9306-6ED2FE4F06F3}"/>
              </a:ext>
            </a:extLst>
          </p:cNvPr>
          <p:cNvSpPr/>
          <p:nvPr>
            <p:custDataLst>
              <p:tags r:id="rId147"/>
            </p:custDataLst>
          </p:nvPr>
        </p:nvSpPr>
        <p:spPr bwMode="gray">
          <a:xfrm>
            <a:off x="4995863" y="3776663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7" name="Raute 556">
            <a:extLst>
              <a:ext uri="{FF2B5EF4-FFF2-40B4-BE49-F238E27FC236}">
                <a16:creationId xmlns:a16="http://schemas.microsoft.com/office/drawing/2014/main" id="{C09EB6C3-6CC1-B883-6F0B-41CB4088565A}"/>
              </a:ext>
            </a:extLst>
          </p:cNvPr>
          <p:cNvSpPr/>
          <p:nvPr>
            <p:custDataLst>
              <p:tags r:id="rId148"/>
            </p:custDataLst>
          </p:nvPr>
        </p:nvSpPr>
        <p:spPr bwMode="gray">
          <a:xfrm>
            <a:off x="5187950" y="404653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" name="Raute 54">
            <a:extLst>
              <a:ext uri="{FF2B5EF4-FFF2-40B4-BE49-F238E27FC236}">
                <a16:creationId xmlns:a16="http://schemas.microsoft.com/office/drawing/2014/main" id="{B26F334B-12CB-0122-47BC-41C8337F7B70}"/>
              </a:ext>
            </a:extLst>
          </p:cNvPr>
          <p:cNvSpPr/>
          <p:nvPr>
            <p:custDataLst>
              <p:tags r:id="rId149"/>
            </p:custDataLst>
          </p:nvPr>
        </p:nvSpPr>
        <p:spPr bwMode="gray">
          <a:xfrm>
            <a:off x="2519363" y="29352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9" name="Raute 558">
            <a:extLst>
              <a:ext uri="{FF2B5EF4-FFF2-40B4-BE49-F238E27FC236}">
                <a16:creationId xmlns:a16="http://schemas.microsoft.com/office/drawing/2014/main" id="{AD33EB14-A0AB-D18F-D1D6-5F6824DDA8D7}"/>
              </a:ext>
            </a:extLst>
          </p:cNvPr>
          <p:cNvSpPr/>
          <p:nvPr>
            <p:custDataLst>
              <p:tags r:id="rId150"/>
            </p:custDataLst>
          </p:nvPr>
        </p:nvSpPr>
        <p:spPr bwMode="gray">
          <a:xfrm>
            <a:off x="5545138" y="431800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1" name="Raute 550">
            <a:extLst>
              <a:ext uri="{FF2B5EF4-FFF2-40B4-BE49-F238E27FC236}">
                <a16:creationId xmlns:a16="http://schemas.microsoft.com/office/drawing/2014/main" id="{E57313B0-6620-3405-15C9-29013B64D8AE}"/>
              </a:ext>
            </a:extLst>
          </p:cNvPr>
          <p:cNvSpPr/>
          <p:nvPr>
            <p:custDataLst>
              <p:tags r:id="rId151"/>
            </p:custDataLst>
          </p:nvPr>
        </p:nvSpPr>
        <p:spPr bwMode="gray">
          <a:xfrm>
            <a:off x="4649788" y="350520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102" name="text">
            <a:extLst>
              <a:ext uri="{FF2B5EF4-FFF2-40B4-BE49-F238E27FC236}">
                <a16:creationId xmlns:a16="http://schemas.microsoft.com/office/drawing/2014/main" id="{DC86BCC7-F176-F30A-96E2-4DE52EF4E346}"/>
              </a:ext>
            </a:extLst>
          </p:cNvPr>
          <p:cNvSpPr>
            <a:spLocks noGrp="1"/>
          </p:cNvSpPr>
          <p:nvPr>
            <p:custDataLst>
              <p:tags r:id="rId152"/>
            </p:custDataLst>
          </p:nvPr>
        </p:nvSpPr>
        <p:spPr bwMode="auto">
          <a:xfrm>
            <a:off x="10460038" y="5116513"/>
            <a:ext cx="11318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 / Curve</a:t>
            </a:r>
          </a:p>
        </p:txBody>
      </p:sp>
      <p:sp>
        <p:nvSpPr>
          <p:cNvPr id="74" name="text">
            <a:extLst>
              <a:ext uri="{FF2B5EF4-FFF2-40B4-BE49-F238E27FC236}">
                <a16:creationId xmlns:a16="http://schemas.microsoft.com/office/drawing/2014/main" id="{127CF1BF-5862-4B8E-2C92-99DAFFA9C2C0}"/>
              </a:ext>
            </a:extLst>
          </p:cNvPr>
          <p:cNvSpPr>
            <a:spLocks noGrp="1"/>
          </p:cNvSpPr>
          <p:nvPr>
            <p:custDataLst>
              <p:tags r:id="rId153"/>
            </p:custDataLst>
          </p:nvPr>
        </p:nvSpPr>
        <p:spPr bwMode="auto">
          <a:xfrm>
            <a:off x="10460038" y="2352675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effectLst/>
              </a:rPr>
              <a:t>Curve</a:t>
            </a:r>
            <a:endParaRPr lang="en-US" dirty="0"/>
          </a:p>
        </p:txBody>
      </p:sp>
      <p:sp>
        <p:nvSpPr>
          <p:cNvPr id="6" name="text">
            <a:extLst>
              <a:ext uri="{FF2B5EF4-FFF2-40B4-BE49-F238E27FC236}">
                <a16:creationId xmlns:a16="http://schemas.microsoft.com/office/drawing/2014/main" id="{9D302D02-F4DC-B96B-54D6-375A4D3F7996}"/>
              </a:ext>
            </a:extLst>
          </p:cNvPr>
          <p:cNvSpPr>
            <a:spLocks noGrp="1"/>
          </p:cNvSpPr>
          <p:nvPr>
            <p:custDataLst>
              <p:tags r:id="rId154"/>
            </p:custDataLst>
          </p:nvPr>
        </p:nvSpPr>
        <p:spPr bwMode="auto">
          <a:xfrm>
            <a:off x="596900" y="2352675"/>
            <a:ext cx="10763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>
                <a:effectLst/>
              </a:rPr>
              <a:t>Type </a:t>
            </a:r>
            <a:r>
              <a:rPr lang="en-US" altLang="en-US" dirty="0">
                <a:effectLst/>
              </a:rPr>
              <a:t>2.5 B1-B6</a:t>
            </a:r>
            <a:endParaRPr lang="en-US" dirty="0"/>
          </a:p>
        </p:txBody>
      </p:sp>
      <p:sp>
        <p:nvSpPr>
          <p:cNvPr id="88" name="text">
            <a:extLst>
              <a:ext uri="{FF2B5EF4-FFF2-40B4-BE49-F238E27FC236}">
                <a16:creationId xmlns:a16="http://schemas.microsoft.com/office/drawing/2014/main" id="{B657077A-DBE9-5233-671B-C6F45B663DFC}"/>
              </a:ext>
            </a:extLst>
          </p:cNvPr>
          <p:cNvSpPr>
            <a:spLocks noGrp="1"/>
          </p:cNvSpPr>
          <p:nvPr>
            <p:custDataLst>
              <p:tags r:id="rId155"/>
            </p:custDataLst>
          </p:nvPr>
        </p:nvSpPr>
        <p:spPr bwMode="auto">
          <a:xfrm>
            <a:off x="596900" y="5116513"/>
            <a:ext cx="10763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/>
              <a:t>Type </a:t>
            </a:r>
            <a:r>
              <a:rPr lang="en-US" altLang="en-US" dirty="0"/>
              <a:t>2.9 B1-B6</a:t>
            </a:r>
            <a:endParaRPr lang="en-US" dirty="0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468E4180-6DC2-2F35-DC75-AE0CDCF8887B}"/>
              </a:ext>
            </a:extLst>
          </p:cNvPr>
          <p:cNvSpPr>
            <a:spLocks noGrp="1"/>
          </p:cNvSpPr>
          <p:nvPr>
            <p:custDataLst>
              <p:tags r:id="rId156"/>
            </p:custDataLst>
          </p:nvPr>
        </p:nvSpPr>
        <p:spPr bwMode="auto">
          <a:xfrm>
            <a:off x="596900" y="2894013"/>
            <a:ext cx="11795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effectLst/>
              </a:rPr>
              <a:t>Type 1.6A B1-B6</a:t>
            </a:r>
            <a:endParaRPr lang="en-US" dirty="0"/>
          </a:p>
        </p:txBody>
      </p:sp>
      <p:sp>
        <p:nvSpPr>
          <p:cNvPr id="96" name="text">
            <a:extLst>
              <a:ext uri="{FF2B5EF4-FFF2-40B4-BE49-F238E27FC236}">
                <a16:creationId xmlns:a16="http://schemas.microsoft.com/office/drawing/2014/main" id="{C163FE7A-6387-48C4-9F57-27B6A965398A}"/>
              </a:ext>
            </a:extLst>
          </p:cNvPr>
          <p:cNvSpPr>
            <a:spLocks noGrp="1"/>
          </p:cNvSpPr>
          <p:nvPr>
            <p:custDataLst>
              <p:tags r:id="rId157"/>
            </p:custDataLst>
          </p:nvPr>
        </p:nvSpPr>
        <p:spPr bwMode="auto">
          <a:xfrm>
            <a:off x="10460038" y="4276725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  <a:endParaRPr lang="en-US" dirty="0"/>
          </a:p>
        </p:txBody>
      </p:sp>
      <p:sp>
        <p:nvSpPr>
          <p:cNvPr id="41" name="text">
            <a:extLst>
              <a:ext uri="{FF2B5EF4-FFF2-40B4-BE49-F238E27FC236}">
                <a16:creationId xmlns:a16="http://schemas.microsoft.com/office/drawing/2014/main" id="{EB2E25AD-BF27-8408-D31D-198434CF92D1}"/>
              </a:ext>
            </a:extLst>
          </p:cNvPr>
          <p:cNvSpPr>
            <a:spLocks noGrp="1"/>
          </p:cNvSpPr>
          <p:nvPr>
            <p:custDataLst>
              <p:tags r:id="rId158"/>
            </p:custDataLst>
          </p:nvPr>
        </p:nvSpPr>
        <p:spPr bwMode="auto">
          <a:xfrm>
            <a:off x="2346325" y="5886450"/>
            <a:ext cx="7699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B5857AE-A69B-49E6-B0EF-C0E89D1D18B4}" type="datetime'''''''''9/2''''''''''''''''''''2/''''''20''''''''2''''''5'''">
              <a:rPr lang="en-US" altLang="en-US" smtClean="0"/>
              <a:pPr/>
              <a:t>9/22/2025</a:t>
            </a:fld>
            <a:endParaRPr lang="en-US" dirty="0"/>
          </a:p>
        </p:txBody>
      </p:sp>
      <p:sp>
        <p:nvSpPr>
          <p:cNvPr id="450" name="text">
            <a:extLst>
              <a:ext uri="{FF2B5EF4-FFF2-40B4-BE49-F238E27FC236}">
                <a16:creationId xmlns:a16="http://schemas.microsoft.com/office/drawing/2014/main" id="{B54A9243-1C65-8B0C-AC5B-C95936E60523}"/>
              </a:ext>
            </a:extLst>
          </p:cNvPr>
          <p:cNvSpPr>
            <a:spLocks noGrp="1"/>
          </p:cNvSpPr>
          <p:nvPr>
            <p:custDataLst>
              <p:tags r:id="rId159"/>
            </p:custDataLst>
          </p:nvPr>
        </p:nvSpPr>
        <p:spPr bwMode="auto">
          <a:xfrm>
            <a:off x="1776413" y="2139950"/>
            <a:ext cx="350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EBF3DDBE-A98C-4EAD-9052-5493DB14FD65}" type="datetime'''''''''M''''''''''''''''''o''n''''t''''''''''''''''h'''''''''">
              <a:rPr lang="en-US" altLang="en-US" sz="1000" smtClean="0"/>
              <a:pPr/>
              <a:t>Month</a:t>
            </a:fld>
            <a:endParaRPr lang="en-US" sz="1000" dirty="0"/>
          </a:p>
        </p:txBody>
      </p:sp>
      <p:sp>
        <p:nvSpPr>
          <p:cNvPr id="69" name="text">
            <a:extLst>
              <a:ext uri="{FF2B5EF4-FFF2-40B4-BE49-F238E27FC236}">
                <a16:creationId xmlns:a16="http://schemas.microsoft.com/office/drawing/2014/main" id="{AE51DA1E-E187-FA64-843D-14092E034145}"/>
              </a:ext>
            </a:extLst>
          </p:cNvPr>
          <p:cNvSpPr>
            <a:spLocks noGrp="1"/>
          </p:cNvSpPr>
          <p:nvPr>
            <p:custDataLst>
              <p:tags r:id="rId160"/>
            </p:custDataLst>
          </p:nvPr>
        </p:nvSpPr>
        <p:spPr bwMode="auto">
          <a:xfrm>
            <a:off x="596900" y="3463925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Type 2.123 S2</a:t>
            </a:r>
            <a:endParaRPr lang="en-US" dirty="0"/>
          </a:p>
        </p:txBody>
      </p:sp>
      <p:sp>
        <p:nvSpPr>
          <p:cNvPr id="92" name="text">
            <a:extLst>
              <a:ext uri="{FF2B5EF4-FFF2-40B4-BE49-F238E27FC236}">
                <a16:creationId xmlns:a16="http://schemas.microsoft.com/office/drawing/2014/main" id="{9A5C8D7C-1513-98C6-6BE4-955BC308351D}"/>
              </a:ext>
            </a:extLst>
          </p:cNvPr>
          <p:cNvSpPr>
            <a:spLocks noGrp="1"/>
          </p:cNvSpPr>
          <p:nvPr>
            <p:custDataLst>
              <p:tags r:id="rId161"/>
            </p:custDataLst>
          </p:nvPr>
        </p:nvSpPr>
        <p:spPr bwMode="auto">
          <a:xfrm>
            <a:off x="10460038" y="3463925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  <a:endParaRPr lang="en-US" dirty="0"/>
          </a:p>
        </p:txBody>
      </p:sp>
      <p:sp>
        <p:nvSpPr>
          <p:cNvPr id="100" name="text">
            <a:extLst>
              <a:ext uri="{FF2B5EF4-FFF2-40B4-BE49-F238E27FC236}">
                <a16:creationId xmlns:a16="http://schemas.microsoft.com/office/drawing/2014/main" id="{B791078D-B7A2-FCEC-43E6-945D1700C84A}"/>
              </a:ext>
            </a:extLst>
          </p:cNvPr>
          <p:cNvSpPr>
            <a:spLocks noGrp="1"/>
          </p:cNvSpPr>
          <p:nvPr>
            <p:custDataLst>
              <p:tags r:id="rId162"/>
            </p:custDataLst>
          </p:nvPr>
        </p:nvSpPr>
        <p:spPr bwMode="auto">
          <a:xfrm>
            <a:off x="10460038" y="4818063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</a:p>
        </p:txBody>
      </p:sp>
      <p:sp>
        <p:nvSpPr>
          <p:cNvPr id="86" name="text">
            <a:extLst>
              <a:ext uri="{FF2B5EF4-FFF2-40B4-BE49-F238E27FC236}">
                <a16:creationId xmlns:a16="http://schemas.microsoft.com/office/drawing/2014/main" id="{77788BBA-4B91-6EC9-DCB2-FDC13A4D2127}"/>
              </a:ext>
            </a:extLst>
          </p:cNvPr>
          <p:cNvSpPr>
            <a:spLocks noGrp="1"/>
          </p:cNvSpPr>
          <p:nvPr>
            <p:custDataLst>
              <p:tags r:id="rId163"/>
            </p:custDataLst>
          </p:nvPr>
        </p:nvSpPr>
        <p:spPr bwMode="auto">
          <a:xfrm>
            <a:off x="596900" y="4818063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/>
              <a:t>Type </a:t>
            </a:r>
            <a:r>
              <a:rPr lang="en-US" altLang="en-US" dirty="0"/>
              <a:t>2.123 S5</a:t>
            </a:r>
            <a:endParaRPr lang="en-US" dirty="0"/>
          </a:p>
        </p:txBody>
      </p:sp>
      <p:sp>
        <p:nvSpPr>
          <p:cNvPr id="71" name="text">
            <a:extLst>
              <a:ext uri="{FF2B5EF4-FFF2-40B4-BE49-F238E27FC236}">
                <a16:creationId xmlns:a16="http://schemas.microsoft.com/office/drawing/2014/main" id="{A9F2DB07-4E7A-AC78-E6E0-A319C0157613}"/>
              </a:ext>
            </a:extLst>
          </p:cNvPr>
          <p:cNvSpPr>
            <a:spLocks noGrp="1"/>
          </p:cNvSpPr>
          <p:nvPr>
            <p:custDataLst>
              <p:tags r:id="rId164"/>
            </p:custDataLst>
          </p:nvPr>
        </p:nvSpPr>
        <p:spPr bwMode="auto">
          <a:xfrm>
            <a:off x="10460038" y="2079625"/>
            <a:ext cx="8874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BCA7072-2ED5-4C4C-B531-C859FFC5020F}" type="datetime'R''''''''esp''o''''n''s''i''''''b''''''''l''''''e'''''">
              <a:rPr lang="en-US" altLang="en-US" b="1" smtClean="0">
                <a:effectLst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Responsible</a:t>
            </a:fld>
            <a:endParaRPr lang="en-US" b="1" dirty="0"/>
          </a:p>
        </p:txBody>
      </p:sp>
      <p:sp>
        <p:nvSpPr>
          <p:cNvPr id="82" name="text">
            <a:extLst>
              <a:ext uri="{FF2B5EF4-FFF2-40B4-BE49-F238E27FC236}">
                <a16:creationId xmlns:a16="http://schemas.microsoft.com/office/drawing/2014/main" id="{81EF7ACF-4F67-8105-0C17-A0EED46391B3}"/>
              </a:ext>
            </a:extLst>
          </p:cNvPr>
          <p:cNvSpPr>
            <a:spLocks noGrp="1"/>
          </p:cNvSpPr>
          <p:nvPr>
            <p:custDataLst>
              <p:tags r:id="rId165"/>
            </p:custDataLst>
          </p:nvPr>
        </p:nvSpPr>
        <p:spPr bwMode="auto">
          <a:xfrm>
            <a:off x="10460038" y="4546600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Straight</a:t>
            </a:r>
          </a:p>
        </p:txBody>
      </p:sp>
      <p:sp>
        <p:nvSpPr>
          <p:cNvPr id="67" name="text">
            <a:extLst>
              <a:ext uri="{FF2B5EF4-FFF2-40B4-BE49-F238E27FC236}">
                <a16:creationId xmlns:a16="http://schemas.microsoft.com/office/drawing/2014/main" id="{5D707DBC-512F-940D-36A9-EE25C4A45CA9}"/>
              </a:ext>
            </a:extLst>
          </p:cNvPr>
          <p:cNvSpPr>
            <a:spLocks noGrp="1"/>
          </p:cNvSpPr>
          <p:nvPr>
            <p:custDataLst>
              <p:tags r:id="rId166"/>
            </p:custDataLst>
          </p:nvPr>
        </p:nvSpPr>
        <p:spPr bwMode="auto">
          <a:xfrm>
            <a:off x="596900" y="4546600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Type 2.123 S1</a:t>
            </a:r>
            <a:endParaRPr lang="en-US" dirty="0"/>
          </a:p>
        </p:txBody>
      </p:sp>
      <p:sp>
        <p:nvSpPr>
          <p:cNvPr id="84" name="text">
            <a:extLst>
              <a:ext uri="{FF2B5EF4-FFF2-40B4-BE49-F238E27FC236}">
                <a16:creationId xmlns:a16="http://schemas.microsoft.com/office/drawing/2014/main" id="{EDEC8A09-2C4A-08B9-F39F-0C162ADA18A8}"/>
              </a:ext>
            </a:extLst>
          </p:cNvPr>
          <p:cNvSpPr>
            <a:spLocks noGrp="1"/>
          </p:cNvSpPr>
          <p:nvPr>
            <p:custDataLst>
              <p:tags r:id="rId167"/>
            </p:custDataLst>
          </p:nvPr>
        </p:nvSpPr>
        <p:spPr bwMode="auto">
          <a:xfrm>
            <a:off x="596900" y="3735388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Type 2.123 S3</a:t>
            </a:r>
            <a:endParaRPr lang="en-US" dirty="0"/>
          </a:p>
        </p:txBody>
      </p:sp>
      <p:sp>
        <p:nvSpPr>
          <p:cNvPr id="98" name="text">
            <a:extLst>
              <a:ext uri="{FF2B5EF4-FFF2-40B4-BE49-F238E27FC236}">
                <a16:creationId xmlns:a16="http://schemas.microsoft.com/office/drawing/2014/main" id="{8419D20C-58CF-D9E7-2088-65BA4AB4EBD0}"/>
              </a:ext>
            </a:extLst>
          </p:cNvPr>
          <p:cNvSpPr>
            <a:spLocks noGrp="1"/>
          </p:cNvSpPr>
          <p:nvPr>
            <p:custDataLst>
              <p:tags r:id="rId168"/>
            </p:custDataLst>
          </p:nvPr>
        </p:nvSpPr>
        <p:spPr bwMode="auto">
          <a:xfrm>
            <a:off x="10460038" y="3735388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</a:p>
        </p:txBody>
      </p:sp>
      <p:sp>
        <p:nvSpPr>
          <p:cNvPr id="80" name="text">
            <a:extLst>
              <a:ext uri="{FF2B5EF4-FFF2-40B4-BE49-F238E27FC236}">
                <a16:creationId xmlns:a16="http://schemas.microsoft.com/office/drawing/2014/main" id="{CBD823C4-2621-E846-F00A-37FBCA0F0959}"/>
              </a:ext>
            </a:extLst>
          </p:cNvPr>
          <p:cNvSpPr>
            <a:spLocks noGrp="1"/>
          </p:cNvSpPr>
          <p:nvPr>
            <p:custDataLst>
              <p:tags r:id="rId169"/>
            </p:custDataLst>
          </p:nvPr>
        </p:nvSpPr>
        <p:spPr bwMode="auto">
          <a:xfrm>
            <a:off x="10460038" y="3165475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Curve</a:t>
            </a:r>
            <a:endParaRPr lang="en-US" dirty="0"/>
          </a:p>
        </p:txBody>
      </p:sp>
      <p:sp>
        <p:nvSpPr>
          <p:cNvPr id="14" name="text">
            <a:extLst>
              <a:ext uri="{FF2B5EF4-FFF2-40B4-BE49-F238E27FC236}">
                <a16:creationId xmlns:a16="http://schemas.microsoft.com/office/drawing/2014/main" id="{845C5819-761F-3E5C-79AF-538CF7AC1507}"/>
              </a:ext>
            </a:extLst>
          </p:cNvPr>
          <p:cNvSpPr>
            <a:spLocks noGrp="1"/>
          </p:cNvSpPr>
          <p:nvPr>
            <p:custDataLst>
              <p:tags r:id="rId170"/>
            </p:custDataLst>
          </p:nvPr>
        </p:nvSpPr>
        <p:spPr bwMode="auto">
          <a:xfrm>
            <a:off x="596900" y="2079625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DEC0F1C-E2C4-47F0-806C-88D7F6BAC7C9}" type="datetime'''''''A''''''''''c''t''i''''''''v''''ity'''''''''''''''''">
              <a:rPr lang="en-US" altLang="en-US" b="1" smtClean="0">
                <a:effectLst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lang="en-US" b="1" dirty="0"/>
          </a:p>
        </p:txBody>
      </p:sp>
      <p:sp>
        <p:nvSpPr>
          <p:cNvPr id="78" name="text">
            <a:extLst>
              <a:ext uri="{FF2B5EF4-FFF2-40B4-BE49-F238E27FC236}">
                <a16:creationId xmlns:a16="http://schemas.microsoft.com/office/drawing/2014/main" id="{35AF6EA1-0C66-9A0B-C6C1-804438790F32}"/>
              </a:ext>
            </a:extLst>
          </p:cNvPr>
          <p:cNvSpPr>
            <a:spLocks noGrp="1"/>
          </p:cNvSpPr>
          <p:nvPr>
            <p:custDataLst>
              <p:tags r:id="rId171"/>
            </p:custDataLst>
          </p:nvPr>
        </p:nvSpPr>
        <p:spPr bwMode="auto">
          <a:xfrm>
            <a:off x="10460038" y="2894013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Curve</a:t>
            </a:r>
            <a:endParaRPr lang="en-US" dirty="0"/>
          </a:p>
        </p:txBody>
      </p:sp>
      <p:sp>
        <p:nvSpPr>
          <p:cNvPr id="12" name="text">
            <a:extLst>
              <a:ext uri="{FF2B5EF4-FFF2-40B4-BE49-F238E27FC236}">
                <a16:creationId xmlns:a16="http://schemas.microsoft.com/office/drawing/2014/main" id="{DF12F464-D8D7-F597-E39F-42ACCE3CBB3E}"/>
              </a:ext>
            </a:extLst>
          </p:cNvPr>
          <p:cNvSpPr>
            <a:spLocks noGrp="1"/>
          </p:cNvSpPr>
          <p:nvPr>
            <p:custDataLst>
              <p:tags r:id="rId172"/>
            </p:custDataLst>
          </p:nvPr>
        </p:nvSpPr>
        <p:spPr bwMode="auto">
          <a:xfrm>
            <a:off x="596900" y="4005263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/>
              <a:t>Type </a:t>
            </a:r>
            <a:r>
              <a:rPr lang="en-US" altLang="en-US" dirty="0"/>
              <a:t>2.123 S4</a:t>
            </a:r>
            <a:endParaRPr lang="en-US" dirty="0"/>
          </a:p>
        </p:txBody>
      </p:sp>
      <p:sp>
        <p:nvSpPr>
          <p:cNvPr id="104" name="text">
            <a:extLst>
              <a:ext uri="{FF2B5EF4-FFF2-40B4-BE49-F238E27FC236}">
                <a16:creationId xmlns:a16="http://schemas.microsoft.com/office/drawing/2014/main" id="{A4903416-B64A-86E5-2EB7-40F833E7688E}"/>
              </a:ext>
            </a:extLst>
          </p:cNvPr>
          <p:cNvSpPr>
            <a:spLocks noGrp="1"/>
          </p:cNvSpPr>
          <p:nvPr>
            <p:custDataLst>
              <p:tags r:id="rId173"/>
            </p:custDataLst>
          </p:nvPr>
        </p:nvSpPr>
        <p:spPr bwMode="auto">
          <a:xfrm>
            <a:off x="10460038" y="5387975"/>
            <a:ext cx="11318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 / Curve</a:t>
            </a:r>
          </a:p>
        </p:txBody>
      </p:sp>
      <p:sp>
        <p:nvSpPr>
          <p:cNvPr id="94" name="text">
            <a:extLst>
              <a:ext uri="{FF2B5EF4-FFF2-40B4-BE49-F238E27FC236}">
                <a16:creationId xmlns:a16="http://schemas.microsoft.com/office/drawing/2014/main" id="{432DA131-4481-8071-730D-E66D3B9D9615}"/>
              </a:ext>
            </a:extLst>
          </p:cNvPr>
          <p:cNvSpPr>
            <a:spLocks noGrp="1"/>
          </p:cNvSpPr>
          <p:nvPr>
            <p:custDataLst>
              <p:tags r:id="rId174"/>
            </p:custDataLst>
          </p:nvPr>
        </p:nvSpPr>
        <p:spPr bwMode="auto">
          <a:xfrm>
            <a:off x="10460038" y="4005263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  <a:endParaRPr lang="en-US" dirty="0"/>
          </a:p>
        </p:txBody>
      </p:sp>
      <p:sp>
        <p:nvSpPr>
          <p:cNvPr id="11" name="text">
            <a:extLst>
              <a:ext uri="{FF2B5EF4-FFF2-40B4-BE49-F238E27FC236}">
                <a16:creationId xmlns:a16="http://schemas.microsoft.com/office/drawing/2014/main" id="{82D00091-1797-5B86-4845-A144D7C95B19}"/>
              </a:ext>
            </a:extLst>
          </p:cNvPr>
          <p:cNvSpPr>
            <a:spLocks noGrp="1"/>
          </p:cNvSpPr>
          <p:nvPr>
            <p:custDataLst>
              <p:tags r:id="rId175"/>
            </p:custDataLst>
          </p:nvPr>
        </p:nvSpPr>
        <p:spPr bwMode="auto">
          <a:xfrm>
            <a:off x="596900" y="3165475"/>
            <a:ext cx="1171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effectLst/>
              </a:rPr>
              <a:t>Type 2.8C B1-B6</a:t>
            </a:r>
            <a:endParaRPr lang="en-US" dirty="0"/>
          </a:p>
        </p:txBody>
      </p:sp>
      <p:sp>
        <p:nvSpPr>
          <p:cNvPr id="90" name="text">
            <a:extLst>
              <a:ext uri="{FF2B5EF4-FFF2-40B4-BE49-F238E27FC236}">
                <a16:creationId xmlns:a16="http://schemas.microsoft.com/office/drawing/2014/main" id="{EBD116E7-AE31-54E0-8FAF-16407B5A8A52}"/>
              </a:ext>
            </a:extLst>
          </p:cNvPr>
          <p:cNvSpPr>
            <a:spLocks noGrp="1"/>
          </p:cNvSpPr>
          <p:nvPr>
            <p:custDataLst>
              <p:tags r:id="rId176"/>
            </p:custDataLst>
          </p:nvPr>
        </p:nvSpPr>
        <p:spPr bwMode="auto">
          <a:xfrm>
            <a:off x="596900" y="5387975"/>
            <a:ext cx="14144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/>
              <a:t>Type </a:t>
            </a:r>
            <a:r>
              <a:rPr lang="en-US" altLang="en-US" dirty="0"/>
              <a:t>1.E / 2.4 S1-S6</a:t>
            </a:r>
            <a:endParaRPr lang="en-US" dirty="0"/>
          </a:p>
        </p:txBody>
      </p:sp>
      <p:sp>
        <p:nvSpPr>
          <p:cNvPr id="8" name="text">
            <a:extLst>
              <a:ext uri="{FF2B5EF4-FFF2-40B4-BE49-F238E27FC236}">
                <a16:creationId xmlns:a16="http://schemas.microsoft.com/office/drawing/2014/main" id="{61015F97-714A-774C-E092-520EBE5BC85F}"/>
              </a:ext>
            </a:extLst>
          </p:cNvPr>
          <p:cNvSpPr>
            <a:spLocks noGrp="1"/>
          </p:cNvSpPr>
          <p:nvPr>
            <p:custDataLst>
              <p:tags r:id="rId177"/>
            </p:custDataLst>
          </p:nvPr>
        </p:nvSpPr>
        <p:spPr bwMode="auto">
          <a:xfrm>
            <a:off x="596900" y="2624138"/>
            <a:ext cx="11731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effectLst/>
              </a:rPr>
              <a:t>Type 1.7B B1-B6</a:t>
            </a:r>
            <a:endParaRPr lang="en-US" dirty="0"/>
          </a:p>
        </p:txBody>
      </p:sp>
      <p:sp>
        <p:nvSpPr>
          <p:cNvPr id="13" name="text">
            <a:extLst>
              <a:ext uri="{FF2B5EF4-FFF2-40B4-BE49-F238E27FC236}">
                <a16:creationId xmlns:a16="http://schemas.microsoft.com/office/drawing/2014/main" id="{D317A612-553C-9223-E599-03F4D47A5E2A}"/>
              </a:ext>
            </a:extLst>
          </p:cNvPr>
          <p:cNvSpPr>
            <a:spLocks noGrp="1"/>
          </p:cNvSpPr>
          <p:nvPr>
            <p:custDataLst>
              <p:tags r:id="rId178"/>
            </p:custDataLst>
          </p:nvPr>
        </p:nvSpPr>
        <p:spPr bwMode="auto">
          <a:xfrm>
            <a:off x="596900" y="4276725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Type 2.123 S6</a:t>
            </a:r>
            <a:endParaRPr lang="en-US" dirty="0"/>
          </a:p>
        </p:txBody>
      </p:sp>
      <p:sp>
        <p:nvSpPr>
          <p:cNvPr id="76" name="text">
            <a:extLst>
              <a:ext uri="{FF2B5EF4-FFF2-40B4-BE49-F238E27FC236}">
                <a16:creationId xmlns:a16="http://schemas.microsoft.com/office/drawing/2014/main" id="{22C26266-CAD4-793F-E363-A83DBDD0343C}"/>
              </a:ext>
            </a:extLst>
          </p:cNvPr>
          <p:cNvSpPr>
            <a:spLocks noGrp="1"/>
          </p:cNvSpPr>
          <p:nvPr>
            <p:custDataLst>
              <p:tags r:id="rId179"/>
            </p:custDataLst>
          </p:nvPr>
        </p:nvSpPr>
        <p:spPr bwMode="auto">
          <a:xfrm>
            <a:off x="10460038" y="2624138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Curve</a:t>
            </a:r>
            <a:endParaRPr lang="en-US" dirty="0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94D90CA4-6C39-527A-EF3E-38ABE00D3E62}"/>
              </a:ext>
            </a:extLst>
          </p:cNvPr>
          <p:cNvSpPr/>
          <p:nvPr/>
        </p:nvSpPr>
        <p:spPr>
          <a:xfrm>
            <a:off x="6364289" y="5050359"/>
            <a:ext cx="1100137" cy="32954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31" name="Textfeld 430">
            <a:extLst>
              <a:ext uri="{FF2B5EF4-FFF2-40B4-BE49-F238E27FC236}">
                <a16:creationId xmlns:a16="http://schemas.microsoft.com/office/drawing/2014/main" id="{5E12AEE7-3DD8-BECE-0C25-91FA38BA0C6C}"/>
              </a:ext>
            </a:extLst>
          </p:cNvPr>
          <p:cNvSpPr txBox="1"/>
          <p:nvPr/>
        </p:nvSpPr>
        <p:spPr>
          <a:xfrm>
            <a:off x="6881814" y="2597813"/>
            <a:ext cx="3286304" cy="1570549"/>
          </a:xfrm>
          <a:prstGeom prst="rect">
            <a:avLst/>
          </a:prstGeom>
          <a:solidFill>
            <a:schemeClr val="bg1">
              <a:lumMod val="85000"/>
              <a:alpha val="25000"/>
            </a:schemeClr>
          </a:solidFill>
          <a:ln w="19050">
            <a:solidFill>
              <a:srgbClr val="FF0000"/>
            </a:solidFill>
          </a:ln>
        </p:spPr>
        <p:txBody>
          <a:bodyPr wrap="square" lIns="36000" tIns="36000" rIns="36000" bIns="36000" rtlCol="0">
            <a:spAutoFit/>
          </a:bodyPr>
          <a:lstStyle/>
          <a:p>
            <a:pPr algn="l">
              <a:spcBef>
                <a:spcPts val="400"/>
              </a:spcBef>
              <a:spcAft>
                <a:spcPts val="400"/>
              </a:spcAft>
            </a:pPr>
            <a:r>
              <a:rPr lang="en-US" sz="1400" dirty="0">
                <a:solidFill>
                  <a:schemeClr val="tx1"/>
                </a:solidFill>
                <a:latin typeface="+mn-lt"/>
              </a:rPr>
              <a:t>There are conspicuous, incomprehensible time </a:t>
            </a:r>
            <a:r>
              <a:rPr lang="en-US" sz="1400" dirty="0"/>
              <a:t>slots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between individual delivery dates for the modules</a:t>
            </a:r>
          </a:p>
          <a:p>
            <a:pPr algn="l">
              <a:spcBef>
                <a:spcPts val="400"/>
              </a:spcBef>
              <a:spcAft>
                <a:spcPts val="400"/>
              </a:spcAft>
            </a:pPr>
            <a:r>
              <a:rPr lang="en-US" sz="1400" dirty="0">
                <a:solidFill>
                  <a:schemeClr val="tx1"/>
                </a:solidFill>
                <a:latin typeface="+mn-lt"/>
              </a:rPr>
              <a:t>Recommendation:</a:t>
            </a:r>
          </a:p>
          <a:p>
            <a:pPr algn="l">
              <a:spcBef>
                <a:spcPts val="400"/>
              </a:spcBef>
              <a:spcAft>
                <a:spcPts val="400"/>
              </a:spcAft>
            </a:pPr>
            <a:r>
              <a:rPr lang="en-US" sz="1400" dirty="0"/>
              <a:t>Clarification of delivery dates and interruptions for the modules.</a:t>
            </a:r>
            <a:endParaRPr lang="en-US" sz="1400" dirty="0">
              <a:solidFill>
                <a:schemeClr val="tx1"/>
              </a:solidFill>
              <a:latin typeface="+mn-lt"/>
            </a:endParaRPr>
          </a:p>
        </p:txBody>
      </p:sp>
      <p:cxnSp>
        <p:nvCxnSpPr>
          <p:cNvPr id="434" name="Verbinder: gekrümmt 433">
            <a:extLst>
              <a:ext uri="{FF2B5EF4-FFF2-40B4-BE49-F238E27FC236}">
                <a16:creationId xmlns:a16="http://schemas.microsoft.com/office/drawing/2014/main" id="{A224AC94-3750-F0E6-D5BF-E932B1B7F4E2}"/>
              </a:ext>
            </a:extLst>
          </p:cNvPr>
          <p:cNvCxnSpPr>
            <a:cxnSpLocks/>
            <a:stCxn id="431" idx="2"/>
            <a:endCxn id="7" idx="0"/>
          </p:cNvCxnSpPr>
          <p:nvPr/>
        </p:nvCxnSpPr>
        <p:spPr>
          <a:xfrm rot="5400000">
            <a:off x="7278664" y="3804056"/>
            <a:ext cx="881997" cy="1610608"/>
          </a:xfrm>
          <a:prstGeom prst="curvedConnector3">
            <a:avLst>
              <a:gd name="adj1" fmla="val 50000"/>
            </a:avLst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Ellipse 24">
            <a:extLst>
              <a:ext uri="{FF2B5EF4-FFF2-40B4-BE49-F238E27FC236}">
                <a16:creationId xmlns:a16="http://schemas.microsoft.com/office/drawing/2014/main" id="{48172B2F-748D-910F-2721-800421E02AE2}"/>
              </a:ext>
            </a:extLst>
          </p:cNvPr>
          <p:cNvSpPr/>
          <p:nvPr/>
        </p:nvSpPr>
        <p:spPr>
          <a:xfrm>
            <a:off x="8405812" y="5314013"/>
            <a:ext cx="619126" cy="32954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cxnSp>
        <p:nvCxnSpPr>
          <p:cNvPr id="30" name="Verbinder: gekrümmt 29">
            <a:extLst>
              <a:ext uri="{FF2B5EF4-FFF2-40B4-BE49-F238E27FC236}">
                <a16:creationId xmlns:a16="http://schemas.microsoft.com/office/drawing/2014/main" id="{556B7DFC-3657-9CAA-8C09-00638CF9B139}"/>
              </a:ext>
            </a:extLst>
          </p:cNvPr>
          <p:cNvCxnSpPr>
            <a:cxnSpLocks/>
            <a:stCxn id="431" idx="2"/>
          </p:cNvCxnSpPr>
          <p:nvPr/>
        </p:nvCxnSpPr>
        <p:spPr>
          <a:xfrm rot="16200000" flipH="1">
            <a:off x="8048381" y="4644947"/>
            <a:ext cx="1153898" cy="200728"/>
          </a:xfrm>
          <a:prstGeom prst="curvedConnector3">
            <a:avLst>
              <a:gd name="adj1" fmla="val 50000"/>
            </a:avLst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21777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D3B5DD-7F98-A627-0307-0595CA92BA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" name="think-cell data - do not delete" hidden="1">
            <a:extLst>
              <a:ext uri="{FF2B5EF4-FFF2-40B4-BE49-F238E27FC236}">
                <a16:creationId xmlns:a16="http://schemas.microsoft.com/office/drawing/2014/main" id="{5C7EE56B-CB4E-8628-ABBE-6DF3ED0F8E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2" imgW="473" imgH="473" progId="TCLayout.ActiveDocument.1">
                  <p:embed/>
                </p:oleObj>
              </mc:Choice>
              <mc:Fallback>
                <p:oleObj name="think-cell Folie" r:id="rId182" imgW="473" imgH="473" progId="TCLayout.ActiveDocument.1">
                  <p:embed/>
                  <p:pic>
                    <p:nvPicPr>
                      <p:cNvPr id="6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7EE56B-CB4E-8628-ABBE-6DF3ED0F8E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EDCEE32-4729-5DC5-9AD0-913F2737B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IS100 Workshop – Installation Plan Dipole and quadrupole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5A54B9F-8C10-7756-0DA2-37F23593FE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 dirty="0"/>
              <a:t>Open issues / to clarify (</a:t>
            </a:r>
            <a:r>
              <a:rPr lang="en-US" dirty="0"/>
              <a:t>postponed delivery milestones of last modules</a:t>
            </a:r>
            <a:r>
              <a:rPr lang="pt-BR" dirty="0"/>
              <a:t>)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CE871BD-5401-C355-30AD-0941A1A673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4FE7EF6-3578-C34D-36BD-262572D97F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732D6F6-6175-AF5A-5572-A190E4BB9B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9449A-3FF3-45CE-9F4F-09BADC0910C6}" type="slidenum">
              <a:rPr lang="de-DE" noProof="0"/>
              <a:t>19</a:t>
            </a:fld>
            <a:endParaRPr lang="de-DE" noProof="0" dirty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D23C1830-52C9-DFD6-FC71-1CC5E4BF6882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0299700" y="2309812"/>
            <a:ext cx="84138" cy="3333750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B103172F-BCE6-67A0-8783-025C53B1005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3311525" y="2309812"/>
            <a:ext cx="134938" cy="3333750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41DEBE18-1EF7-28AF-A5B5-6A744567E2C3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5640388" y="2309812"/>
            <a:ext cx="134938" cy="3333750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B9E741C5-4955-875F-55FC-7D9B961FFCDE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969250" y="2309812"/>
            <a:ext cx="134938" cy="3333750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19" name="text">
            <a:extLst>
              <a:ext uri="{FF2B5EF4-FFF2-40B4-BE49-F238E27FC236}">
                <a16:creationId xmlns:a16="http://schemas.microsoft.com/office/drawing/2014/main" id="{78AB58C4-5BFC-9DC8-DAF3-885D9E30975E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198688" y="1601788"/>
            <a:ext cx="117792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02F4FE3-1A2A-4D1E-B90B-6D4D4AE5980A}" type="datetime'''''''2''''025'''''''''''''''''''''''''''''">
              <a:rPr lang="en-US" altLang="en-US" b="1" smtClean="0"/>
              <a:pPr/>
              <a:t>2025</a:t>
            </a:fld>
            <a:endParaRPr lang="en-US" b="1" dirty="0"/>
          </a:p>
        </p:txBody>
      </p:sp>
      <p:sp>
        <p:nvSpPr>
          <p:cNvPr id="505" name="text">
            <a:extLst>
              <a:ext uri="{FF2B5EF4-FFF2-40B4-BE49-F238E27FC236}">
                <a16:creationId xmlns:a16="http://schemas.microsoft.com/office/drawing/2014/main" id="{3565FD7B-4BC8-D3C9-011E-A869131443C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376613" y="1601788"/>
            <a:ext cx="23352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14216BF-C595-40C5-BE77-C33A25291AE9}" type="datetime'''20''''''''''2''''''''''''''''''''''6'">
              <a:rPr lang="en-US" altLang="en-US" b="1" smtClean="0"/>
              <a:pPr/>
              <a:t>2026</a:t>
            </a:fld>
            <a:endParaRPr lang="en-US" b="1" dirty="0"/>
          </a:p>
        </p:txBody>
      </p:sp>
      <p:sp>
        <p:nvSpPr>
          <p:cNvPr id="544" name="text">
            <a:extLst>
              <a:ext uri="{FF2B5EF4-FFF2-40B4-BE49-F238E27FC236}">
                <a16:creationId xmlns:a16="http://schemas.microsoft.com/office/drawing/2014/main" id="{5E1C7993-7CBB-E596-00EC-FA489A42B89E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711825" y="1601788"/>
            <a:ext cx="23352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F38DC23-C9E9-43FB-A5D4-8322146BEBBB}" type="datetime'''20''''''2''''''''''''''''''''''''''''''''7'''''''''''">
              <a:rPr lang="en-US" altLang="en-US" b="1" smtClean="0"/>
              <a:pPr/>
              <a:t>2027</a:t>
            </a:fld>
            <a:endParaRPr lang="en-US" b="1" dirty="0"/>
          </a:p>
        </p:txBody>
      </p:sp>
      <p:sp>
        <p:nvSpPr>
          <p:cNvPr id="593" name="text">
            <a:extLst>
              <a:ext uri="{FF2B5EF4-FFF2-40B4-BE49-F238E27FC236}">
                <a16:creationId xmlns:a16="http://schemas.microsoft.com/office/drawing/2014/main" id="{C9C3F7C9-2810-E311-A775-312EAF03ABE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047038" y="1601788"/>
            <a:ext cx="23415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209150C-C0DE-4561-B062-B29A358BD156}" type="datetime'''''''2''''''0''''''''''2''''''''''''''''''8'''''''''''">
              <a:rPr lang="en-US" altLang="en-US" b="1" smtClean="0"/>
              <a:pPr/>
              <a:t>2028</a:t>
            </a:fld>
            <a:endParaRPr lang="en-US" b="1" dirty="0"/>
          </a:p>
        </p:txBody>
      </p:sp>
      <p:sp>
        <p:nvSpPr>
          <p:cNvPr id="406" name="text">
            <a:extLst>
              <a:ext uri="{FF2B5EF4-FFF2-40B4-BE49-F238E27FC236}">
                <a16:creationId xmlns:a16="http://schemas.microsoft.com/office/drawing/2014/main" id="{40452EDB-76EE-7A1E-D63F-E8ADE683100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198688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AD80CA9-3A45-47D4-A0F6-4F9DF0A26299}" type="datetime'''Q3'''''''''''''">
              <a:rPr lang="en-US" altLang="en-US" b="1" smtClean="0"/>
              <a:pPr/>
              <a:t>Q3</a:t>
            </a:fld>
            <a:endParaRPr lang="en-US" b="1" dirty="0"/>
          </a:p>
        </p:txBody>
      </p:sp>
      <p:sp>
        <p:nvSpPr>
          <p:cNvPr id="407" name="text">
            <a:extLst>
              <a:ext uri="{FF2B5EF4-FFF2-40B4-BE49-F238E27FC236}">
                <a16:creationId xmlns:a16="http://schemas.microsoft.com/office/drawing/2014/main" id="{453D4941-C2F0-FB6C-4550-C31D3DA17B2F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787650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D73C281-6788-4916-9632-5A2D9D5F72A2}" type="datetime'Q4'''''''''''">
              <a:rPr lang="en-US" altLang="en-US" b="1" smtClean="0"/>
              <a:pPr/>
              <a:t>Q4</a:t>
            </a:fld>
            <a:endParaRPr lang="en-US" b="1" dirty="0"/>
          </a:p>
        </p:txBody>
      </p:sp>
      <p:sp>
        <p:nvSpPr>
          <p:cNvPr id="497" name="text">
            <a:extLst>
              <a:ext uri="{FF2B5EF4-FFF2-40B4-BE49-F238E27FC236}">
                <a16:creationId xmlns:a16="http://schemas.microsoft.com/office/drawing/2014/main" id="{995D494E-5213-72AE-F3E5-D95FC8F67508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376614" y="1862138"/>
            <a:ext cx="57467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75BFCDF-E2A1-431E-8EE0-5000BA81F963}" type="datetime'''''''''''''''''''''''''Q1'''''">
              <a:rPr lang="en-US" altLang="en-US" b="1" smtClean="0"/>
              <a:pPr/>
              <a:t>Q1</a:t>
            </a:fld>
            <a:endParaRPr lang="en-US" b="1" dirty="0"/>
          </a:p>
        </p:txBody>
      </p:sp>
      <p:sp>
        <p:nvSpPr>
          <p:cNvPr id="498" name="text">
            <a:extLst>
              <a:ext uri="{FF2B5EF4-FFF2-40B4-BE49-F238E27FC236}">
                <a16:creationId xmlns:a16="http://schemas.microsoft.com/office/drawing/2014/main" id="{E9C8CA7C-EDA5-D4D5-371B-7C7E5963391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951289" y="1862138"/>
            <a:ext cx="5826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0ADFC55-3886-4F74-8205-E6781F7E51EF}" type="datetime'''''''''''''''''''''''''''''''''''Q''''''''''''''2'''''''">
              <a:rPr lang="en-US" altLang="en-US" b="1" smtClean="0"/>
              <a:pPr/>
              <a:t>Q2</a:t>
            </a:fld>
            <a:endParaRPr lang="en-US" b="1" dirty="0"/>
          </a:p>
        </p:txBody>
      </p:sp>
      <p:sp>
        <p:nvSpPr>
          <p:cNvPr id="499" name="text">
            <a:extLst>
              <a:ext uri="{FF2B5EF4-FFF2-40B4-BE49-F238E27FC236}">
                <a16:creationId xmlns:a16="http://schemas.microsoft.com/office/drawing/2014/main" id="{A9545973-ADC6-8E46-6F6E-D7B54ACB80F4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533900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A9D8F26-01FA-43D4-BB68-A2C11942FD84}" type="datetime'''Q''''''''''''''''''''''''''''''''''''''''''''''''''''3'''''">
              <a:rPr lang="en-US" altLang="en-US" b="1" smtClean="0"/>
              <a:pPr/>
              <a:t>Q3</a:t>
            </a:fld>
            <a:endParaRPr lang="en-US" b="1" dirty="0"/>
          </a:p>
        </p:txBody>
      </p:sp>
      <p:sp>
        <p:nvSpPr>
          <p:cNvPr id="500" name="text">
            <a:extLst>
              <a:ext uri="{FF2B5EF4-FFF2-40B4-BE49-F238E27FC236}">
                <a16:creationId xmlns:a16="http://schemas.microsoft.com/office/drawing/2014/main" id="{052AE34C-5158-1851-2445-6046EC0B0D17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122863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1FC14B9-B0F7-49A3-B82F-6545FBC37EDC}" type="datetime'''''''''''Q''''''''''''''''''''''4'''''''">
              <a:rPr lang="en-US" altLang="en-US" b="1" smtClean="0"/>
              <a:pPr/>
              <a:t>Q4</a:t>
            </a:fld>
            <a:endParaRPr lang="en-US" b="1" dirty="0"/>
          </a:p>
        </p:txBody>
      </p:sp>
      <p:sp>
        <p:nvSpPr>
          <p:cNvPr id="540" name="text">
            <a:extLst>
              <a:ext uri="{FF2B5EF4-FFF2-40B4-BE49-F238E27FC236}">
                <a16:creationId xmlns:a16="http://schemas.microsoft.com/office/drawing/2014/main" id="{C391DEF5-6BF3-3F92-99A8-154BED3DDCF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711826" y="1862138"/>
            <a:ext cx="57467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F913DF8-AF63-4911-9044-347BED8B935B}" type="datetime'''Q''''''''''''''''''''''''''''1'''''''''''">
              <a:rPr lang="en-US" altLang="en-US" b="1" smtClean="0"/>
              <a:pPr/>
              <a:t>Q1</a:t>
            </a:fld>
            <a:endParaRPr lang="en-US" b="1" dirty="0"/>
          </a:p>
        </p:txBody>
      </p:sp>
      <p:sp>
        <p:nvSpPr>
          <p:cNvPr id="541" name="text">
            <a:extLst>
              <a:ext uri="{FF2B5EF4-FFF2-40B4-BE49-F238E27FC236}">
                <a16:creationId xmlns:a16="http://schemas.microsoft.com/office/drawing/2014/main" id="{D4DDA3B0-F09F-7689-DC3A-E7351D41D06E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286501" y="1862138"/>
            <a:ext cx="5826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23BB49B-F987-4D5E-B1FB-A45DC4DC2BAE}" type="datetime'''''''''''''''Q''''''''''''''''''''''2'''''''''''''''''''''">
              <a:rPr lang="en-US" altLang="en-US" b="1" smtClean="0"/>
              <a:pPr/>
              <a:t>Q2</a:t>
            </a:fld>
            <a:endParaRPr lang="en-US" b="1" dirty="0"/>
          </a:p>
        </p:txBody>
      </p:sp>
      <p:sp>
        <p:nvSpPr>
          <p:cNvPr id="542" name="text">
            <a:extLst>
              <a:ext uri="{FF2B5EF4-FFF2-40B4-BE49-F238E27FC236}">
                <a16:creationId xmlns:a16="http://schemas.microsoft.com/office/drawing/2014/main" id="{D7E245C1-BB58-7215-E426-212B27D02BFE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869113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4AF189E-61C0-4071-BABB-68D2781C0521}" type="datetime'''''''''''''Q3'">
              <a:rPr lang="en-US" altLang="en-US" b="1" smtClean="0"/>
              <a:pPr/>
              <a:t>Q3</a:t>
            </a:fld>
            <a:endParaRPr lang="en-US" b="1" dirty="0"/>
          </a:p>
        </p:txBody>
      </p:sp>
      <p:sp>
        <p:nvSpPr>
          <p:cNvPr id="543" name="text">
            <a:extLst>
              <a:ext uri="{FF2B5EF4-FFF2-40B4-BE49-F238E27FC236}">
                <a16:creationId xmlns:a16="http://schemas.microsoft.com/office/drawing/2014/main" id="{6FE3CAF9-2695-EFF2-2FC1-5A2AC4CA7545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458075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C44E379-C25F-4312-88C0-9E59046226C3}" type="datetime'''Q''''''''''''''''''''''4'''''''''''''''''''''">
              <a:rPr lang="en-US" altLang="en-US" b="1" smtClean="0"/>
              <a:pPr/>
              <a:t>Q4</a:t>
            </a:fld>
            <a:endParaRPr lang="en-US" b="1" dirty="0"/>
          </a:p>
        </p:txBody>
      </p:sp>
      <p:sp>
        <p:nvSpPr>
          <p:cNvPr id="589" name="text">
            <a:extLst>
              <a:ext uri="{FF2B5EF4-FFF2-40B4-BE49-F238E27FC236}">
                <a16:creationId xmlns:a16="http://schemas.microsoft.com/office/drawing/2014/main" id="{DD8017E6-E6B9-AB66-DB5B-45B46C8515C9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8047039" y="1862138"/>
            <a:ext cx="5826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EA13AA6-F14D-4345-812D-CE7997E98106}" type="datetime'''''''''''''''''''''''''''Q''''''''''''''''1'''''">
              <a:rPr lang="en-US" altLang="en-US" b="1" smtClean="0"/>
              <a:pPr/>
              <a:t>Q1</a:t>
            </a:fld>
            <a:endParaRPr lang="en-US" b="1" dirty="0"/>
          </a:p>
        </p:txBody>
      </p:sp>
      <p:sp>
        <p:nvSpPr>
          <p:cNvPr id="590" name="text">
            <a:extLst>
              <a:ext uri="{FF2B5EF4-FFF2-40B4-BE49-F238E27FC236}">
                <a16:creationId xmlns:a16="http://schemas.microsoft.com/office/drawing/2014/main" id="{06C2A700-1D4C-0846-7236-A50821CDD0CE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8629650" y="1862138"/>
            <a:ext cx="58102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C34017C-3044-42FD-BBEF-73F3DB32D6E7}" type="datetime'''''''''''Q''''''''''''''''''''''''''''''2'''">
              <a:rPr lang="en-US" altLang="en-US" b="1" smtClean="0"/>
              <a:pPr/>
              <a:t>Q2</a:t>
            </a:fld>
            <a:endParaRPr lang="en-US" b="1" dirty="0"/>
          </a:p>
        </p:txBody>
      </p:sp>
      <p:sp>
        <p:nvSpPr>
          <p:cNvPr id="591" name="text">
            <a:extLst>
              <a:ext uri="{FF2B5EF4-FFF2-40B4-BE49-F238E27FC236}">
                <a16:creationId xmlns:a16="http://schemas.microsoft.com/office/drawing/2014/main" id="{DDC5DD4A-7F3A-C323-B241-867E5FCCAB7F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9210676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426FF7B-0F60-4923-8BFC-AEE974644245}" type="datetime'''''''''''''''''''''''''''''''''''''''''''Q''''''3'''">
              <a:rPr lang="en-US" altLang="en-US" b="1" smtClean="0"/>
              <a:pPr/>
              <a:t>Q3</a:t>
            </a:fld>
            <a:endParaRPr lang="en-US" b="1" dirty="0"/>
          </a:p>
        </p:txBody>
      </p:sp>
      <p:sp>
        <p:nvSpPr>
          <p:cNvPr id="592" name="text">
            <a:extLst>
              <a:ext uri="{FF2B5EF4-FFF2-40B4-BE49-F238E27FC236}">
                <a16:creationId xmlns:a16="http://schemas.microsoft.com/office/drawing/2014/main" id="{13FE8A51-5655-ED1B-8592-B7E9B6CC84EE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9799638" y="1862138"/>
            <a:ext cx="5889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FAB18D2-2786-4855-A580-645F2425FCE6}" type="datetime'''''''Q''''''''''''''''''''''''4'''''''''''''''''">
              <a:rPr lang="en-US" altLang="en-US" b="1" smtClean="0"/>
              <a:pPr/>
              <a:t>Q4</a:t>
            </a:fld>
            <a:endParaRPr lang="en-US" b="1" dirty="0"/>
          </a:p>
        </p:txBody>
      </p:sp>
      <p:sp>
        <p:nvSpPr>
          <p:cNvPr id="52" name="text">
            <a:extLst>
              <a:ext uri="{FF2B5EF4-FFF2-40B4-BE49-F238E27FC236}">
                <a16:creationId xmlns:a16="http://schemas.microsoft.com/office/drawing/2014/main" id="{ED70F7D0-C061-38E8-D7D4-C4A59C73106E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2198688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6227835-67C0-4A02-912A-6D08E049CB27}" type="datetime'''''''''''''''''''''''''''''''''''''''''''''''''7'''''''''''''">
              <a:rPr lang="en-US" altLang="en-US" sz="1000" smtClean="0"/>
              <a:pPr/>
              <a:t>7</a:t>
            </a:fld>
            <a:endParaRPr lang="en-US" sz="1000" dirty="0"/>
          </a:p>
        </p:txBody>
      </p:sp>
      <p:sp>
        <p:nvSpPr>
          <p:cNvPr id="54" name="text">
            <a:extLst>
              <a:ext uri="{FF2B5EF4-FFF2-40B4-BE49-F238E27FC236}">
                <a16:creationId xmlns:a16="http://schemas.microsoft.com/office/drawing/2014/main" id="{5E85028D-52FA-1EB7-4238-DF32D792FF31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397125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1088191-E52A-442D-B344-7DF4E5447A3F}" type="datetime'''''''''''8'">
              <a:rPr lang="en-US" altLang="en-US" sz="1000" smtClean="0"/>
              <a:pPr/>
              <a:t>8</a:t>
            </a:fld>
            <a:endParaRPr lang="en-US" sz="1000" dirty="0"/>
          </a:p>
        </p:txBody>
      </p:sp>
      <p:sp>
        <p:nvSpPr>
          <p:cNvPr id="38" name="text">
            <a:extLst>
              <a:ext uri="{FF2B5EF4-FFF2-40B4-BE49-F238E27FC236}">
                <a16:creationId xmlns:a16="http://schemas.microsoft.com/office/drawing/2014/main" id="{37A8F9E4-17FA-C68A-CA02-17B7E549C68A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595563" y="2122489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941CB51-7924-4FED-B609-7CAA243ED190}" type="datetime'''''''''''''''''''''''''''''''''''''''''''''''''9'''''">
              <a:rPr lang="en-US" altLang="en-US" sz="1000" smtClean="0"/>
              <a:pPr/>
              <a:t>9</a:t>
            </a:fld>
            <a:endParaRPr lang="en-US" sz="1000" dirty="0"/>
          </a:p>
        </p:txBody>
      </p:sp>
      <p:sp>
        <p:nvSpPr>
          <p:cNvPr id="39" name="text">
            <a:extLst>
              <a:ext uri="{FF2B5EF4-FFF2-40B4-BE49-F238E27FC236}">
                <a16:creationId xmlns:a16="http://schemas.microsoft.com/office/drawing/2014/main" id="{8579A1F5-7BFB-E290-537B-E089BEA0DB18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787650" y="2122489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80038D6-A1D4-4852-A2D8-3C728E888BA2}" type="datetime'''''''''''''''''''''''''''''''''''''''''''''''''10'''''">
              <a:rPr lang="en-US" altLang="en-US" sz="1000" smtClean="0"/>
              <a:pPr/>
              <a:t>10</a:t>
            </a:fld>
            <a:endParaRPr lang="en-US" sz="1000" dirty="0"/>
          </a:p>
        </p:txBody>
      </p:sp>
      <p:sp>
        <p:nvSpPr>
          <p:cNvPr id="40" name="text">
            <a:extLst>
              <a:ext uri="{FF2B5EF4-FFF2-40B4-BE49-F238E27FC236}">
                <a16:creationId xmlns:a16="http://schemas.microsoft.com/office/drawing/2014/main" id="{43CCE70A-77FD-28DF-45A6-B44582A0B59A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2986088" y="2122489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45B2CB4-4108-4D87-AF1D-C80954AAC9D4}" type="datetime'''''''''''''''''''1''''''''''''''''''1'''''''''''''''''''">
              <a:rPr lang="en-US" altLang="en-US" sz="1000" smtClean="0"/>
              <a:pPr/>
              <a:t>11</a:t>
            </a:fld>
            <a:endParaRPr lang="en-US" sz="1000" dirty="0"/>
          </a:p>
        </p:txBody>
      </p:sp>
      <p:sp>
        <p:nvSpPr>
          <p:cNvPr id="469" name="text">
            <a:extLst>
              <a:ext uri="{FF2B5EF4-FFF2-40B4-BE49-F238E27FC236}">
                <a16:creationId xmlns:a16="http://schemas.microsoft.com/office/drawing/2014/main" id="{5C1B206A-CCE1-5596-2D1A-2D4F46843CF0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3178175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261B0F0-1350-45E5-817C-E87B899581AF}" type="datetime'''''''''''''''''''''1''''''''''2'''''''''''''">
              <a:rPr lang="en-US" altLang="en-US" sz="1000" smtClean="0"/>
              <a:pPr/>
              <a:t>12</a:t>
            </a:fld>
            <a:endParaRPr lang="en-US" sz="1000" dirty="0"/>
          </a:p>
        </p:txBody>
      </p:sp>
      <p:sp>
        <p:nvSpPr>
          <p:cNvPr id="472" name="text">
            <a:extLst>
              <a:ext uri="{FF2B5EF4-FFF2-40B4-BE49-F238E27FC236}">
                <a16:creationId xmlns:a16="http://schemas.microsoft.com/office/drawing/2014/main" id="{B9B4B0D7-14A4-C9D0-C8B9-F0B030662849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3376613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F702AA0-B630-49E4-A60E-31CA08924D99}" type="datetime'''''''''''''1'''''''''''''''''''''''''''''''''''''''''''''''">
              <a:rPr lang="en-US" altLang="en-US" sz="1000" smtClean="0"/>
              <a:pPr/>
              <a:t>1</a:t>
            </a:fld>
            <a:endParaRPr lang="en-US" sz="1000" dirty="0"/>
          </a:p>
        </p:txBody>
      </p:sp>
      <p:sp>
        <p:nvSpPr>
          <p:cNvPr id="474" name="text">
            <a:extLst>
              <a:ext uri="{FF2B5EF4-FFF2-40B4-BE49-F238E27FC236}">
                <a16:creationId xmlns:a16="http://schemas.microsoft.com/office/drawing/2014/main" id="{30E8D3D6-B8D2-A764-5872-1A4E6D411D55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3575050" y="2122488"/>
            <a:ext cx="17780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F63A27C-B2B0-4E3B-9F57-04710E53A2D8}" type="datetime'2'''''''''''''''''''''''''''''''''''''''''''''''''''''''">
              <a:rPr lang="en-US" altLang="en-US" sz="1000" smtClean="0"/>
              <a:pPr/>
              <a:t>2</a:t>
            </a:fld>
            <a:endParaRPr lang="en-US" sz="1000" dirty="0"/>
          </a:p>
        </p:txBody>
      </p:sp>
      <p:sp>
        <p:nvSpPr>
          <p:cNvPr id="475" name="text">
            <a:extLst>
              <a:ext uri="{FF2B5EF4-FFF2-40B4-BE49-F238E27FC236}">
                <a16:creationId xmlns:a16="http://schemas.microsoft.com/office/drawing/2014/main" id="{125268A2-075E-A983-2970-008BE2A67C1D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3752850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16E0D43-444E-4C37-8D9E-A6EA60A4AA86}" type="datetime'''''''''''''''''''''3'''''''''''''''''''''''''''''''">
              <a:rPr lang="en-US" altLang="en-US" sz="1000" smtClean="0"/>
              <a:pPr/>
              <a:t>3</a:t>
            </a:fld>
            <a:endParaRPr lang="en-US" sz="1000" dirty="0"/>
          </a:p>
        </p:txBody>
      </p:sp>
      <p:sp>
        <p:nvSpPr>
          <p:cNvPr id="476" name="text">
            <a:extLst>
              <a:ext uri="{FF2B5EF4-FFF2-40B4-BE49-F238E27FC236}">
                <a16:creationId xmlns:a16="http://schemas.microsoft.com/office/drawing/2014/main" id="{2C252635-F386-03A1-85FD-01C73FF2017D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3951288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51CC9CE-6B89-4724-8F7E-B907E19ADF70}" type="datetime'''''''''''''4'''''''''''''''''''''''''''''''''''''''''''''''''">
              <a:rPr lang="en-US" altLang="en-US" sz="1000" smtClean="0"/>
              <a:pPr/>
              <a:t>4</a:t>
            </a:fld>
            <a:endParaRPr lang="en-US" sz="1000" dirty="0"/>
          </a:p>
        </p:txBody>
      </p:sp>
      <p:sp>
        <p:nvSpPr>
          <p:cNvPr id="477" name="text">
            <a:extLst>
              <a:ext uri="{FF2B5EF4-FFF2-40B4-BE49-F238E27FC236}">
                <a16:creationId xmlns:a16="http://schemas.microsoft.com/office/drawing/2014/main" id="{1585EE85-F3D6-9EED-868C-8667D0BE2A7E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4143375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3A3575F-0B79-4925-9241-6E52B7C864C1}" type="datetime'''''''5'''''''''''''''''''''''">
              <a:rPr lang="en-US" altLang="en-US" sz="1000" smtClean="0"/>
              <a:pPr/>
              <a:t>5</a:t>
            </a:fld>
            <a:endParaRPr lang="en-US" sz="1000" dirty="0"/>
          </a:p>
        </p:txBody>
      </p:sp>
      <p:sp>
        <p:nvSpPr>
          <p:cNvPr id="478" name="text">
            <a:extLst>
              <a:ext uri="{FF2B5EF4-FFF2-40B4-BE49-F238E27FC236}">
                <a16:creationId xmlns:a16="http://schemas.microsoft.com/office/drawing/2014/main" id="{07E0A7CF-535C-3570-605E-82AAF97D067A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4341813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72E5D5F-6973-402A-B6BD-D0EC83125BBF}" type="datetime'''''''''''''6'''''''">
              <a:rPr lang="en-US" altLang="en-US" sz="1000" smtClean="0"/>
              <a:pPr/>
              <a:t>6</a:t>
            </a:fld>
            <a:endParaRPr lang="en-US" sz="1000" dirty="0"/>
          </a:p>
        </p:txBody>
      </p:sp>
      <p:sp>
        <p:nvSpPr>
          <p:cNvPr id="479" name="text">
            <a:extLst>
              <a:ext uri="{FF2B5EF4-FFF2-40B4-BE49-F238E27FC236}">
                <a16:creationId xmlns:a16="http://schemas.microsoft.com/office/drawing/2014/main" id="{AF0365FE-79A7-243E-1E75-DBFA240C47CD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4533900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2609581-7493-4850-869F-2CA03D157510}" type="datetime'''''''''''''''''''''7'''''''''''''''''''''''''''''''''''''''">
              <a:rPr lang="en-US" altLang="en-US" sz="1000" smtClean="0"/>
              <a:pPr/>
              <a:t>7</a:t>
            </a:fld>
            <a:endParaRPr lang="en-US" sz="1000" dirty="0"/>
          </a:p>
        </p:txBody>
      </p:sp>
      <p:sp>
        <p:nvSpPr>
          <p:cNvPr id="480" name="text">
            <a:extLst>
              <a:ext uri="{FF2B5EF4-FFF2-40B4-BE49-F238E27FC236}">
                <a16:creationId xmlns:a16="http://schemas.microsoft.com/office/drawing/2014/main" id="{47E1F779-F994-EED3-BC4D-362BEBACB8C5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4732338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FA5D2F6-FB9F-4E2A-BBA8-3BA824B05D62}" type="datetime'''''''''''''''8'''''''''''''''">
              <a:rPr lang="en-US" altLang="en-US" sz="1000" smtClean="0"/>
              <a:pPr/>
              <a:t>8</a:t>
            </a:fld>
            <a:endParaRPr lang="en-US" sz="1000" dirty="0"/>
          </a:p>
        </p:txBody>
      </p:sp>
      <p:sp>
        <p:nvSpPr>
          <p:cNvPr id="481" name="text">
            <a:extLst>
              <a:ext uri="{FF2B5EF4-FFF2-40B4-BE49-F238E27FC236}">
                <a16:creationId xmlns:a16="http://schemas.microsoft.com/office/drawing/2014/main" id="{F2BE522A-A75C-1AE3-17D7-AA8F4A3B904A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4930775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1435BFF-DFC9-4147-88F1-BCCACEB53CEE}" type="datetime'''''''''''''''''''''''''''''''''''''''''''''9'''''''''">
              <a:rPr lang="en-US" altLang="en-US" sz="1000" smtClean="0"/>
              <a:pPr/>
              <a:t>9</a:t>
            </a:fld>
            <a:endParaRPr lang="en-US" sz="1000" dirty="0"/>
          </a:p>
        </p:txBody>
      </p:sp>
      <p:sp>
        <p:nvSpPr>
          <p:cNvPr id="482" name="text">
            <a:extLst>
              <a:ext uri="{FF2B5EF4-FFF2-40B4-BE49-F238E27FC236}">
                <a16:creationId xmlns:a16="http://schemas.microsoft.com/office/drawing/2014/main" id="{237F5181-6ECF-2E54-D9BD-404C3D67E15A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5122863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BEBA082-6A9D-4C56-B801-2ECB9299D062}" type="datetime'''''''''''''''1''''''''''''''''''''''''0'''''''">
              <a:rPr lang="en-US" altLang="en-US" sz="1000" smtClean="0"/>
              <a:pPr/>
              <a:t>10</a:t>
            </a:fld>
            <a:endParaRPr lang="en-US" sz="1000" dirty="0"/>
          </a:p>
        </p:txBody>
      </p:sp>
      <p:sp>
        <p:nvSpPr>
          <p:cNvPr id="483" name="text">
            <a:extLst>
              <a:ext uri="{FF2B5EF4-FFF2-40B4-BE49-F238E27FC236}">
                <a16:creationId xmlns:a16="http://schemas.microsoft.com/office/drawing/2014/main" id="{C0C145BE-52AD-6395-68F9-DF14CBA561DD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5321300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40A09C1-742D-41F2-9AF0-588921E37397}" type="datetime'''''''''''''1''''''''''''''''''''1'''''''''''">
              <a:rPr lang="en-US" altLang="en-US" sz="1000" smtClean="0"/>
              <a:pPr/>
              <a:t>11</a:t>
            </a:fld>
            <a:endParaRPr lang="en-US" sz="1000" dirty="0"/>
          </a:p>
        </p:txBody>
      </p:sp>
      <p:sp>
        <p:nvSpPr>
          <p:cNvPr id="484" name="text">
            <a:extLst>
              <a:ext uri="{FF2B5EF4-FFF2-40B4-BE49-F238E27FC236}">
                <a16:creationId xmlns:a16="http://schemas.microsoft.com/office/drawing/2014/main" id="{A6E63FED-383C-924F-C441-3EF7CECDF51E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5513388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2F33090-FCF2-430E-B3CE-E17F5CE43FD3}" type="datetime'''''''''''''''''''''''''''''1''2'''''''''''''''''''''''">
              <a:rPr lang="en-US" altLang="en-US" sz="1000" smtClean="0"/>
              <a:pPr/>
              <a:t>12</a:t>
            </a:fld>
            <a:endParaRPr lang="en-US" sz="1000" dirty="0"/>
          </a:p>
        </p:txBody>
      </p:sp>
      <p:sp>
        <p:nvSpPr>
          <p:cNvPr id="527" name="text">
            <a:extLst>
              <a:ext uri="{FF2B5EF4-FFF2-40B4-BE49-F238E27FC236}">
                <a16:creationId xmlns:a16="http://schemas.microsoft.com/office/drawing/2014/main" id="{F6166603-623E-3D64-C1E8-82E1F7C3AE06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5711825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39243F7-6AE0-4F61-8CA2-4AAB42070832}" type="datetime'''''''''''''''''''''''''''''''''''''''''''''''1'">
              <a:rPr lang="en-US" altLang="en-US" sz="1000" smtClean="0"/>
              <a:pPr/>
              <a:t>1</a:t>
            </a:fld>
            <a:endParaRPr lang="en-US" sz="1000" dirty="0"/>
          </a:p>
        </p:txBody>
      </p:sp>
      <p:sp>
        <p:nvSpPr>
          <p:cNvPr id="529" name="text">
            <a:extLst>
              <a:ext uri="{FF2B5EF4-FFF2-40B4-BE49-F238E27FC236}">
                <a16:creationId xmlns:a16="http://schemas.microsoft.com/office/drawing/2014/main" id="{95C101EE-0AF4-0D82-0C17-D7BDE176B4FE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5910263" y="2122488"/>
            <a:ext cx="1793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3028098-8853-47CC-800B-442C74DAD03A}" type="datetime'''''''''''''''2'''''''''''''''''''''''''''''''''''''''">
              <a:rPr lang="en-US" altLang="en-US" sz="1000" smtClean="0"/>
              <a:pPr/>
              <a:t>2</a:t>
            </a:fld>
            <a:endParaRPr lang="en-US" sz="1000" dirty="0"/>
          </a:p>
        </p:txBody>
      </p:sp>
      <p:sp>
        <p:nvSpPr>
          <p:cNvPr id="530" name="text">
            <a:extLst>
              <a:ext uri="{FF2B5EF4-FFF2-40B4-BE49-F238E27FC236}">
                <a16:creationId xmlns:a16="http://schemas.microsoft.com/office/drawing/2014/main" id="{404F73A7-5FB9-1B34-D73D-82E34D3DF9B6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6089650" y="2122488"/>
            <a:ext cx="19685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6A288ED-8393-48D5-8225-CDE47C6C2733}" type="datetime'''''''''''''''''''''''''''''''''''''''''''''''3'">
              <a:rPr lang="en-US" altLang="en-US" sz="1000" smtClean="0"/>
              <a:pPr/>
              <a:t>3</a:t>
            </a:fld>
            <a:endParaRPr lang="en-US" sz="1000" dirty="0"/>
          </a:p>
        </p:txBody>
      </p:sp>
      <p:sp>
        <p:nvSpPr>
          <p:cNvPr id="531" name="text">
            <a:extLst>
              <a:ext uri="{FF2B5EF4-FFF2-40B4-BE49-F238E27FC236}">
                <a16:creationId xmlns:a16="http://schemas.microsoft.com/office/drawing/2014/main" id="{6A1737BF-CEAE-ACD5-F5F2-9A44C19265DF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6286500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81B3CCC-6197-4464-B812-1A074C1A2F89}" type="datetime'''''''''''''''''''''''''''''4'''''''''''''''''''''''''''">
              <a:rPr lang="en-US" altLang="en-US" sz="1000" smtClean="0"/>
              <a:pPr/>
              <a:t>4</a:t>
            </a:fld>
            <a:endParaRPr lang="en-US" sz="1000" dirty="0"/>
          </a:p>
        </p:txBody>
      </p:sp>
      <p:sp>
        <p:nvSpPr>
          <p:cNvPr id="532" name="text">
            <a:extLst>
              <a:ext uri="{FF2B5EF4-FFF2-40B4-BE49-F238E27FC236}">
                <a16:creationId xmlns:a16="http://schemas.microsoft.com/office/drawing/2014/main" id="{BB0B82D3-116A-C323-C762-960905599805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6478588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CDDE179-E239-4421-B10F-CF3454AD001A}" type="datetime'''''''''''''''''''''''''''''5'''''''''''''''''''''">
              <a:rPr lang="en-US" altLang="en-US" sz="1000" smtClean="0"/>
              <a:pPr/>
              <a:t>5</a:t>
            </a:fld>
            <a:endParaRPr lang="en-US" sz="1000" dirty="0"/>
          </a:p>
        </p:txBody>
      </p:sp>
      <p:sp>
        <p:nvSpPr>
          <p:cNvPr id="533" name="text">
            <a:extLst>
              <a:ext uri="{FF2B5EF4-FFF2-40B4-BE49-F238E27FC236}">
                <a16:creationId xmlns:a16="http://schemas.microsoft.com/office/drawing/2014/main" id="{6C6DC2D8-81EB-9CC3-39FA-9711BC69D3D0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6677025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50F0809-1C95-430B-A9B0-C252C67EBF19}" type="datetime'''6'''">
              <a:rPr lang="en-US" altLang="en-US" sz="1000" smtClean="0"/>
              <a:pPr/>
              <a:t>6</a:t>
            </a:fld>
            <a:endParaRPr lang="en-US" sz="1000" dirty="0"/>
          </a:p>
        </p:txBody>
      </p:sp>
      <p:sp>
        <p:nvSpPr>
          <p:cNvPr id="534" name="text">
            <a:extLst>
              <a:ext uri="{FF2B5EF4-FFF2-40B4-BE49-F238E27FC236}">
                <a16:creationId xmlns:a16="http://schemas.microsoft.com/office/drawing/2014/main" id="{6400E34F-99B8-EC39-D4A2-5174EFD22288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6869113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2F3E5B2-CB35-4F03-86FC-208107C55968}" type="datetime'''''''''''7'''''''''''''''''''''''''''''">
              <a:rPr lang="en-US" altLang="en-US" sz="1000" smtClean="0"/>
              <a:pPr/>
              <a:t>7</a:t>
            </a:fld>
            <a:endParaRPr lang="en-US" sz="1000" dirty="0"/>
          </a:p>
        </p:txBody>
      </p:sp>
      <p:sp>
        <p:nvSpPr>
          <p:cNvPr id="535" name="text">
            <a:extLst>
              <a:ext uri="{FF2B5EF4-FFF2-40B4-BE49-F238E27FC236}">
                <a16:creationId xmlns:a16="http://schemas.microsoft.com/office/drawing/2014/main" id="{30DF655A-2237-6EA4-AD41-7BB4B0762EE3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7067550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6C1089A-5839-49A3-ABDF-C285907458E4}" type="datetime'''8'''''''''''''''''''">
              <a:rPr lang="en-US" altLang="en-US" sz="1000" smtClean="0"/>
              <a:pPr/>
              <a:t>8</a:t>
            </a:fld>
            <a:endParaRPr lang="en-US" sz="1000" dirty="0"/>
          </a:p>
        </p:txBody>
      </p:sp>
      <p:sp>
        <p:nvSpPr>
          <p:cNvPr id="536" name="text">
            <a:extLst>
              <a:ext uri="{FF2B5EF4-FFF2-40B4-BE49-F238E27FC236}">
                <a16:creationId xmlns:a16="http://schemas.microsoft.com/office/drawing/2014/main" id="{36DBD585-3CCE-B5C5-AAD0-EB009DE67944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7265988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3B7BF63-A0CC-4B9C-B226-DA542AA6FE5B}" type="datetime'''''''''''''''''''9'''''''''''''''">
              <a:rPr lang="en-US" altLang="en-US" sz="1000" smtClean="0"/>
              <a:pPr/>
              <a:t>9</a:t>
            </a:fld>
            <a:endParaRPr lang="en-US" sz="1000" dirty="0"/>
          </a:p>
        </p:txBody>
      </p:sp>
      <p:sp>
        <p:nvSpPr>
          <p:cNvPr id="537" name="text">
            <a:extLst>
              <a:ext uri="{FF2B5EF4-FFF2-40B4-BE49-F238E27FC236}">
                <a16:creationId xmlns:a16="http://schemas.microsoft.com/office/drawing/2014/main" id="{108E8592-B8AC-2D1D-26BA-5F4C28EFC6B6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7458075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3EB577F-F016-46FF-848C-1D318DB8518A}" type="datetime'''''''''10'''''''''''''''">
              <a:rPr lang="en-US" altLang="en-US" sz="1000" smtClean="0"/>
              <a:pPr/>
              <a:t>10</a:t>
            </a:fld>
            <a:endParaRPr lang="en-US" sz="1000" dirty="0"/>
          </a:p>
        </p:txBody>
      </p:sp>
      <p:sp>
        <p:nvSpPr>
          <p:cNvPr id="538" name="text">
            <a:extLst>
              <a:ext uri="{FF2B5EF4-FFF2-40B4-BE49-F238E27FC236}">
                <a16:creationId xmlns:a16="http://schemas.microsoft.com/office/drawing/2014/main" id="{8CA6100C-4F30-92FD-5D08-BF5F5C36AD17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7656513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D01DA93-0D56-41BF-A4ED-7AE7FB7DCC73}" type="datetime'''''''''''''''''''''''''''''11'''''''''''''">
              <a:rPr lang="en-US" altLang="en-US" sz="1000" smtClean="0"/>
              <a:pPr/>
              <a:t>11</a:t>
            </a:fld>
            <a:endParaRPr lang="en-US" sz="1000" dirty="0"/>
          </a:p>
        </p:txBody>
      </p:sp>
      <p:sp>
        <p:nvSpPr>
          <p:cNvPr id="539" name="text">
            <a:extLst>
              <a:ext uri="{FF2B5EF4-FFF2-40B4-BE49-F238E27FC236}">
                <a16:creationId xmlns:a16="http://schemas.microsoft.com/office/drawing/2014/main" id="{73F7E4DB-39B0-8ADA-3D5E-73DD62D29C11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7848600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AE0D544-F536-4FE0-86BE-460E4CDED38D}" type="datetime'''''''''''''''1''''''''''2'''''''''''''''''''''''''''''''''''">
              <a:rPr lang="en-US" altLang="en-US" sz="1000" smtClean="0"/>
              <a:pPr/>
              <a:t>12</a:t>
            </a:fld>
            <a:endParaRPr lang="en-US" sz="1000" dirty="0"/>
          </a:p>
        </p:txBody>
      </p:sp>
      <p:sp>
        <p:nvSpPr>
          <p:cNvPr id="576" name="text">
            <a:extLst>
              <a:ext uri="{FF2B5EF4-FFF2-40B4-BE49-F238E27FC236}">
                <a16:creationId xmlns:a16="http://schemas.microsoft.com/office/drawing/2014/main" id="{D287FABE-DEF5-FA38-C1E3-FA57052AC6F6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8047038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5313415-F498-4A71-ADED-65660F1F50A3}" type="datetime'''''''1'''''''''''''''''''''''''''''''''''''''''''''''''''">
              <a:rPr lang="en-US" altLang="en-US" sz="1000" smtClean="0"/>
              <a:pPr/>
              <a:t>1</a:t>
            </a:fld>
            <a:endParaRPr lang="en-US" sz="1000" dirty="0"/>
          </a:p>
        </p:txBody>
      </p:sp>
      <p:sp>
        <p:nvSpPr>
          <p:cNvPr id="578" name="text">
            <a:extLst>
              <a:ext uri="{FF2B5EF4-FFF2-40B4-BE49-F238E27FC236}">
                <a16:creationId xmlns:a16="http://schemas.microsoft.com/office/drawing/2014/main" id="{793ACB5C-CB3B-2FB2-A8F5-BB435C359149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8245475" y="2122488"/>
            <a:ext cx="1857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CD8674E-1ED6-4FB9-A882-BAC4751428CB}" type="datetime'''''''''''''''''''''''''''''''''''2'''''">
              <a:rPr lang="en-US" altLang="en-US" sz="1000" smtClean="0"/>
              <a:pPr/>
              <a:t>2</a:t>
            </a:fld>
            <a:endParaRPr lang="en-US" sz="1000" dirty="0"/>
          </a:p>
        </p:txBody>
      </p:sp>
      <p:sp>
        <p:nvSpPr>
          <p:cNvPr id="579" name="text">
            <a:extLst>
              <a:ext uri="{FF2B5EF4-FFF2-40B4-BE49-F238E27FC236}">
                <a16:creationId xmlns:a16="http://schemas.microsoft.com/office/drawing/2014/main" id="{11A9658E-E96B-914B-5B06-0FC71AC4342E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8431213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5200B7D-1976-45B8-8AC3-D675B0BAFF93}" type="datetime'3'''''''''''''">
              <a:rPr lang="en-US" altLang="en-US" sz="1000" smtClean="0"/>
              <a:pPr/>
              <a:t>3</a:t>
            </a:fld>
            <a:endParaRPr lang="en-US" sz="1000" dirty="0"/>
          </a:p>
        </p:txBody>
      </p:sp>
      <p:sp>
        <p:nvSpPr>
          <p:cNvPr id="580" name="text">
            <a:extLst>
              <a:ext uri="{FF2B5EF4-FFF2-40B4-BE49-F238E27FC236}">
                <a16:creationId xmlns:a16="http://schemas.microsoft.com/office/drawing/2014/main" id="{99D32351-12CB-325F-D788-87901B75092C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8629650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49AB53F-F3C8-4BF8-9492-BF2230157088}" type="datetime'''4'''''''''">
              <a:rPr lang="en-US" altLang="en-US" sz="1000" smtClean="0"/>
              <a:pPr/>
              <a:t>4</a:t>
            </a:fld>
            <a:endParaRPr lang="en-US" sz="1000" dirty="0"/>
          </a:p>
        </p:txBody>
      </p:sp>
      <p:sp>
        <p:nvSpPr>
          <p:cNvPr id="581" name="text">
            <a:extLst>
              <a:ext uri="{FF2B5EF4-FFF2-40B4-BE49-F238E27FC236}">
                <a16:creationId xmlns:a16="http://schemas.microsoft.com/office/drawing/2014/main" id="{2BAD6876-B6D9-1812-E5EB-A5B74D8793CC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8821738" y="2122488"/>
            <a:ext cx="19685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F1DF38D-D7DC-45C4-8790-B128A68ADD48}" type="datetime'''''''''''''''''5'''''''''''''''''''''''''''''''''''''''''''''">
              <a:rPr lang="en-US" altLang="en-US" sz="1000" smtClean="0"/>
              <a:pPr/>
              <a:t>5</a:t>
            </a:fld>
            <a:endParaRPr lang="en-US" sz="1000" dirty="0"/>
          </a:p>
        </p:txBody>
      </p:sp>
      <p:sp>
        <p:nvSpPr>
          <p:cNvPr id="582" name="text">
            <a:extLst>
              <a:ext uri="{FF2B5EF4-FFF2-40B4-BE49-F238E27FC236}">
                <a16:creationId xmlns:a16="http://schemas.microsoft.com/office/drawing/2014/main" id="{B9D4FB34-90C7-CEC4-80A3-4D6FC5B81D7C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9018588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4653903-5964-4CA5-B88A-F736D0970A98}" type="datetime'''6'''''''''''''''''''''''''">
              <a:rPr lang="en-US" altLang="en-US" sz="1000" smtClean="0"/>
              <a:pPr/>
              <a:t>6</a:t>
            </a:fld>
            <a:endParaRPr lang="en-US" sz="1000" dirty="0"/>
          </a:p>
        </p:txBody>
      </p:sp>
      <p:sp>
        <p:nvSpPr>
          <p:cNvPr id="583" name="text">
            <a:extLst>
              <a:ext uri="{FF2B5EF4-FFF2-40B4-BE49-F238E27FC236}">
                <a16:creationId xmlns:a16="http://schemas.microsoft.com/office/drawing/2014/main" id="{984E499A-17CC-5E36-F140-DA516B4FE7C5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9210675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D208629-1994-415C-A962-3973D4DF1CB5}" type="datetime'7'''''''''''''">
              <a:rPr lang="en-US" altLang="en-US" sz="1000" smtClean="0"/>
              <a:pPr/>
              <a:t>7</a:t>
            </a:fld>
            <a:endParaRPr lang="en-US" sz="1000" dirty="0"/>
          </a:p>
        </p:txBody>
      </p:sp>
      <p:sp>
        <p:nvSpPr>
          <p:cNvPr id="584" name="text">
            <a:extLst>
              <a:ext uri="{FF2B5EF4-FFF2-40B4-BE49-F238E27FC236}">
                <a16:creationId xmlns:a16="http://schemas.microsoft.com/office/drawing/2014/main" id="{19294860-E6F1-6BC3-5E5A-435787624F93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9409113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18CC8A2-C79B-41B3-8425-8457BED6E4AC}" type="datetime'''''''''''''''''''''8'''''''''''''''''''''''''''''''''''''''''">
              <a:rPr lang="en-US" altLang="en-US" sz="1000" smtClean="0"/>
              <a:pPr/>
              <a:t>8</a:t>
            </a:fld>
            <a:endParaRPr lang="en-US" sz="1000" dirty="0"/>
          </a:p>
        </p:txBody>
      </p:sp>
      <p:sp>
        <p:nvSpPr>
          <p:cNvPr id="585" name="text">
            <a:extLst>
              <a:ext uri="{FF2B5EF4-FFF2-40B4-BE49-F238E27FC236}">
                <a16:creationId xmlns:a16="http://schemas.microsoft.com/office/drawing/2014/main" id="{C0E1E9E5-7D98-B83A-EFAF-F5D746ED10ED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9607550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A9959FA-E362-46B8-89DD-389AFEC0B216}" type="datetime'''9'''''''''''''''''''''''''''''''''''''''''''''''''''''''''''">
              <a:rPr lang="en-US" altLang="en-US" sz="1000" smtClean="0"/>
              <a:pPr/>
              <a:t>9</a:t>
            </a:fld>
            <a:endParaRPr lang="en-US" sz="1000" dirty="0"/>
          </a:p>
        </p:txBody>
      </p:sp>
      <p:sp>
        <p:nvSpPr>
          <p:cNvPr id="586" name="text">
            <a:extLst>
              <a:ext uri="{FF2B5EF4-FFF2-40B4-BE49-F238E27FC236}">
                <a16:creationId xmlns:a16="http://schemas.microsoft.com/office/drawing/2014/main" id="{BAF21BFF-2171-117B-0ACC-38E3BEB840A1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9799638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BDBEAC4-880F-4D2E-AB72-CE436A02E152}" type="datetime'1''''''''''''''''''''''''''''''0'">
              <a:rPr lang="en-US" altLang="en-US" sz="1000" smtClean="0"/>
              <a:pPr/>
              <a:t>10</a:t>
            </a:fld>
            <a:endParaRPr lang="en-US" sz="1000" dirty="0"/>
          </a:p>
        </p:txBody>
      </p:sp>
      <p:sp>
        <p:nvSpPr>
          <p:cNvPr id="587" name="text">
            <a:extLst>
              <a:ext uri="{FF2B5EF4-FFF2-40B4-BE49-F238E27FC236}">
                <a16:creationId xmlns:a16="http://schemas.microsoft.com/office/drawing/2014/main" id="{FC31DBEC-CABC-199B-57E9-25C217D2E699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9998075" y="2122488"/>
            <a:ext cx="1920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2EBA5AF-28B9-4446-8439-B9A7440702A9}" type="datetime'''''''''''''''''''''''''''''''''''''''''''11'''''''''''''''''">
              <a:rPr lang="en-US" altLang="en-US" sz="1000" smtClean="0"/>
              <a:pPr/>
              <a:t>11</a:t>
            </a:fld>
            <a:endParaRPr lang="en-US" sz="1000" dirty="0"/>
          </a:p>
        </p:txBody>
      </p:sp>
      <p:sp>
        <p:nvSpPr>
          <p:cNvPr id="588" name="text">
            <a:extLst>
              <a:ext uri="{FF2B5EF4-FFF2-40B4-BE49-F238E27FC236}">
                <a16:creationId xmlns:a16="http://schemas.microsoft.com/office/drawing/2014/main" id="{D83B08AE-9A56-44A9-36DE-9CDDA12708EE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10190163" y="2122488"/>
            <a:ext cx="1984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1EECCD8-AE7E-4553-9A4B-DDAC62665DE4}" type="datetime'''1''''''''''''''''''2'">
              <a:rPr lang="en-US" altLang="en-US" sz="1000" smtClean="0"/>
              <a:pPr/>
              <a:t>12</a:t>
            </a:fld>
            <a:endParaRPr lang="en-US" sz="1000" dirty="0"/>
          </a:p>
        </p:txBody>
      </p:sp>
      <p:cxnSp>
        <p:nvCxnSpPr>
          <p:cNvPr id="507" name="Gerader Verbinder 506">
            <a:extLst>
              <a:ext uri="{FF2B5EF4-FFF2-40B4-BE49-F238E27FC236}">
                <a16:creationId xmlns:a16="http://schemas.microsoft.com/office/drawing/2014/main" id="{63B84ACC-27EB-3B27-59DF-AB11EF542B20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>
            <a:off x="8047038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1" name="Gerader Verbinder 420">
            <a:extLst>
              <a:ext uri="{FF2B5EF4-FFF2-40B4-BE49-F238E27FC236}">
                <a16:creationId xmlns:a16="http://schemas.microsoft.com/office/drawing/2014/main" id="{C0BAB23B-C7E8-C2C7-7963-7136C4906EC6}"/>
              </a:ext>
            </a:extLst>
          </p:cNvPr>
          <p:cNvCxnSpPr/>
          <p:nvPr>
            <p:custDataLst>
              <p:tags r:id="rId67"/>
            </p:custDataLst>
          </p:nvPr>
        </p:nvCxnSpPr>
        <p:spPr bwMode="auto">
          <a:xfrm>
            <a:off x="5711825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B7523415-38BC-A4CE-5427-6E36F0CBDBB0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>
            <a:off x="2198688" y="2309812"/>
            <a:ext cx="0" cy="33337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CFA58283-3F96-5953-EC8C-DAF86D449656}"/>
              </a:ext>
            </a:extLst>
          </p:cNvPr>
          <p:cNvCxnSpPr/>
          <p:nvPr>
            <p:custDataLst>
              <p:tags r:id="rId69"/>
            </p:custDataLst>
          </p:nvPr>
        </p:nvCxnSpPr>
        <p:spPr bwMode="auto">
          <a:xfrm>
            <a:off x="10388600" y="2309812"/>
            <a:ext cx="0" cy="33337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Gerader Verbinder 62">
            <a:extLst>
              <a:ext uri="{FF2B5EF4-FFF2-40B4-BE49-F238E27FC236}">
                <a16:creationId xmlns:a16="http://schemas.microsoft.com/office/drawing/2014/main" id="{40BDF867-1423-10C6-036D-4C2A0DD78C14}"/>
              </a:ext>
            </a:extLst>
          </p:cNvPr>
          <p:cNvCxnSpPr/>
          <p:nvPr>
            <p:custDataLst>
              <p:tags r:id="rId70"/>
            </p:custDataLst>
          </p:nvPr>
        </p:nvCxnSpPr>
        <p:spPr bwMode="auto">
          <a:xfrm>
            <a:off x="525463" y="2309812"/>
            <a:ext cx="0" cy="33337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Gerader Verbinder 72">
            <a:extLst>
              <a:ext uri="{FF2B5EF4-FFF2-40B4-BE49-F238E27FC236}">
                <a16:creationId xmlns:a16="http://schemas.microsoft.com/office/drawing/2014/main" id="{9FFB6E79-66A1-D29A-7F0C-168CBD3CD11F}"/>
              </a:ext>
            </a:extLst>
          </p:cNvPr>
          <p:cNvCxnSpPr/>
          <p:nvPr>
            <p:custDataLst>
              <p:tags r:id="rId71"/>
            </p:custDataLst>
          </p:nvPr>
        </p:nvCxnSpPr>
        <p:spPr bwMode="auto">
          <a:xfrm>
            <a:off x="11663363" y="2309812"/>
            <a:ext cx="0" cy="33337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0" name="Gerader Verbinder 419">
            <a:extLst>
              <a:ext uri="{FF2B5EF4-FFF2-40B4-BE49-F238E27FC236}">
                <a16:creationId xmlns:a16="http://schemas.microsoft.com/office/drawing/2014/main" id="{BDFFC765-08D5-60D8-DFBF-50D667BB6D26}"/>
              </a:ext>
            </a:extLst>
          </p:cNvPr>
          <p:cNvCxnSpPr/>
          <p:nvPr>
            <p:custDataLst>
              <p:tags r:id="rId72"/>
            </p:custDataLst>
          </p:nvPr>
        </p:nvCxnSpPr>
        <p:spPr bwMode="auto">
          <a:xfrm>
            <a:off x="3376613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2" name="Gerader Verbinder 411">
            <a:extLst>
              <a:ext uri="{FF2B5EF4-FFF2-40B4-BE49-F238E27FC236}">
                <a16:creationId xmlns:a16="http://schemas.microsoft.com/office/drawing/2014/main" id="{D1ECE5DC-3549-659C-1A98-BAD998874FD4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>
            <a:off x="6286500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3" name="Gerader Verbinder 412">
            <a:extLst>
              <a:ext uri="{FF2B5EF4-FFF2-40B4-BE49-F238E27FC236}">
                <a16:creationId xmlns:a16="http://schemas.microsoft.com/office/drawing/2014/main" id="{B0656D53-7C37-D3A8-8674-007A4EF26666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>
            <a:off x="6869113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9" name="Gerader Verbinder 438">
            <a:extLst>
              <a:ext uri="{FF2B5EF4-FFF2-40B4-BE49-F238E27FC236}">
                <a16:creationId xmlns:a16="http://schemas.microsoft.com/office/drawing/2014/main" id="{32A801C3-CC4C-55A4-99C6-80C9244262B4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>
            <a:off x="8629650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0" name="Gerader Verbinder 439">
            <a:extLst>
              <a:ext uri="{FF2B5EF4-FFF2-40B4-BE49-F238E27FC236}">
                <a16:creationId xmlns:a16="http://schemas.microsoft.com/office/drawing/2014/main" id="{C1EEEA27-6794-5DB3-D642-185DF2387F0F}"/>
              </a:ext>
            </a:extLst>
          </p:cNvPr>
          <p:cNvCxnSpPr/>
          <p:nvPr>
            <p:custDataLst>
              <p:tags r:id="rId76"/>
            </p:custDataLst>
          </p:nvPr>
        </p:nvCxnSpPr>
        <p:spPr bwMode="auto">
          <a:xfrm>
            <a:off x="9210675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1" name="Gerader Verbinder 410">
            <a:extLst>
              <a:ext uri="{FF2B5EF4-FFF2-40B4-BE49-F238E27FC236}">
                <a16:creationId xmlns:a16="http://schemas.microsoft.com/office/drawing/2014/main" id="{84C4D4C1-5ECD-B247-618B-B4183357B819}"/>
              </a:ext>
            </a:extLst>
          </p:cNvPr>
          <p:cNvCxnSpPr/>
          <p:nvPr>
            <p:custDataLst>
              <p:tags r:id="rId77"/>
            </p:custDataLst>
          </p:nvPr>
        </p:nvCxnSpPr>
        <p:spPr bwMode="auto">
          <a:xfrm>
            <a:off x="5122863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8" name="Gerader Verbinder 437">
            <a:extLst>
              <a:ext uri="{FF2B5EF4-FFF2-40B4-BE49-F238E27FC236}">
                <a16:creationId xmlns:a16="http://schemas.microsoft.com/office/drawing/2014/main" id="{5F30DD68-5C2F-14B8-73B0-63263FF29158}"/>
              </a:ext>
            </a:extLst>
          </p:cNvPr>
          <p:cNvCxnSpPr/>
          <p:nvPr>
            <p:custDataLst>
              <p:tags r:id="rId78"/>
            </p:custDataLst>
          </p:nvPr>
        </p:nvCxnSpPr>
        <p:spPr bwMode="auto">
          <a:xfrm>
            <a:off x="7458075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0" name="Gerader Verbinder 409">
            <a:extLst>
              <a:ext uri="{FF2B5EF4-FFF2-40B4-BE49-F238E27FC236}">
                <a16:creationId xmlns:a16="http://schemas.microsoft.com/office/drawing/2014/main" id="{B7E76F96-4B06-26D5-1DFF-263B59E54B46}"/>
              </a:ext>
            </a:extLst>
          </p:cNvPr>
          <p:cNvCxnSpPr/>
          <p:nvPr>
            <p:custDataLst>
              <p:tags r:id="rId79"/>
            </p:custDataLst>
          </p:nvPr>
        </p:nvCxnSpPr>
        <p:spPr bwMode="auto">
          <a:xfrm>
            <a:off x="4533900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9" name="Gerader Verbinder 508">
            <a:extLst>
              <a:ext uri="{FF2B5EF4-FFF2-40B4-BE49-F238E27FC236}">
                <a16:creationId xmlns:a16="http://schemas.microsoft.com/office/drawing/2014/main" id="{769A8A16-76F0-4007-2F7E-4C841E31A904}"/>
              </a:ext>
            </a:extLst>
          </p:cNvPr>
          <p:cNvCxnSpPr/>
          <p:nvPr>
            <p:custDataLst>
              <p:tags r:id="rId80"/>
            </p:custDataLst>
          </p:nvPr>
        </p:nvCxnSpPr>
        <p:spPr bwMode="auto">
          <a:xfrm>
            <a:off x="9799638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9" name="Gerader Verbinder 408">
            <a:extLst>
              <a:ext uri="{FF2B5EF4-FFF2-40B4-BE49-F238E27FC236}">
                <a16:creationId xmlns:a16="http://schemas.microsoft.com/office/drawing/2014/main" id="{D633F542-6EBC-E29C-A951-F789F3BAA4AE}"/>
              </a:ext>
            </a:extLst>
          </p:cNvPr>
          <p:cNvCxnSpPr/>
          <p:nvPr>
            <p:custDataLst>
              <p:tags r:id="rId81"/>
            </p:custDataLst>
          </p:nvPr>
        </p:nvCxnSpPr>
        <p:spPr bwMode="auto">
          <a:xfrm>
            <a:off x="3951288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8" name="Gerader Verbinder 407">
            <a:extLst>
              <a:ext uri="{FF2B5EF4-FFF2-40B4-BE49-F238E27FC236}">
                <a16:creationId xmlns:a16="http://schemas.microsoft.com/office/drawing/2014/main" id="{53BF2AF8-D9EF-6368-91C5-61F174AF9E7D}"/>
              </a:ext>
            </a:extLst>
          </p:cNvPr>
          <p:cNvCxnSpPr/>
          <p:nvPr>
            <p:custDataLst>
              <p:tags r:id="rId82"/>
            </p:custDataLst>
          </p:nvPr>
        </p:nvCxnSpPr>
        <p:spPr bwMode="auto">
          <a:xfrm>
            <a:off x="2787650" y="2309812"/>
            <a:ext cx="0" cy="3333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3" name="Gerader Verbinder 462">
            <a:extLst>
              <a:ext uri="{FF2B5EF4-FFF2-40B4-BE49-F238E27FC236}">
                <a16:creationId xmlns:a16="http://schemas.microsoft.com/office/drawing/2014/main" id="{EB279AB0-2EFC-2F91-8A09-765B32A7FD38}"/>
              </a:ext>
            </a:extLst>
          </p:cNvPr>
          <p:cNvCxnSpPr/>
          <p:nvPr>
            <p:custDataLst>
              <p:tags r:id="rId83"/>
            </p:custDataLst>
          </p:nvPr>
        </p:nvCxnSpPr>
        <p:spPr bwMode="auto">
          <a:xfrm>
            <a:off x="525463" y="3421063"/>
            <a:ext cx="111379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4" name="Gerader Verbinder 463">
            <a:extLst>
              <a:ext uri="{FF2B5EF4-FFF2-40B4-BE49-F238E27FC236}">
                <a16:creationId xmlns:a16="http://schemas.microsoft.com/office/drawing/2014/main" id="{90CC9CD5-A48F-E1B9-6838-7BBE08EFCFEA}"/>
              </a:ext>
            </a:extLst>
          </p:cNvPr>
          <p:cNvCxnSpPr/>
          <p:nvPr>
            <p:custDataLst>
              <p:tags r:id="rId84"/>
            </p:custDataLst>
          </p:nvPr>
        </p:nvCxnSpPr>
        <p:spPr bwMode="auto">
          <a:xfrm>
            <a:off x="525463" y="5073650"/>
            <a:ext cx="111379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4661375B-C32E-4028-3FC2-4A85CDA96A73}"/>
              </a:ext>
            </a:extLst>
          </p:cNvPr>
          <p:cNvCxnSpPr/>
          <p:nvPr>
            <p:custDataLst>
              <p:tags r:id="rId85"/>
            </p:custDataLst>
          </p:nvPr>
        </p:nvCxnSpPr>
        <p:spPr bwMode="auto">
          <a:xfrm>
            <a:off x="525463" y="5643563"/>
            <a:ext cx="111379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CE42B0E3-0314-C057-4D0F-B149720B5374}"/>
              </a:ext>
            </a:extLst>
          </p:cNvPr>
          <p:cNvCxnSpPr/>
          <p:nvPr>
            <p:custDataLst>
              <p:tags r:id="rId86"/>
            </p:custDataLst>
          </p:nvPr>
        </p:nvCxnSpPr>
        <p:spPr bwMode="auto">
          <a:xfrm>
            <a:off x="2730500" y="2309813"/>
            <a:ext cx="0" cy="34972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FE737B1-14E9-8227-052F-64BCA2DDF9D6}"/>
              </a:ext>
            </a:extLst>
          </p:cNvPr>
          <p:cNvCxnSpPr/>
          <p:nvPr>
            <p:custDataLst>
              <p:tags r:id="rId87"/>
            </p:custDataLst>
          </p:nvPr>
        </p:nvCxnSpPr>
        <p:spPr bwMode="auto">
          <a:xfrm>
            <a:off x="525463" y="2309813"/>
            <a:ext cx="111379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64F08997-D984-E5CD-A09F-1610C86F5747}"/>
              </a:ext>
            </a:extLst>
          </p:cNvPr>
          <p:cNvSpPr/>
          <p:nvPr>
            <p:custDataLst>
              <p:tags r:id="rId88"/>
            </p:custDataLst>
          </p:nvPr>
        </p:nvSpPr>
        <p:spPr bwMode="auto">
          <a:xfrm>
            <a:off x="3714750" y="2401888"/>
            <a:ext cx="301625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FAEC7CD5-9393-D9F4-5BEA-9FDD6CC7AE4C}"/>
              </a:ext>
            </a:extLst>
          </p:cNvPr>
          <p:cNvSpPr/>
          <p:nvPr>
            <p:custDataLst>
              <p:tags r:id="rId89"/>
            </p:custDataLst>
          </p:nvPr>
        </p:nvSpPr>
        <p:spPr bwMode="auto">
          <a:xfrm>
            <a:off x="5059364" y="3214688"/>
            <a:ext cx="568325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70" name="Rechteck 469">
            <a:extLst>
              <a:ext uri="{FF2B5EF4-FFF2-40B4-BE49-F238E27FC236}">
                <a16:creationId xmlns:a16="http://schemas.microsoft.com/office/drawing/2014/main" id="{F43BDC65-A87C-FEDD-A2CE-8FAF86F1BEA4}"/>
              </a:ext>
            </a:extLst>
          </p:cNvPr>
          <p:cNvSpPr/>
          <p:nvPr>
            <p:custDataLst>
              <p:tags r:id="rId90"/>
            </p:custDataLst>
          </p:nvPr>
        </p:nvSpPr>
        <p:spPr bwMode="auto">
          <a:xfrm>
            <a:off x="6402388" y="4867275"/>
            <a:ext cx="122238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68" name="Rechteck 467">
            <a:extLst>
              <a:ext uri="{FF2B5EF4-FFF2-40B4-BE49-F238E27FC236}">
                <a16:creationId xmlns:a16="http://schemas.microsoft.com/office/drawing/2014/main" id="{03A876D0-463E-1721-C63A-632D05B8ACBA}"/>
              </a:ext>
            </a:extLst>
          </p:cNvPr>
          <p:cNvSpPr/>
          <p:nvPr>
            <p:custDataLst>
              <p:tags r:id="rId91"/>
            </p:custDataLst>
          </p:nvPr>
        </p:nvSpPr>
        <p:spPr bwMode="auto">
          <a:xfrm>
            <a:off x="6267450" y="4595813"/>
            <a:ext cx="166688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73" name="Rechteck 472">
            <a:extLst>
              <a:ext uri="{FF2B5EF4-FFF2-40B4-BE49-F238E27FC236}">
                <a16:creationId xmlns:a16="http://schemas.microsoft.com/office/drawing/2014/main" id="{DE2A3FC9-130A-32EA-F956-8BD9A6966475}"/>
              </a:ext>
            </a:extLst>
          </p:cNvPr>
          <p:cNvSpPr/>
          <p:nvPr>
            <p:custDataLst>
              <p:tags r:id="rId92"/>
            </p:custDataLst>
          </p:nvPr>
        </p:nvSpPr>
        <p:spPr bwMode="auto">
          <a:xfrm>
            <a:off x="6134100" y="4325938"/>
            <a:ext cx="166688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85" name="Rechteck 484">
            <a:extLst>
              <a:ext uri="{FF2B5EF4-FFF2-40B4-BE49-F238E27FC236}">
                <a16:creationId xmlns:a16="http://schemas.microsoft.com/office/drawing/2014/main" id="{A72970CC-E378-BB71-8FB3-7579AA36A89F}"/>
              </a:ext>
            </a:extLst>
          </p:cNvPr>
          <p:cNvSpPr/>
          <p:nvPr>
            <p:custDataLst>
              <p:tags r:id="rId93"/>
            </p:custDataLst>
          </p:nvPr>
        </p:nvSpPr>
        <p:spPr bwMode="auto">
          <a:xfrm>
            <a:off x="5595938" y="3513138"/>
            <a:ext cx="301625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62" name="Rechteck 461">
            <a:extLst>
              <a:ext uri="{FF2B5EF4-FFF2-40B4-BE49-F238E27FC236}">
                <a16:creationId xmlns:a16="http://schemas.microsoft.com/office/drawing/2014/main" id="{96A14037-20B0-ED12-FE62-2ECF842EC761}"/>
              </a:ext>
            </a:extLst>
          </p:cNvPr>
          <p:cNvSpPr/>
          <p:nvPr>
            <p:custDataLst>
              <p:tags r:id="rId94"/>
            </p:custDataLst>
          </p:nvPr>
        </p:nvSpPr>
        <p:spPr bwMode="auto">
          <a:xfrm>
            <a:off x="5864225" y="3784600"/>
            <a:ext cx="166688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51" name="Rechteck 450">
            <a:extLst>
              <a:ext uri="{FF2B5EF4-FFF2-40B4-BE49-F238E27FC236}">
                <a16:creationId xmlns:a16="http://schemas.microsoft.com/office/drawing/2014/main" id="{D81CFF29-9AF5-6B38-B963-2A3ACAE3A48D}"/>
              </a:ext>
            </a:extLst>
          </p:cNvPr>
          <p:cNvSpPr/>
          <p:nvPr>
            <p:custDataLst>
              <p:tags r:id="rId95"/>
            </p:custDataLst>
          </p:nvPr>
        </p:nvSpPr>
        <p:spPr bwMode="auto">
          <a:xfrm>
            <a:off x="6030913" y="4054475"/>
            <a:ext cx="134938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56811467-3182-AA6D-72C3-B974BD04F0AE}"/>
              </a:ext>
            </a:extLst>
          </p:cNvPr>
          <p:cNvSpPr/>
          <p:nvPr>
            <p:custDataLst>
              <p:tags r:id="rId96"/>
            </p:custDataLst>
          </p:nvPr>
        </p:nvSpPr>
        <p:spPr bwMode="auto">
          <a:xfrm>
            <a:off x="3984626" y="2673350"/>
            <a:ext cx="568325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F6D4F5C-41E9-D8DA-299C-61A7655256A5}"/>
              </a:ext>
            </a:extLst>
          </p:cNvPr>
          <p:cNvSpPr/>
          <p:nvPr>
            <p:custDataLst>
              <p:tags r:id="rId97"/>
            </p:custDataLst>
          </p:nvPr>
        </p:nvSpPr>
        <p:spPr bwMode="auto">
          <a:xfrm>
            <a:off x="4521201" y="2943225"/>
            <a:ext cx="569913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48" name="Rechteck 447">
            <a:extLst>
              <a:ext uri="{FF2B5EF4-FFF2-40B4-BE49-F238E27FC236}">
                <a16:creationId xmlns:a16="http://schemas.microsoft.com/office/drawing/2014/main" id="{9CC048F3-292F-D5D7-69DF-8FC9471777C6}"/>
              </a:ext>
            </a:extLst>
          </p:cNvPr>
          <p:cNvSpPr/>
          <p:nvPr>
            <p:custDataLst>
              <p:tags r:id="rId98"/>
            </p:custDataLst>
          </p:nvPr>
        </p:nvSpPr>
        <p:spPr bwMode="auto">
          <a:xfrm>
            <a:off x="6505575" y="5165725"/>
            <a:ext cx="1349375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49" name="Rechteck 448">
            <a:extLst>
              <a:ext uri="{FF2B5EF4-FFF2-40B4-BE49-F238E27FC236}">
                <a16:creationId xmlns:a16="http://schemas.microsoft.com/office/drawing/2014/main" id="{8667EB2E-0DE7-43EB-8CDD-B5F9E195FA1C}"/>
              </a:ext>
            </a:extLst>
          </p:cNvPr>
          <p:cNvSpPr/>
          <p:nvPr>
            <p:custDataLst>
              <p:tags r:id="rId99"/>
            </p:custDataLst>
          </p:nvPr>
        </p:nvSpPr>
        <p:spPr bwMode="auto">
          <a:xfrm>
            <a:off x="7899400" y="5437188"/>
            <a:ext cx="1133475" cy="98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26" name="Pfeil: nach links 25">
            <a:extLst>
              <a:ext uri="{FF2B5EF4-FFF2-40B4-BE49-F238E27FC236}">
                <a16:creationId xmlns:a16="http://schemas.microsoft.com/office/drawing/2014/main" id="{1868432B-329C-CED0-C34F-510CBB208B31}"/>
              </a:ext>
            </a:extLst>
          </p:cNvPr>
          <p:cNvSpPr/>
          <p:nvPr>
            <p:custDataLst>
              <p:tags r:id="rId100"/>
            </p:custDataLst>
          </p:nvPr>
        </p:nvSpPr>
        <p:spPr bwMode="auto">
          <a:xfrm>
            <a:off x="2082800" y="2643187"/>
            <a:ext cx="1901825" cy="158750"/>
          </a:xfrm>
          <a:prstGeom prst="leftArrow">
            <a:avLst>
              <a:gd name="adj1" fmla="val 50000"/>
              <a:gd name="adj2" fmla="val 40660"/>
            </a:avLst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BA19B102-3008-6F89-5D66-B92D2AE0C40E}"/>
              </a:ext>
            </a:extLst>
          </p:cNvPr>
          <p:cNvSpPr/>
          <p:nvPr>
            <p:custDataLst>
              <p:tags r:id="rId101"/>
            </p:custDataLst>
          </p:nvPr>
        </p:nvSpPr>
        <p:spPr bwMode="auto">
          <a:xfrm>
            <a:off x="3465513" y="2952750"/>
            <a:ext cx="1055688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D02DF2C-9817-1B3B-3802-07950B0E27EE}"/>
              </a:ext>
            </a:extLst>
          </p:cNvPr>
          <p:cNvSpPr/>
          <p:nvPr>
            <p:custDataLst>
              <p:tags r:id="rId102"/>
            </p:custDataLst>
          </p:nvPr>
        </p:nvSpPr>
        <p:spPr bwMode="auto">
          <a:xfrm>
            <a:off x="4527551" y="3224213"/>
            <a:ext cx="531813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53" name="Rechteck 452">
            <a:extLst>
              <a:ext uri="{FF2B5EF4-FFF2-40B4-BE49-F238E27FC236}">
                <a16:creationId xmlns:a16="http://schemas.microsoft.com/office/drawing/2014/main" id="{E1B11B4E-8AB1-7755-A4A0-8AEA9E2FAE2C}"/>
              </a:ext>
            </a:extLst>
          </p:cNvPr>
          <p:cNvSpPr/>
          <p:nvPr>
            <p:custDataLst>
              <p:tags r:id="rId103"/>
            </p:custDataLst>
          </p:nvPr>
        </p:nvSpPr>
        <p:spPr bwMode="auto">
          <a:xfrm>
            <a:off x="5781676" y="4335463"/>
            <a:ext cx="352425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5EDF89E4-EE31-3025-1728-B27003B94BC7}"/>
              </a:ext>
            </a:extLst>
          </p:cNvPr>
          <p:cNvSpPr/>
          <p:nvPr>
            <p:custDataLst>
              <p:tags r:id="rId104"/>
            </p:custDataLst>
          </p:nvPr>
        </p:nvSpPr>
        <p:spPr bwMode="auto">
          <a:xfrm>
            <a:off x="2973388" y="2411413"/>
            <a:ext cx="741363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DA25681E-CE12-33F6-27DB-621AAFC47700}"/>
              </a:ext>
            </a:extLst>
          </p:cNvPr>
          <p:cNvSpPr/>
          <p:nvPr>
            <p:custDataLst>
              <p:tags r:id="rId105"/>
            </p:custDataLst>
          </p:nvPr>
        </p:nvSpPr>
        <p:spPr bwMode="auto">
          <a:xfrm>
            <a:off x="4886326" y="3522663"/>
            <a:ext cx="709613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AEE712A-4F1A-D74A-DCEC-30EAE3FCC8B7}"/>
              </a:ext>
            </a:extLst>
          </p:cNvPr>
          <p:cNvSpPr/>
          <p:nvPr>
            <p:custDataLst>
              <p:tags r:id="rId106"/>
            </p:custDataLst>
          </p:nvPr>
        </p:nvSpPr>
        <p:spPr bwMode="auto">
          <a:xfrm>
            <a:off x="5245100" y="3794125"/>
            <a:ext cx="619125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08A9D880-6F5A-49B1-815A-255850612876}"/>
              </a:ext>
            </a:extLst>
          </p:cNvPr>
          <p:cNvSpPr/>
          <p:nvPr>
            <p:custDataLst>
              <p:tags r:id="rId107"/>
            </p:custDataLst>
          </p:nvPr>
        </p:nvSpPr>
        <p:spPr bwMode="auto">
          <a:xfrm>
            <a:off x="5422900" y="4064000"/>
            <a:ext cx="608013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F68744ED-751D-B7DC-6A3F-536C7AA7CA29}"/>
              </a:ext>
            </a:extLst>
          </p:cNvPr>
          <p:cNvSpPr/>
          <p:nvPr>
            <p:custDataLst>
              <p:tags r:id="rId108"/>
            </p:custDataLst>
          </p:nvPr>
        </p:nvSpPr>
        <p:spPr bwMode="auto">
          <a:xfrm>
            <a:off x="5781675" y="4605338"/>
            <a:ext cx="485775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52" name="Rechteck 451">
            <a:extLst>
              <a:ext uri="{FF2B5EF4-FFF2-40B4-BE49-F238E27FC236}">
                <a16:creationId xmlns:a16="http://schemas.microsoft.com/office/drawing/2014/main" id="{1774EF3A-A398-3A24-B395-A776CBF9DB81}"/>
              </a:ext>
            </a:extLst>
          </p:cNvPr>
          <p:cNvSpPr/>
          <p:nvPr>
            <p:custDataLst>
              <p:tags r:id="rId109"/>
            </p:custDataLst>
          </p:nvPr>
        </p:nvSpPr>
        <p:spPr bwMode="auto">
          <a:xfrm>
            <a:off x="5961064" y="4876800"/>
            <a:ext cx="441325" cy="7937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3" name="Raute 522">
            <a:extLst>
              <a:ext uri="{FF2B5EF4-FFF2-40B4-BE49-F238E27FC236}">
                <a16:creationId xmlns:a16="http://schemas.microsoft.com/office/drawing/2014/main" id="{10ECB87B-7B36-9397-BCD9-B0B8862803E7}"/>
              </a:ext>
            </a:extLst>
          </p:cNvPr>
          <p:cNvSpPr/>
          <p:nvPr>
            <p:custDataLst>
              <p:tags r:id="rId110"/>
            </p:custDataLst>
          </p:nvPr>
        </p:nvSpPr>
        <p:spPr bwMode="gray">
          <a:xfrm>
            <a:off x="4470400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5" name="Raute 574">
            <a:extLst>
              <a:ext uri="{FF2B5EF4-FFF2-40B4-BE49-F238E27FC236}">
                <a16:creationId xmlns:a16="http://schemas.microsoft.com/office/drawing/2014/main" id="{141498A5-37D7-F0EA-5D60-5316DB274A7F}"/>
              </a:ext>
            </a:extLst>
          </p:cNvPr>
          <p:cNvSpPr/>
          <p:nvPr>
            <p:custDataLst>
              <p:tags r:id="rId111"/>
            </p:custDataLst>
          </p:nvPr>
        </p:nvSpPr>
        <p:spPr bwMode="gray">
          <a:xfrm>
            <a:off x="8834438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2" name="Raute 521">
            <a:extLst>
              <a:ext uri="{FF2B5EF4-FFF2-40B4-BE49-F238E27FC236}">
                <a16:creationId xmlns:a16="http://schemas.microsoft.com/office/drawing/2014/main" id="{DA0FC661-A00A-0FC2-3792-3C15C02652FB}"/>
              </a:ext>
            </a:extLst>
          </p:cNvPr>
          <p:cNvSpPr/>
          <p:nvPr>
            <p:custDataLst>
              <p:tags r:id="rId112"/>
            </p:custDataLst>
          </p:nvPr>
        </p:nvSpPr>
        <p:spPr bwMode="gray">
          <a:xfrm>
            <a:off x="4291013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7" name="Raute 566">
            <a:extLst>
              <a:ext uri="{FF2B5EF4-FFF2-40B4-BE49-F238E27FC236}">
                <a16:creationId xmlns:a16="http://schemas.microsoft.com/office/drawing/2014/main" id="{7F5E4E8D-BDFB-BEB8-5AC1-F560C3642040}"/>
              </a:ext>
            </a:extLst>
          </p:cNvPr>
          <p:cNvSpPr/>
          <p:nvPr>
            <p:custDataLst>
              <p:tags r:id="rId113"/>
            </p:custDataLst>
          </p:nvPr>
        </p:nvSpPr>
        <p:spPr bwMode="gray">
          <a:xfrm>
            <a:off x="7656513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47" name="Raute 446">
            <a:extLst>
              <a:ext uri="{FF2B5EF4-FFF2-40B4-BE49-F238E27FC236}">
                <a16:creationId xmlns:a16="http://schemas.microsoft.com/office/drawing/2014/main" id="{F41543AE-0F08-5A5A-C13B-A4E725FFDD00}"/>
              </a:ext>
            </a:extLst>
          </p:cNvPr>
          <p:cNvSpPr/>
          <p:nvPr>
            <p:custDataLst>
              <p:tags r:id="rId114"/>
            </p:custDataLst>
          </p:nvPr>
        </p:nvSpPr>
        <p:spPr bwMode="gray">
          <a:xfrm>
            <a:off x="2916238" y="23939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4" name="Raute 573">
            <a:extLst>
              <a:ext uri="{FF2B5EF4-FFF2-40B4-BE49-F238E27FC236}">
                <a16:creationId xmlns:a16="http://schemas.microsoft.com/office/drawing/2014/main" id="{DA489771-8B36-214F-752B-B66FA2E72E08}"/>
              </a:ext>
            </a:extLst>
          </p:cNvPr>
          <p:cNvSpPr/>
          <p:nvPr>
            <p:custDataLst>
              <p:tags r:id="rId115"/>
            </p:custDataLst>
          </p:nvPr>
        </p:nvSpPr>
        <p:spPr bwMode="gray">
          <a:xfrm>
            <a:off x="8462963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1" name="Raute 520">
            <a:extLst>
              <a:ext uri="{FF2B5EF4-FFF2-40B4-BE49-F238E27FC236}">
                <a16:creationId xmlns:a16="http://schemas.microsoft.com/office/drawing/2014/main" id="{52382FA1-42C2-D986-FFF3-DC2F8AC97E57}"/>
              </a:ext>
            </a:extLst>
          </p:cNvPr>
          <p:cNvSpPr/>
          <p:nvPr>
            <p:custDataLst>
              <p:tags r:id="rId116"/>
            </p:custDataLst>
          </p:nvPr>
        </p:nvSpPr>
        <p:spPr bwMode="gray">
          <a:xfrm>
            <a:off x="4111625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4" name="Raute 563">
            <a:extLst>
              <a:ext uri="{FF2B5EF4-FFF2-40B4-BE49-F238E27FC236}">
                <a16:creationId xmlns:a16="http://schemas.microsoft.com/office/drawing/2014/main" id="{7A813CA1-03CC-F462-25DA-9361344493D4}"/>
              </a:ext>
            </a:extLst>
          </p:cNvPr>
          <p:cNvSpPr/>
          <p:nvPr>
            <p:custDataLst>
              <p:tags r:id="rId117"/>
            </p:custDataLst>
          </p:nvPr>
        </p:nvSpPr>
        <p:spPr bwMode="gray">
          <a:xfrm>
            <a:off x="7464425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16" name="Raute 515">
            <a:extLst>
              <a:ext uri="{FF2B5EF4-FFF2-40B4-BE49-F238E27FC236}">
                <a16:creationId xmlns:a16="http://schemas.microsoft.com/office/drawing/2014/main" id="{C154122F-A4FF-7E41-7B68-8ED463C2781F}"/>
              </a:ext>
            </a:extLst>
          </p:cNvPr>
          <p:cNvSpPr/>
          <p:nvPr>
            <p:custDataLst>
              <p:tags r:id="rId118"/>
            </p:custDataLst>
          </p:nvPr>
        </p:nvSpPr>
        <p:spPr bwMode="gray">
          <a:xfrm>
            <a:off x="3408363" y="29352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3" name="Raute 572">
            <a:extLst>
              <a:ext uri="{FF2B5EF4-FFF2-40B4-BE49-F238E27FC236}">
                <a16:creationId xmlns:a16="http://schemas.microsoft.com/office/drawing/2014/main" id="{5D00E3FB-3D62-CED0-C416-E8B1C645ED0B}"/>
              </a:ext>
            </a:extLst>
          </p:cNvPr>
          <p:cNvSpPr/>
          <p:nvPr>
            <p:custDataLst>
              <p:tags r:id="rId119"/>
            </p:custDataLst>
          </p:nvPr>
        </p:nvSpPr>
        <p:spPr bwMode="gray">
          <a:xfrm>
            <a:off x="8283575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3" name="Raute 562">
            <a:extLst>
              <a:ext uri="{FF2B5EF4-FFF2-40B4-BE49-F238E27FC236}">
                <a16:creationId xmlns:a16="http://schemas.microsoft.com/office/drawing/2014/main" id="{C419B92A-DD1B-1D3E-2F6C-4A7EB0CC6609}"/>
              </a:ext>
            </a:extLst>
          </p:cNvPr>
          <p:cNvSpPr/>
          <p:nvPr>
            <p:custDataLst>
              <p:tags r:id="rId120"/>
            </p:custDataLst>
          </p:nvPr>
        </p:nvSpPr>
        <p:spPr bwMode="gray">
          <a:xfrm>
            <a:off x="7299325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71" name="Raute 470">
            <a:extLst>
              <a:ext uri="{FF2B5EF4-FFF2-40B4-BE49-F238E27FC236}">
                <a16:creationId xmlns:a16="http://schemas.microsoft.com/office/drawing/2014/main" id="{2D57E982-AAD4-F2F3-FE79-F019AF1E4867}"/>
              </a:ext>
            </a:extLst>
          </p:cNvPr>
          <p:cNvSpPr/>
          <p:nvPr>
            <p:custDataLst>
              <p:tags r:id="rId121"/>
            </p:custDataLst>
          </p:nvPr>
        </p:nvSpPr>
        <p:spPr bwMode="gray">
          <a:xfrm>
            <a:off x="3254375" y="29352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19" name="Raute 518">
            <a:extLst>
              <a:ext uri="{FF2B5EF4-FFF2-40B4-BE49-F238E27FC236}">
                <a16:creationId xmlns:a16="http://schemas.microsoft.com/office/drawing/2014/main" id="{62C58D2D-F05D-179B-76F4-1170F1ACD09C}"/>
              </a:ext>
            </a:extLst>
          </p:cNvPr>
          <p:cNvSpPr/>
          <p:nvPr>
            <p:custDataLst>
              <p:tags r:id="rId122"/>
            </p:custDataLst>
          </p:nvPr>
        </p:nvSpPr>
        <p:spPr bwMode="gray">
          <a:xfrm>
            <a:off x="3946525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2" name="Raute 571">
            <a:extLst>
              <a:ext uri="{FF2B5EF4-FFF2-40B4-BE49-F238E27FC236}">
                <a16:creationId xmlns:a16="http://schemas.microsoft.com/office/drawing/2014/main" id="{54F29377-AB7C-98D3-A768-2794A8F604BD}"/>
              </a:ext>
            </a:extLst>
          </p:cNvPr>
          <p:cNvSpPr/>
          <p:nvPr>
            <p:custDataLst>
              <p:tags r:id="rId123"/>
            </p:custDataLst>
          </p:nvPr>
        </p:nvSpPr>
        <p:spPr bwMode="gray">
          <a:xfrm>
            <a:off x="8194675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67" name="Raute 466">
            <a:extLst>
              <a:ext uri="{FF2B5EF4-FFF2-40B4-BE49-F238E27FC236}">
                <a16:creationId xmlns:a16="http://schemas.microsoft.com/office/drawing/2014/main" id="{016FAAC7-ACCE-6C5F-2444-D4FB5951D091}"/>
              </a:ext>
            </a:extLst>
          </p:cNvPr>
          <p:cNvSpPr/>
          <p:nvPr>
            <p:custDataLst>
              <p:tags r:id="rId124"/>
            </p:custDataLst>
          </p:nvPr>
        </p:nvSpPr>
        <p:spPr bwMode="gray">
          <a:xfrm>
            <a:off x="3074988" y="29352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45" name="Raute 544">
            <a:extLst>
              <a:ext uri="{FF2B5EF4-FFF2-40B4-BE49-F238E27FC236}">
                <a16:creationId xmlns:a16="http://schemas.microsoft.com/office/drawing/2014/main" id="{30394D49-FCBA-9325-ED11-CD1A548DF85F}"/>
              </a:ext>
            </a:extLst>
          </p:cNvPr>
          <p:cNvSpPr/>
          <p:nvPr>
            <p:custDataLst>
              <p:tags r:id="rId125"/>
            </p:custDataLst>
          </p:nvPr>
        </p:nvSpPr>
        <p:spPr bwMode="gray">
          <a:xfrm>
            <a:off x="5724525" y="4587875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99" name="Raute 598">
            <a:extLst>
              <a:ext uri="{FF2B5EF4-FFF2-40B4-BE49-F238E27FC236}">
                <a16:creationId xmlns:a16="http://schemas.microsoft.com/office/drawing/2014/main" id="{6A1D8D55-61E7-486B-7D57-7BB415215D49}"/>
              </a:ext>
            </a:extLst>
          </p:cNvPr>
          <p:cNvSpPr/>
          <p:nvPr>
            <p:custDataLst>
              <p:tags r:id="rId126"/>
            </p:custDataLst>
          </p:nvPr>
        </p:nvSpPr>
        <p:spPr bwMode="gray">
          <a:xfrm>
            <a:off x="5187950" y="3776663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1" name="Raute 570">
            <a:extLst>
              <a:ext uri="{FF2B5EF4-FFF2-40B4-BE49-F238E27FC236}">
                <a16:creationId xmlns:a16="http://schemas.microsoft.com/office/drawing/2014/main" id="{B69896AD-75DA-C2B9-6183-3C99026F6E9E}"/>
              </a:ext>
            </a:extLst>
          </p:cNvPr>
          <p:cNvSpPr/>
          <p:nvPr>
            <p:custDataLst>
              <p:tags r:id="rId127"/>
            </p:custDataLst>
          </p:nvPr>
        </p:nvSpPr>
        <p:spPr bwMode="gray">
          <a:xfrm>
            <a:off x="8015288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5" name="Raute 564">
            <a:extLst>
              <a:ext uri="{FF2B5EF4-FFF2-40B4-BE49-F238E27FC236}">
                <a16:creationId xmlns:a16="http://schemas.microsoft.com/office/drawing/2014/main" id="{F24409D9-726D-E97F-3704-15513F53A6E8}"/>
              </a:ext>
            </a:extLst>
          </p:cNvPr>
          <p:cNvSpPr/>
          <p:nvPr>
            <p:custDataLst>
              <p:tags r:id="rId128"/>
            </p:custDataLst>
          </p:nvPr>
        </p:nvSpPr>
        <p:spPr bwMode="gray">
          <a:xfrm>
            <a:off x="6440488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3" name="Raute 552">
            <a:extLst>
              <a:ext uri="{FF2B5EF4-FFF2-40B4-BE49-F238E27FC236}">
                <a16:creationId xmlns:a16="http://schemas.microsoft.com/office/drawing/2014/main" id="{5EC7556D-2B06-285E-590D-B1FE475C5AD6}"/>
              </a:ext>
            </a:extLst>
          </p:cNvPr>
          <p:cNvSpPr/>
          <p:nvPr>
            <p:custDataLst>
              <p:tags r:id="rId129"/>
            </p:custDataLst>
          </p:nvPr>
        </p:nvSpPr>
        <p:spPr bwMode="gray">
          <a:xfrm>
            <a:off x="4829175" y="350520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0" name="Raute 519">
            <a:extLst>
              <a:ext uri="{FF2B5EF4-FFF2-40B4-BE49-F238E27FC236}">
                <a16:creationId xmlns:a16="http://schemas.microsoft.com/office/drawing/2014/main" id="{EBD0AE85-5362-2DF4-E348-E18A034F8101}"/>
              </a:ext>
            </a:extLst>
          </p:cNvPr>
          <p:cNvSpPr/>
          <p:nvPr>
            <p:custDataLst>
              <p:tags r:id="rId130"/>
            </p:custDataLst>
          </p:nvPr>
        </p:nvSpPr>
        <p:spPr bwMode="gray">
          <a:xfrm>
            <a:off x="3767138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0" name="Raute 559">
            <a:extLst>
              <a:ext uri="{FF2B5EF4-FFF2-40B4-BE49-F238E27FC236}">
                <a16:creationId xmlns:a16="http://schemas.microsoft.com/office/drawing/2014/main" id="{B4824EC4-2300-3C1F-BE53-47E14F012658}"/>
              </a:ext>
            </a:extLst>
          </p:cNvPr>
          <p:cNvSpPr/>
          <p:nvPr>
            <p:custDataLst>
              <p:tags r:id="rId131"/>
            </p:custDataLst>
          </p:nvPr>
        </p:nvSpPr>
        <p:spPr bwMode="gray">
          <a:xfrm>
            <a:off x="5724525" y="431800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6" name="Raute 555">
            <a:extLst>
              <a:ext uri="{FF2B5EF4-FFF2-40B4-BE49-F238E27FC236}">
                <a16:creationId xmlns:a16="http://schemas.microsoft.com/office/drawing/2014/main" id="{DA7F3E42-182A-C6EE-40FE-B5FB3F56E107}"/>
              </a:ext>
            </a:extLst>
          </p:cNvPr>
          <p:cNvSpPr/>
          <p:nvPr>
            <p:custDataLst>
              <p:tags r:id="rId132"/>
            </p:custDataLst>
          </p:nvPr>
        </p:nvSpPr>
        <p:spPr bwMode="gray">
          <a:xfrm>
            <a:off x="5008563" y="3776663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8" name="Raute 557">
            <a:extLst>
              <a:ext uri="{FF2B5EF4-FFF2-40B4-BE49-F238E27FC236}">
                <a16:creationId xmlns:a16="http://schemas.microsoft.com/office/drawing/2014/main" id="{E75FD660-D1A2-8DD1-1F8A-0126433EC88E}"/>
              </a:ext>
            </a:extLst>
          </p:cNvPr>
          <p:cNvSpPr/>
          <p:nvPr>
            <p:custDataLst>
              <p:tags r:id="rId133"/>
            </p:custDataLst>
          </p:nvPr>
        </p:nvSpPr>
        <p:spPr bwMode="gray">
          <a:xfrm>
            <a:off x="5365750" y="404653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1" name="Raute 560">
            <a:extLst>
              <a:ext uri="{FF2B5EF4-FFF2-40B4-BE49-F238E27FC236}">
                <a16:creationId xmlns:a16="http://schemas.microsoft.com/office/drawing/2014/main" id="{94B1DB0E-68E2-33F2-6619-CB409D6A4EC0}"/>
              </a:ext>
            </a:extLst>
          </p:cNvPr>
          <p:cNvSpPr/>
          <p:nvPr>
            <p:custDataLst>
              <p:tags r:id="rId134"/>
            </p:custDataLst>
          </p:nvPr>
        </p:nvSpPr>
        <p:spPr bwMode="gray">
          <a:xfrm>
            <a:off x="5903913" y="485933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2" name="Raute 551">
            <a:extLst>
              <a:ext uri="{FF2B5EF4-FFF2-40B4-BE49-F238E27FC236}">
                <a16:creationId xmlns:a16="http://schemas.microsoft.com/office/drawing/2014/main" id="{39ECC7C7-2451-D0DC-A6A5-15EE54DEA64A}"/>
              </a:ext>
            </a:extLst>
          </p:cNvPr>
          <p:cNvSpPr/>
          <p:nvPr>
            <p:custDataLst>
              <p:tags r:id="rId135"/>
            </p:custDataLst>
          </p:nvPr>
        </p:nvSpPr>
        <p:spPr bwMode="gray">
          <a:xfrm>
            <a:off x="4829175" y="350520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6" name="Raute 565">
            <a:extLst>
              <a:ext uri="{FF2B5EF4-FFF2-40B4-BE49-F238E27FC236}">
                <a16:creationId xmlns:a16="http://schemas.microsoft.com/office/drawing/2014/main" id="{665B0C04-12A5-3A06-2F01-70CC493C9E91}"/>
              </a:ext>
            </a:extLst>
          </p:cNvPr>
          <p:cNvSpPr/>
          <p:nvPr>
            <p:custDataLst>
              <p:tags r:id="rId136"/>
            </p:custDataLst>
          </p:nvPr>
        </p:nvSpPr>
        <p:spPr bwMode="gray">
          <a:xfrm>
            <a:off x="6262688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5" name="Raute 524">
            <a:extLst>
              <a:ext uri="{FF2B5EF4-FFF2-40B4-BE49-F238E27FC236}">
                <a16:creationId xmlns:a16="http://schemas.microsoft.com/office/drawing/2014/main" id="{85F5D0C9-74ED-C538-54D3-56BC9A9E0158}"/>
              </a:ext>
            </a:extLst>
          </p:cNvPr>
          <p:cNvSpPr/>
          <p:nvPr>
            <p:custDataLst>
              <p:tags r:id="rId137"/>
            </p:custDataLst>
          </p:nvPr>
        </p:nvSpPr>
        <p:spPr bwMode="gray">
          <a:xfrm>
            <a:off x="4649788" y="4587875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0" name="Raute 569">
            <a:extLst>
              <a:ext uri="{FF2B5EF4-FFF2-40B4-BE49-F238E27FC236}">
                <a16:creationId xmlns:a16="http://schemas.microsoft.com/office/drawing/2014/main" id="{69A48422-2C2F-50D2-0577-8484A6F5C97A}"/>
              </a:ext>
            </a:extLst>
          </p:cNvPr>
          <p:cNvSpPr/>
          <p:nvPr>
            <p:custDataLst>
              <p:tags r:id="rId138"/>
            </p:custDataLst>
          </p:nvPr>
        </p:nvSpPr>
        <p:spPr bwMode="gray">
          <a:xfrm>
            <a:off x="7926388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18" name="Raute 517">
            <a:extLst>
              <a:ext uri="{FF2B5EF4-FFF2-40B4-BE49-F238E27FC236}">
                <a16:creationId xmlns:a16="http://schemas.microsoft.com/office/drawing/2014/main" id="{236B76FD-2B34-B1A3-33EB-0B6A05C4BEE1}"/>
              </a:ext>
            </a:extLst>
          </p:cNvPr>
          <p:cNvSpPr/>
          <p:nvPr>
            <p:custDataLst>
              <p:tags r:id="rId139"/>
            </p:custDataLst>
          </p:nvPr>
        </p:nvSpPr>
        <p:spPr bwMode="gray">
          <a:xfrm>
            <a:off x="3587750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66" name="Raute 465">
            <a:extLst>
              <a:ext uri="{FF2B5EF4-FFF2-40B4-BE49-F238E27FC236}">
                <a16:creationId xmlns:a16="http://schemas.microsoft.com/office/drawing/2014/main" id="{ED225873-B45F-B830-067E-49F58A865B09}"/>
              </a:ext>
            </a:extLst>
          </p:cNvPr>
          <p:cNvSpPr/>
          <p:nvPr>
            <p:custDataLst>
              <p:tags r:id="rId140"/>
            </p:custDataLst>
          </p:nvPr>
        </p:nvSpPr>
        <p:spPr bwMode="gray">
          <a:xfrm>
            <a:off x="2922588" y="29352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4" name="Raute 523">
            <a:extLst>
              <a:ext uri="{FF2B5EF4-FFF2-40B4-BE49-F238E27FC236}">
                <a16:creationId xmlns:a16="http://schemas.microsoft.com/office/drawing/2014/main" id="{5832E9D3-060B-D1FB-4874-7F203BEC634F}"/>
              </a:ext>
            </a:extLst>
          </p:cNvPr>
          <p:cNvSpPr/>
          <p:nvPr>
            <p:custDataLst>
              <p:tags r:id="rId141"/>
            </p:custDataLst>
          </p:nvPr>
        </p:nvSpPr>
        <p:spPr bwMode="gray">
          <a:xfrm>
            <a:off x="4470400" y="4587875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8" name="Raute 567">
            <a:extLst>
              <a:ext uri="{FF2B5EF4-FFF2-40B4-BE49-F238E27FC236}">
                <a16:creationId xmlns:a16="http://schemas.microsoft.com/office/drawing/2014/main" id="{1ECF115E-24E0-F510-6BC2-CD1862698665}"/>
              </a:ext>
            </a:extLst>
          </p:cNvPr>
          <p:cNvSpPr/>
          <p:nvPr>
            <p:custDataLst>
              <p:tags r:id="rId142"/>
            </p:custDataLst>
          </p:nvPr>
        </p:nvSpPr>
        <p:spPr bwMode="gray">
          <a:xfrm>
            <a:off x="6083300" y="51577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9" name="Raute 568">
            <a:extLst>
              <a:ext uri="{FF2B5EF4-FFF2-40B4-BE49-F238E27FC236}">
                <a16:creationId xmlns:a16="http://schemas.microsoft.com/office/drawing/2014/main" id="{DA2366F8-738B-F70C-6F3A-357FD08D7614}"/>
              </a:ext>
            </a:extLst>
          </p:cNvPr>
          <p:cNvSpPr/>
          <p:nvPr>
            <p:custDataLst>
              <p:tags r:id="rId143"/>
            </p:custDataLst>
          </p:nvPr>
        </p:nvSpPr>
        <p:spPr bwMode="gray">
          <a:xfrm>
            <a:off x="7835900" y="54292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17" name="Raute 516">
            <a:extLst>
              <a:ext uri="{FF2B5EF4-FFF2-40B4-BE49-F238E27FC236}">
                <a16:creationId xmlns:a16="http://schemas.microsoft.com/office/drawing/2014/main" id="{A98800FF-0F66-F5C7-DF1E-F16BA8D5B228}"/>
              </a:ext>
            </a:extLst>
          </p:cNvPr>
          <p:cNvSpPr/>
          <p:nvPr>
            <p:custDataLst>
              <p:tags r:id="rId144"/>
            </p:custDataLst>
          </p:nvPr>
        </p:nvSpPr>
        <p:spPr bwMode="gray">
          <a:xfrm>
            <a:off x="3408363" y="320675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2" name="Raute 561">
            <a:extLst>
              <a:ext uri="{FF2B5EF4-FFF2-40B4-BE49-F238E27FC236}">
                <a16:creationId xmlns:a16="http://schemas.microsoft.com/office/drawing/2014/main" id="{227A8AF9-05B1-840C-0BA9-811B88093FAF}"/>
              </a:ext>
            </a:extLst>
          </p:cNvPr>
          <p:cNvSpPr/>
          <p:nvPr>
            <p:custDataLst>
              <p:tags r:id="rId145"/>
            </p:custDataLst>
          </p:nvPr>
        </p:nvSpPr>
        <p:spPr bwMode="gray">
          <a:xfrm>
            <a:off x="5859463" y="485933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2" name="Gleichschenkliges Dreieck 41">
            <a:extLst>
              <a:ext uri="{FF2B5EF4-FFF2-40B4-BE49-F238E27FC236}">
                <a16:creationId xmlns:a16="http://schemas.microsoft.com/office/drawing/2014/main" id="{B4447A2F-E9EE-6ED8-0220-2D1032D1F32C}"/>
              </a:ext>
            </a:extLst>
          </p:cNvPr>
          <p:cNvSpPr/>
          <p:nvPr>
            <p:custDataLst>
              <p:tags r:id="rId146"/>
            </p:custDataLst>
          </p:nvPr>
        </p:nvSpPr>
        <p:spPr bwMode="gray">
          <a:xfrm>
            <a:off x="2673350" y="5749925"/>
            <a:ext cx="114300" cy="114300"/>
          </a:xfrm>
          <a:prstGeom prst="triangle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5" name="Raute 554">
            <a:extLst>
              <a:ext uri="{FF2B5EF4-FFF2-40B4-BE49-F238E27FC236}">
                <a16:creationId xmlns:a16="http://schemas.microsoft.com/office/drawing/2014/main" id="{A8B313F9-9D62-8442-BA7E-8D76920ADEC6}"/>
              </a:ext>
            </a:extLst>
          </p:cNvPr>
          <p:cNvSpPr/>
          <p:nvPr>
            <p:custDataLst>
              <p:tags r:id="rId147"/>
            </p:custDataLst>
          </p:nvPr>
        </p:nvSpPr>
        <p:spPr bwMode="gray">
          <a:xfrm>
            <a:off x="4995863" y="3776663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7" name="Raute 556">
            <a:extLst>
              <a:ext uri="{FF2B5EF4-FFF2-40B4-BE49-F238E27FC236}">
                <a16:creationId xmlns:a16="http://schemas.microsoft.com/office/drawing/2014/main" id="{AAA64575-0271-20AA-7C53-06456E472C44}"/>
              </a:ext>
            </a:extLst>
          </p:cNvPr>
          <p:cNvSpPr/>
          <p:nvPr>
            <p:custDataLst>
              <p:tags r:id="rId148"/>
            </p:custDataLst>
          </p:nvPr>
        </p:nvSpPr>
        <p:spPr bwMode="gray">
          <a:xfrm>
            <a:off x="5187950" y="404653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" name="Raute 54">
            <a:extLst>
              <a:ext uri="{FF2B5EF4-FFF2-40B4-BE49-F238E27FC236}">
                <a16:creationId xmlns:a16="http://schemas.microsoft.com/office/drawing/2014/main" id="{34A770BA-6EF0-4D0C-B230-734547A3FD7A}"/>
              </a:ext>
            </a:extLst>
          </p:cNvPr>
          <p:cNvSpPr/>
          <p:nvPr>
            <p:custDataLst>
              <p:tags r:id="rId149"/>
            </p:custDataLst>
          </p:nvPr>
        </p:nvSpPr>
        <p:spPr bwMode="gray">
          <a:xfrm>
            <a:off x="2519363" y="2935288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9" name="Raute 558">
            <a:extLst>
              <a:ext uri="{FF2B5EF4-FFF2-40B4-BE49-F238E27FC236}">
                <a16:creationId xmlns:a16="http://schemas.microsoft.com/office/drawing/2014/main" id="{268BF7E8-D62E-922F-B690-7FF6DB02E7C8}"/>
              </a:ext>
            </a:extLst>
          </p:cNvPr>
          <p:cNvSpPr/>
          <p:nvPr>
            <p:custDataLst>
              <p:tags r:id="rId150"/>
            </p:custDataLst>
          </p:nvPr>
        </p:nvSpPr>
        <p:spPr bwMode="gray">
          <a:xfrm>
            <a:off x="5545138" y="431800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1" name="Raute 550">
            <a:extLst>
              <a:ext uri="{FF2B5EF4-FFF2-40B4-BE49-F238E27FC236}">
                <a16:creationId xmlns:a16="http://schemas.microsoft.com/office/drawing/2014/main" id="{AB6C8F5D-42B5-1B37-B948-A5ECC94751D2}"/>
              </a:ext>
            </a:extLst>
          </p:cNvPr>
          <p:cNvSpPr/>
          <p:nvPr>
            <p:custDataLst>
              <p:tags r:id="rId151"/>
            </p:custDataLst>
          </p:nvPr>
        </p:nvSpPr>
        <p:spPr bwMode="gray">
          <a:xfrm>
            <a:off x="4649788" y="3505200"/>
            <a:ext cx="114300" cy="114300"/>
          </a:xfrm>
          <a:prstGeom prst="diamond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102" name="text">
            <a:extLst>
              <a:ext uri="{FF2B5EF4-FFF2-40B4-BE49-F238E27FC236}">
                <a16:creationId xmlns:a16="http://schemas.microsoft.com/office/drawing/2014/main" id="{6B3EEAB7-ACD5-763A-CD23-4A67D9FA1059}"/>
              </a:ext>
            </a:extLst>
          </p:cNvPr>
          <p:cNvSpPr>
            <a:spLocks noGrp="1"/>
          </p:cNvSpPr>
          <p:nvPr>
            <p:custDataLst>
              <p:tags r:id="rId152"/>
            </p:custDataLst>
          </p:nvPr>
        </p:nvSpPr>
        <p:spPr bwMode="auto">
          <a:xfrm>
            <a:off x="10460038" y="5116513"/>
            <a:ext cx="11318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 / Curve</a:t>
            </a:r>
          </a:p>
        </p:txBody>
      </p:sp>
      <p:sp>
        <p:nvSpPr>
          <p:cNvPr id="74" name="text">
            <a:extLst>
              <a:ext uri="{FF2B5EF4-FFF2-40B4-BE49-F238E27FC236}">
                <a16:creationId xmlns:a16="http://schemas.microsoft.com/office/drawing/2014/main" id="{43FEEDAA-4B4A-7B9A-8D4F-F890B7BAFF15}"/>
              </a:ext>
            </a:extLst>
          </p:cNvPr>
          <p:cNvSpPr>
            <a:spLocks noGrp="1"/>
          </p:cNvSpPr>
          <p:nvPr>
            <p:custDataLst>
              <p:tags r:id="rId153"/>
            </p:custDataLst>
          </p:nvPr>
        </p:nvSpPr>
        <p:spPr bwMode="auto">
          <a:xfrm>
            <a:off x="10460038" y="2352675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effectLst/>
              </a:rPr>
              <a:t>Curve</a:t>
            </a:r>
            <a:endParaRPr lang="en-US" dirty="0"/>
          </a:p>
        </p:txBody>
      </p:sp>
      <p:sp>
        <p:nvSpPr>
          <p:cNvPr id="6" name="text">
            <a:extLst>
              <a:ext uri="{FF2B5EF4-FFF2-40B4-BE49-F238E27FC236}">
                <a16:creationId xmlns:a16="http://schemas.microsoft.com/office/drawing/2014/main" id="{702C4774-9A14-D925-0874-893A933EA565}"/>
              </a:ext>
            </a:extLst>
          </p:cNvPr>
          <p:cNvSpPr>
            <a:spLocks noGrp="1"/>
          </p:cNvSpPr>
          <p:nvPr>
            <p:custDataLst>
              <p:tags r:id="rId154"/>
            </p:custDataLst>
          </p:nvPr>
        </p:nvSpPr>
        <p:spPr bwMode="auto">
          <a:xfrm>
            <a:off x="596900" y="2352675"/>
            <a:ext cx="10763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>
                <a:effectLst/>
              </a:rPr>
              <a:t>Type </a:t>
            </a:r>
            <a:r>
              <a:rPr lang="en-US" altLang="en-US" dirty="0">
                <a:effectLst/>
              </a:rPr>
              <a:t>2.5 B1-B6</a:t>
            </a:r>
            <a:endParaRPr lang="en-US" dirty="0"/>
          </a:p>
        </p:txBody>
      </p:sp>
      <p:sp>
        <p:nvSpPr>
          <p:cNvPr id="88" name="text">
            <a:extLst>
              <a:ext uri="{FF2B5EF4-FFF2-40B4-BE49-F238E27FC236}">
                <a16:creationId xmlns:a16="http://schemas.microsoft.com/office/drawing/2014/main" id="{38AC959B-0AC7-F89B-BDCD-1BA7F4270D54}"/>
              </a:ext>
            </a:extLst>
          </p:cNvPr>
          <p:cNvSpPr>
            <a:spLocks noGrp="1"/>
          </p:cNvSpPr>
          <p:nvPr>
            <p:custDataLst>
              <p:tags r:id="rId155"/>
            </p:custDataLst>
          </p:nvPr>
        </p:nvSpPr>
        <p:spPr bwMode="auto">
          <a:xfrm>
            <a:off x="596900" y="5116513"/>
            <a:ext cx="10763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/>
              <a:t>Type </a:t>
            </a:r>
            <a:r>
              <a:rPr lang="en-US" altLang="en-US" dirty="0"/>
              <a:t>2.9 B1-B6</a:t>
            </a:r>
            <a:endParaRPr lang="en-US" dirty="0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52EDD1CC-A95D-3F09-D796-FFEF57C73AF2}"/>
              </a:ext>
            </a:extLst>
          </p:cNvPr>
          <p:cNvSpPr>
            <a:spLocks noGrp="1"/>
          </p:cNvSpPr>
          <p:nvPr>
            <p:custDataLst>
              <p:tags r:id="rId156"/>
            </p:custDataLst>
          </p:nvPr>
        </p:nvSpPr>
        <p:spPr bwMode="auto">
          <a:xfrm>
            <a:off x="596900" y="2894013"/>
            <a:ext cx="11795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effectLst/>
              </a:rPr>
              <a:t>Type 1.6A B1-B6</a:t>
            </a:r>
            <a:endParaRPr lang="en-US" dirty="0"/>
          </a:p>
        </p:txBody>
      </p:sp>
      <p:sp>
        <p:nvSpPr>
          <p:cNvPr id="96" name="text">
            <a:extLst>
              <a:ext uri="{FF2B5EF4-FFF2-40B4-BE49-F238E27FC236}">
                <a16:creationId xmlns:a16="http://schemas.microsoft.com/office/drawing/2014/main" id="{720AA27A-B26D-BB4F-92D8-2A456C5CA97A}"/>
              </a:ext>
            </a:extLst>
          </p:cNvPr>
          <p:cNvSpPr>
            <a:spLocks noGrp="1"/>
          </p:cNvSpPr>
          <p:nvPr>
            <p:custDataLst>
              <p:tags r:id="rId157"/>
            </p:custDataLst>
          </p:nvPr>
        </p:nvSpPr>
        <p:spPr bwMode="auto">
          <a:xfrm>
            <a:off x="10460038" y="4276725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  <a:endParaRPr lang="en-US" dirty="0"/>
          </a:p>
        </p:txBody>
      </p:sp>
      <p:sp>
        <p:nvSpPr>
          <p:cNvPr id="41" name="text">
            <a:extLst>
              <a:ext uri="{FF2B5EF4-FFF2-40B4-BE49-F238E27FC236}">
                <a16:creationId xmlns:a16="http://schemas.microsoft.com/office/drawing/2014/main" id="{C6E0C67E-3307-3F47-3BE1-45D406987A8C}"/>
              </a:ext>
            </a:extLst>
          </p:cNvPr>
          <p:cNvSpPr>
            <a:spLocks noGrp="1"/>
          </p:cNvSpPr>
          <p:nvPr>
            <p:custDataLst>
              <p:tags r:id="rId158"/>
            </p:custDataLst>
          </p:nvPr>
        </p:nvSpPr>
        <p:spPr bwMode="auto">
          <a:xfrm>
            <a:off x="2346325" y="5886450"/>
            <a:ext cx="7699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B5857AE-A69B-49E6-B0EF-C0E89D1D18B4}" type="datetime'''''''''9/2''''''''''''''''''''2/''''''20''''''''2''''''5'''">
              <a:rPr lang="en-US" altLang="en-US" smtClean="0"/>
              <a:pPr/>
              <a:t>9/22/2025</a:t>
            </a:fld>
            <a:endParaRPr lang="en-US" dirty="0"/>
          </a:p>
        </p:txBody>
      </p:sp>
      <p:sp>
        <p:nvSpPr>
          <p:cNvPr id="450" name="text">
            <a:extLst>
              <a:ext uri="{FF2B5EF4-FFF2-40B4-BE49-F238E27FC236}">
                <a16:creationId xmlns:a16="http://schemas.microsoft.com/office/drawing/2014/main" id="{07777FE3-D45B-C768-9F14-1C8298960022}"/>
              </a:ext>
            </a:extLst>
          </p:cNvPr>
          <p:cNvSpPr>
            <a:spLocks noGrp="1"/>
          </p:cNvSpPr>
          <p:nvPr>
            <p:custDataLst>
              <p:tags r:id="rId159"/>
            </p:custDataLst>
          </p:nvPr>
        </p:nvSpPr>
        <p:spPr bwMode="auto">
          <a:xfrm>
            <a:off x="1776413" y="2139950"/>
            <a:ext cx="350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EBF3DDBE-A98C-4EAD-9052-5493DB14FD65}" type="datetime'''''''''M''''''''''''''''''o''n''''t''''''''''''''''h'''''''''">
              <a:rPr lang="en-US" altLang="en-US" sz="1000" smtClean="0"/>
              <a:pPr/>
              <a:t>Month</a:t>
            </a:fld>
            <a:endParaRPr lang="en-US" sz="1000" dirty="0"/>
          </a:p>
        </p:txBody>
      </p:sp>
      <p:sp>
        <p:nvSpPr>
          <p:cNvPr id="69" name="text">
            <a:extLst>
              <a:ext uri="{FF2B5EF4-FFF2-40B4-BE49-F238E27FC236}">
                <a16:creationId xmlns:a16="http://schemas.microsoft.com/office/drawing/2014/main" id="{2165ED96-4466-12BC-B18B-86921BE8654F}"/>
              </a:ext>
            </a:extLst>
          </p:cNvPr>
          <p:cNvSpPr>
            <a:spLocks noGrp="1"/>
          </p:cNvSpPr>
          <p:nvPr>
            <p:custDataLst>
              <p:tags r:id="rId160"/>
            </p:custDataLst>
          </p:nvPr>
        </p:nvSpPr>
        <p:spPr bwMode="auto">
          <a:xfrm>
            <a:off x="596900" y="3463925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Type 2.123 S2</a:t>
            </a:r>
            <a:endParaRPr lang="en-US" dirty="0"/>
          </a:p>
        </p:txBody>
      </p:sp>
      <p:sp>
        <p:nvSpPr>
          <p:cNvPr id="92" name="text">
            <a:extLst>
              <a:ext uri="{FF2B5EF4-FFF2-40B4-BE49-F238E27FC236}">
                <a16:creationId xmlns:a16="http://schemas.microsoft.com/office/drawing/2014/main" id="{1F188B7C-E1C4-C52A-8704-EA4F6C8C6308}"/>
              </a:ext>
            </a:extLst>
          </p:cNvPr>
          <p:cNvSpPr>
            <a:spLocks noGrp="1"/>
          </p:cNvSpPr>
          <p:nvPr>
            <p:custDataLst>
              <p:tags r:id="rId161"/>
            </p:custDataLst>
          </p:nvPr>
        </p:nvSpPr>
        <p:spPr bwMode="auto">
          <a:xfrm>
            <a:off x="10460038" y="3463925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  <a:endParaRPr lang="en-US" dirty="0"/>
          </a:p>
        </p:txBody>
      </p:sp>
      <p:sp>
        <p:nvSpPr>
          <p:cNvPr id="100" name="text">
            <a:extLst>
              <a:ext uri="{FF2B5EF4-FFF2-40B4-BE49-F238E27FC236}">
                <a16:creationId xmlns:a16="http://schemas.microsoft.com/office/drawing/2014/main" id="{23D054BB-AA92-8F67-587D-B9EFB30302E1}"/>
              </a:ext>
            </a:extLst>
          </p:cNvPr>
          <p:cNvSpPr>
            <a:spLocks noGrp="1"/>
          </p:cNvSpPr>
          <p:nvPr>
            <p:custDataLst>
              <p:tags r:id="rId162"/>
            </p:custDataLst>
          </p:nvPr>
        </p:nvSpPr>
        <p:spPr bwMode="auto">
          <a:xfrm>
            <a:off x="10460038" y="4818063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</a:p>
        </p:txBody>
      </p:sp>
      <p:sp>
        <p:nvSpPr>
          <p:cNvPr id="86" name="text">
            <a:extLst>
              <a:ext uri="{FF2B5EF4-FFF2-40B4-BE49-F238E27FC236}">
                <a16:creationId xmlns:a16="http://schemas.microsoft.com/office/drawing/2014/main" id="{CFE7D3B5-4562-BF77-65A1-5C783A0C906F}"/>
              </a:ext>
            </a:extLst>
          </p:cNvPr>
          <p:cNvSpPr>
            <a:spLocks noGrp="1"/>
          </p:cNvSpPr>
          <p:nvPr>
            <p:custDataLst>
              <p:tags r:id="rId163"/>
            </p:custDataLst>
          </p:nvPr>
        </p:nvSpPr>
        <p:spPr bwMode="auto">
          <a:xfrm>
            <a:off x="596900" y="4818063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/>
              <a:t>Type </a:t>
            </a:r>
            <a:r>
              <a:rPr lang="en-US" altLang="en-US" dirty="0"/>
              <a:t>2.123 S5</a:t>
            </a:r>
            <a:endParaRPr lang="en-US" dirty="0"/>
          </a:p>
        </p:txBody>
      </p:sp>
      <p:sp>
        <p:nvSpPr>
          <p:cNvPr id="71" name="text">
            <a:extLst>
              <a:ext uri="{FF2B5EF4-FFF2-40B4-BE49-F238E27FC236}">
                <a16:creationId xmlns:a16="http://schemas.microsoft.com/office/drawing/2014/main" id="{99F372E4-CF3E-962E-61F2-D494DE94F61C}"/>
              </a:ext>
            </a:extLst>
          </p:cNvPr>
          <p:cNvSpPr>
            <a:spLocks noGrp="1"/>
          </p:cNvSpPr>
          <p:nvPr>
            <p:custDataLst>
              <p:tags r:id="rId164"/>
            </p:custDataLst>
          </p:nvPr>
        </p:nvSpPr>
        <p:spPr bwMode="auto">
          <a:xfrm>
            <a:off x="10460038" y="2079625"/>
            <a:ext cx="8874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BCA7072-2ED5-4C4C-B531-C859FFC5020F}" type="datetime'R''''''''esp''o''''n''s''i''''''b''''''''l''''''e'''''">
              <a:rPr lang="en-US" altLang="en-US" b="1" smtClean="0">
                <a:effectLst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Responsible</a:t>
            </a:fld>
            <a:endParaRPr lang="en-US" b="1" dirty="0"/>
          </a:p>
        </p:txBody>
      </p:sp>
      <p:sp>
        <p:nvSpPr>
          <p:cNvPr id="82" name="text">
            <a:extLst>
              <a:ext uri="{FF2B5EF4-FFF2-40B4-BE49-F238E27FC236}">
                <a16:creationId xmlns:a16="http://schemas.microsoft.com/office/drawing/2014/main" id="{84C30334-239A-0BDE-C7E8-E565E40D364A}"/>
              </a:ext>
            </a:extLst>
          </p:cNvPr>
          <p:cNvSpPr>
            <a:spLocks noGrp="1"/>
          </p:cNvSpPr>
          <p:nvPr>
            <p:custDataLst>
              <p:tags r:id="rId165"/>
            </p:custDataLst>
          </p:nvPr>
        </p:nvSpPr>
        <p:spPr bwMode="auto">
          <a:xfrm>
            <a:off x="10460038" y="4546600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Straight</a:t>
            </a:r>
          </a:p>
        </p:txBody>
      </p:sp>
      <p:sp>
        <p:nvSpPr>
          <p:cNvPr id="67" name="text">
            <a:extLst>
              <a:ext uri="{FF2B5EF4-FFF2-40B4-BE49-F238E27FC236}">
                <a16:creationId xmlns:a16="http://schemas.microsoft.com/office/drawing/2014/main" id="{ED88C722-14F1-643D-88A0-928BFD099CFD}"/>
              </a:ext>
            </a:extLst>
          </p:cNvPr>
          <p:cNvSpPr>
            <a:spLocks noGrp="1"/>
          </p:cNvSpPr>
          <p:nvPr>
            <p:custDataLst>
              <p:tags r:id="rId166"/>
            </p:custDataLst>
          </p:nvPr>
        </p:nvSpPr>
        <p:spPr bwMode="auto">
          <a:xfrm>
            <a:off x="596900" y="4546600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Type 2.123 S1</a:t>
            </a:r>
            <a:endParaRPr lang="en-US" dirty="0"/>
          </a:p>
        </p:txBody>
      </p:sp>
      <p:sp>
        <p:nvSpPr>
          <p:cNvPr id="84" name="text">
            <a:extLst>
              <a:ext uri="{FF2B5EF4-FFF2-40B4-BE49-F238E27FC236}">
                <a16:creationId xmlns:a16="http://schemas.microsoft.com/office/drawing/2014/main" id="{6EFED507-AC30-F36F-F4DF-C7DAB7513A21}"/>
              </a:ext>
            </a:extLst>
          </p:cNvPr>
          <p:cNvSpPr>
            <a:spLocks noGrp="1"/>
          </p:cNvSpPr>
          <p:nvPr>
            <p:custDataLst>
              <p:tags r:id="rId167"/>
            </p:custDataLst>
          </p:nvPr>
        </p:nvSpPr>
        <p:spPr bwMode="auto">
          <a:xfrm>
            <a:off x="596900" y="3735388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Type 2.123 S3</a:t>
            </a:r>
            <a:endParaRPr lang="en-US" dirty="0"/>
          </a:p>
        </p:txBody>
      </p:sp>
      <p:sp>
        <p:nvSpPr>
          <p:cNvPr id="98" name="text">
            <a:extLst>
              <a:ext uri="{FF2B5EF4-FFF2-40B4-BE49-F238E27FC236}">
                <a16:creationId xmlns:a16="http://schemas.microsoft.com/office/drawing/2014/main" id="{8B464872-A077-E627-079D-C44612E77C3C}"/>
              </a:ext>
            </a:extLst>
          </p:cNvPr>
          <p:cNvSpPr>
            <a:spLocks noGrp="1"/>
          </p:cNvSpPr>
          <p:nvPr>
            <p:custDataLst>
              <p:tags r:id="rId168"/>
            </p:custDataLst>
          </p:nvPr>
        </p:nvSpPr>
        <p:spPr bwMode="auto">
          <a:xfrm>
            <a:off x="10460038" y="3735388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</a:p>
        </p:txBody>
      </p:sp>
      <p:sp>
        <p:nvSpPr>
          <p:cNvPr id="80" name="text">
            <a:extLst>
              <a:ext uri="{FF2B5EF4-FFF2-40B4-BE49-F238E27FC236}">
                <a16:creationId xmlns:a16="http://schemas.microsoft.com/office/drawing/2014/main" id="{1128B0B4-6783-DB52-360D-6A36291E933D}"/>
              </a:ext>
            </a:extLst>
          </p:cNvPr>
          <p:cNvSpPr>
            <a:spLocks noGrp="1"/>
          </p:cNvSpPr>
          <p:nvPr>
            <p:custDataLst>
              <p:tags r:id="rId169"/>
            </p:custDataLst>
          </p:nvPr>
        </p:nvSpPr>
        <p:spPr bwMode="auto">
          <a:xfrm>
            <a:off x="10460038" y="3165475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Curve</a:t>
            </a:r>
            <a:endParaRPr lang="en-US" dirty="0"/>
          </a:p>
        </p:txBody>
      </p:sp>
      <p:sp>
        <p:nvSpPr>
          <p:cNvPr id="14" name="text">
            <a:extLst>
              <a:ext uri="{FF2B5EF4-FFF2-40B4-BE49-F238E27FC236}">
                <a16:creationId xmlns:a16="http://schemas.microsoft.com/office/drawing/2014/main" id="{26386C15-6FD5-FFCA-5DC8-0889289902EB}"/>
              </a:ext>
            </a:extLst>
          </p:cNvPr>
          <p:cNvSpPr>
            <a:spLocks noGrp="1"/>
          </p:cNvSpPr>
          <p:nvPr>
            <p:custDataLst>
              <p:tags r:id="rId170"/>
            </p:custDataLst>
          </p:nvPr>
        </p:nvSpPr>
        <p:spPr bwMode="auto">
          <a:xfrm>
            <a:off x="596900" y="2079625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DEC0F1C-E2C4-47F0-806C-88D7F6BAC7C9}" type="datetime'''''''A''''''''''c''t''i''''''''v''''ity'''''''''''''''''">
              <a:rPr lang="en-US" altLang="en-US" b="1" smtClean="0">
                <a:effectLst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lang="en-US" b="1" dirty="0"/>
          </a:p>
        </p:txBody>
      </p:sp>
      <p:sp>
        <p:nvSpPr>
          <p:cNvPr id="78" name="text">
            <a:extLst>
              <a:ext uri="{FF2B5EF4-FFF2-40B4-BE49-F238E27FC236}">
                <a16:creationId xmlns:a16="http://schemas.microsoft.com/office/drawing/2014/main" id="{6AEC7D96-E806-FAA7-33A0-6744A0D3F736}"/>
              </a:ext>
            </a:extLst>
          </p:cNvPr>
          <p:cNvSpPr>
            <a:spLocks noGrp="1"/>
          </p:cNvSpPr>
          <p:nvPr>
            <p:custDataLst>
              <p:tags r:id="rId171"/>
            </p:custDataLst>
          </p:nvPr>
        </p:nvSpPr>
        <p:spPr bwMode="auto">
          <a:xfrm>
            <a:off x="10460038" y="2894013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Curve</a:t>
            </a:r>
            <a:endParaRPr lang="en-US" dirty="0"/>
          </a:p>
        </p:txBody>
      </p:sp>
      <p:sp>
        <p:nvSpPr>
          <p:cNvPr id="12" name="text">
            <a:extLst>
              <a:ext uri="{FF2B5EF4-FFF2-40B4-BE49-F238E27FC236}">
                <a16:creationId xmlns:a16="http://schemas.microsoft.com/office/drawing/2014/main" id="{183A2F0A-1B50-84B9-8D22-221C640673B3}"/>
              </a:ext>
            </a:extLst>
          </p:cNvPr>
          <p:cNvSpPr>
            <a:spLocks noGrp="1"/>
          </p:cNvSpPr>
          <p:nvPr>
            <p:custDataLst>
              <p:tags r:id="rId172"/>
            </p:custDataLst>
          </p:nvPr>
        </p:nvSpPr>
        <p:spPr bwMode="auto">
          <a:xfrm>
            <a:off x="596900" y="4005263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/>
              <a:t>Type </a:t>
            </a:r>
            <a:r>
              <a:rPr lang="en-US" altLang="en-US" dirty="0"/>
              <a:t>2.123 S4</a:t>
            </a:r>
            <a:endParaRPr lang="en-US" dirty="0"/>
          </a:p>
        </p:txBody>
      </p:sp>
      <p:sp>
        <p:nvSpPr>
          <p:cNvPr id="104" name="text">
            <a:extLst>
              <a:ext uri="{FF2B5EF4-FFF2-40B4-BE49-F238E27FC236}">
                <a16:creationId xmlns:a16="http://schemas.microsoft.com/office/drawing/2014/main" id="{80904DAC-67EC-B019-A984-41DA81380ACD}"/>
              </a:ext>
            </a:extLst>
          </p:cNvPr>
          <p:cNvSpPr>
            <a:spLocks noGrp="1"/>
          </p:cNvSpPr>
          <p:nvPr>
            <p:custDataLst>
              <p:tags r:id="rId173"/>
            </p:custDataLst>
          </p:nvPr>
        </p:nvSpPr>
        <p:spPr bwMode="auto">
          <a:xfrm>
            <a:off x="10460038" y="5387975"/>
            <a:ext cx="11318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 / Curve</a:t>
            </a:r>
          </a:p>
        </p:txBody>
      </p:sp>
      <p:sp>
        <p:nvSpPr>
          <p:cNvPr id="94" name="text">
            <a:extLst>
              <a:ext uri="{FF2B5EF4-FFF2-40B4-BE49-F238E27FC236}">
                <a16:creationId xmlns:a16="http://schemas.microsoft.com/office/drawing/2014/main" id="{511BC639-5222-44B7-FF24-83444915EC59}"/>
              </a:ext>
            </a:extLst>
          </p:cNvPr>
          <p:cNvSpPr>
            <a:spLocks noGrp="1"/>
          </p:cNvSpPr>
          <p:nvPr>
            <p:custDataLst>
              <p:tags r:id="rId174"/>
            </p:custDataLst>
          </p:nvPr>
        </p:nvSpPr>
        <p:spPr bwMode="auto">
          <a:xfrm>
            <a:off x="10460038" y="4005263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  <a:endParaRPr lang="en-US" dirty="0"/>
          </a:p>
        </p:txBody>
      </p:sp>
      <p:sp>
        <p:nvSpPr>
          <p:cNvPr id="11" name="text">
            <a:extLst>
              <a:ext uri="{FF2B5EF4-FFF2-40B4-BE49-F238E27FC236}">
                <a16:creationId xmlns:a16="http://schemas.microsoft.com/office/drawing/2014/main" id="{BD614BF3-59EC-BD81-F0F8-661FB8BE2426}"/>
              </a:ext>
            </a:extLst>
          </p:cNvPr>
          <p:cNvSpPr>
            <a:spLocks noGrp="1"/>
          </p:cNvSpPr>
          <p:nvPr>
            <p:custDataLst>
              <p:tags r:id="rId175"/>
            </p:custDataLst>
          </p:nvPr>
        </p:nvSpPr>
        <p:spPr bwMode="auto">
          <a:xfrm>
            <a:off x="596900" y="3165475"/>
            <a:ext cx="1171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effectLst/>
              </a:rPr>
              <a:t>Type 2.8C B1-B6</a:t>
            </a:r>
            <a:endParaRPr lang="en-US" dirty="0"/>
          </a:p>
        </p:txBody>
      </p:sp>
      <p:sp>
        <p:nvSpPr>
          <p:cNvPr id="90" name="text">
            <a:extLst>
              <a:ext uri="{FF2B5EF4-FFF2-40B4-BE49-F238E27FC236}">
                <a16:creationId xmlns:a16="http://schemas.microsoft.com/office/drawing/2014/main" id="{9B18C5A2-F8FB-4C8F-D747-A54BD7479810}"/>
              </a:ext>
            </a:extLst>
          </p:cNvPr>
          <p:cNvSpPr>
            <a:spLocks noGrp="1"/>
          </p:cNvSpPr>
          <p:nvPr>
            <p:custDataLst>
              <p:tags r:id="rId176"/>
            </p:custDataLst>
          </p:nvPr>
        </p:nvSpPr>
        <p:spPr bwMode="auto">
          <a:xfrm>
            <a:off x="596900" y="5387975"/>
            <a:ext cx="14144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/>
              <a:t>Type </a:t>
            </a:r>
            <a:r>
              <a:rPr lang="en-US" altLang="en-US" dirty="0"/>
              <a:t>1.E / 2.4 S1-S6</a:t>
            </a:r>
            <a:endParaRPr lang="en-US" dirty="0"/>
          </a:p>
        </p:txBody>
      </p:sp>
      <p:sp>
        <p:nvSpPr>
          <p:cNvPr id="8" name="text">
            <a:extLst>
              <a:ext uri="{FF2B5EF4-FFF2-40B4-BE49-F238E27FC236}">
                <a16:creationId xmlns:a16="http://schemas.microsoft.com/office/drawing/2014/main" id="{9E16CDB6-7C25-A94C-0460-4F47FED21C40}"/>
              </a:ext>
            </a:extLst>
          </p:cNvPr>
          <p:cNvSpPr>
            <a:spLocks noGrp="1"/>
          </p:cNvSpPr>
          <p:nvPr>
            <p:custDataLst>
              <p:tags r:id="rId177"/>
            </p:custDataLst>
          </p:nvPr>
        </p:nvSpPr>
        <p:spPr bwMode="auto">
          <a:xfrm>
            <a:off x="596900" y="2624138"/>
            <a:ext cx="11731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effectLst/>
              </a:rPr>
              <a:t>Type 1.7B B1-B6</a:t>
            </a:r>
            <a:endParaRPr lang="en-US" dirty="0"/>
          </a:p>
        </p:txBody>
      </p:sp>
      <p:sp>
        <p:nvSpPr>
          <p:cNvPr id="13" name="text">
            <a:extLst>
              <a:ext uri="{FF2B5EF4-FFF2-40B4-BE49-F238E27FC236}">
                <a16:creationId xmlns:a16="http://schemas.microsoft.com/office/drawing/2014/main" id="{6EA0BDF0-3D9F-D429-3078-9FC73B6F9BA8}"/>
              </a:ext>
            </a:extLst>
          </p:cNvPr>
          <p:cNvSpPr>
            <a:spLocks noGrp="1"/>
          </p:cNvSpPr>
          <p:nvPr>
            <p:custDataLst>
              <p:tags r:id="rId178"/>
            </p:custDataLst>
          </p:nvPr>
        </p:nvSpPr>
        <p:spPr bwMode="auto">
          <a:xfrm>
            <a:off x="596900" y="4276725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Type 2.123 S6</a:t>
            </a:r>
            <a:endParaRPr lang="en-US" dirty="0"/>
          </a:p>
        </p:txBody>
      </p:sp>
      <p:sp>
        <p:nvSpPr>
          <p:cNvPr id="76" name="text">
            <a:extLst>
              <a:ext uri="{FF2B5EF4-FFF2-40B4-BE49-F238E27FC236}">
                <a16:creationId xmlns:a16="http://schemas.microsoft.com/office/drawing/2014/main" id="{54EB71D5-A536-C37B-6E05-2A36F82D2CB0}"/>
              </a:ext>
            </a:extLst>
          </p:cNvPr>
          <p:cNvSpPr>
            <a:spLocks noGrp="1"/>
          </p:cNvSpPr>
          <p:nvPr>
            <p:custDataLst>
              <p:tags r:id="rId179"/>
            </p:custDataLst>
          </p:nvPr>
        </p:nvSpPr>
        <p:spPr bwMode="auto">
          <a:xfrm>
            <a:off x="10460038" y="2624138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Curve</a:t>
            </a:r>
            <a:endParaRPr lang="en-US" dirty="0"/>
          </a:p>
        </p:txBody>
      </p:sp>
      <p:sp>
        <p:nvSpPr>
          <p:cNvPr id="431" name="Textfeld 430">
            <a:extLst>
              <a:ext uri="{FF2B5EF4-FFF2-40B4-BE49-F238E27FC236}">
                <a16:creationId xmlns:a16="http://schemas.microsoft.com/office/drawing/2014/main" id="{0EBA86B3-A6D8-1B57-C053-FC1BD1A01BFE}"/>
              </a:ext>
            </a:extLst>
          </p:cNvPr>
          <p:cNvSpPr txBox="1"/>
          <p:nvPr/>
        </p:nvSpPr>
        <p:spPr>
          <a:xfrm>
            <a:off x="6484938" y="2690381"/>
            <a:ext cx="3730625" cy="1857807"/>
          </a:xfrm>
          <a:prstGeom prst="rect">
            <a:avLst/>
          </a:prstGeom>
          <a:solidFill>
            <a:schemeClr val="bg1">
              <a:lumMod val="85000"/>
              <a:alpha val="25000"/>
            </a:schemeClr>
          </a:solidFill>
          <a:ln w="19050">
            <a:solidFill>
              <a:srgbClr val="FF0000"/>
            </a:solidFill>
          </a:ln>
        </p:spPr>
        <p:txBody>
          <a:bodyPr wrap="square" lIns="36000" tIns="36000" rIns="36000" bIns="36000" rtlCol="0">
            <a:spAutoFit/>
          </a:bodyPr>
          <a:lstStyle/>
          <a:p>
            <a:pPr algn="l">
              <a:spcBef>
                <a:spcPts val="400"/>
              </a:spcBef>
              <a:spcAft>
                <a:spcPts val="400"/>
              </a:spcAft>
            </a:pPr>
            <a:r>
              <a:rPr lang="en-US" sz="1200" dirty="0">
                <a:solidFill>
                  <a:schemeClr val="tx1"/>
                </a:solidFill>
                <a:latin typeface="+mn-lt"/>
              </a:rPr>
              <a:t>The delivery dates for the final modules have been postponed compared to the installation plan (Status 2024). The installation dates will also be postponed accordingly.</a:t>
            </a:r>
          </a:p>
          <a:p>
            <a:pPr algn="l">
              <a:spcBef>
                <a:spcPts val="400"/>
              </a:spcBef>
              <a:spcAft>
                <a:spcPts val="400"/>
              </a:spcAft>
            </a:pPr>
            <a:r>
              <a:rPr lang="en-US" sz="1200" dirty="0"/>
              <a:t>The critical path for installation is defined by the delivery, installation and commissioning by the last modules.</a:t>
            </a:r>
            <a:endParaRPr lang="en-US" sz="1200" dirty="0">
              <a:solidFill>
                <a:schemeClr val="tx1"/>
              </a:solidFill>
              <a:latin typeface="+mn-lt"/>
            </a:endParaRPr>
          </a:p>
          <a:p>
            <a:pPr algn="l">
              <a:spcBef>
                <a:spcPts val="400"/>
              </a:spcBef>
              <a:spcAft>
                <a:spcPts val="400"/>
              </a:spcAft>
            </a:pPr>
            <a:r>
              <a:rPr lang="en-US" sz="1200" dirty="0">
                <a:solidFill>
                  <a:schemeClr val="tx1"/>
                </a:solidFill>
                <a:latin typeface="+mn-lt"/>
              </a:rPr>
              <a:t>Recommendation:</a:t>
            </a:r>
          </a:p>
          <a:p>
            <a:pPr algn="l">
              <a:spcBef>
                <a:spcPts val="400"/>
              </a:spcBef>
              <a:spcAft>
                <a:spcPts val="400"/>
              </a:spcAft>
            </a:pPr>
            <a:r>
              <a:rPr lang="en-US" sz="1200" dirty="0"/>
              <a:t>The delivery dates of the final modules must be checked and coordinated in detail with the suppliers.</a:t>
            </a:r>
            <a:endParaRPr lang="en-US" sz="12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DDC263F4-A08A-9265-E54B-8544CEA17E31}"/>
              </a:ext>
            </a:extLst>
          </p:cNvPr>
          <p:cNvSpPr/>
          <p:nvPr/>
        </p:nvSpPr>
        <p:spPr>
          <a:xfrm>
            <a:off x="7189788" y="5006715"/>
            <a:ext cx="1924050" cy="63684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cxnSp>
        <p:nvCxnSpPr>
          <p:cNvPr id="30" name="Verbinder: gekrümmt 29">
            <a:extLst>
              <a:ext uri="{FF2B5EF4-FFF2-40B4-BE49-F238E27FC236}">
                <a16:creationId xmlns:a16="http://schemas.microsoft.com/office/drawing/2014/main" id="{885BC6EA-9A8B-B46F-C09E-0A0B699443CA}"/>
              </a:ext>
            </a:extLst>
          </p:cNvPr>
          <p:cNvCxnSpPr>
            <a:cxnSpLocks/>
            <a:stCxn id="431" idx="2"/>
            <a:endCxn id="25" idx="0"/>
          </p:cNvCxnSpPr>
          <p:nvPr/>
        </p:nvCxnSpPr>
        <p:spPr>
          <a:xfrm rot="5400000">
            <a:off x="8021769" y="4678232"/>
            <a:ext cx="458527" cy="198438"/>
          </a:xfrm>
          <a:prstGeom prst="curvedConnector3">
            <a:avLst>
              <a:gd name="adj1" fmla="val 50000"/>
            </a:avLst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1686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8E9E501A-375B-B9AC-8D41-2448A382DFF2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24815" y="544551"/>
            <a:ext cx="9044055" cy="3619354"/>
            <a:chOff x="424815" y="544551"/>
            <a:chExt cx="9044055" cy="3619354"/>
          </a:xfrm>
        </p:grpSpPr>
        <p:sp>
          <p:nvSpPr>
            <p:cNvPr id="2" name="MIO_AGENDA_ELEMENT_TITEL_1">
              <a:hlinkClick r:id="rId18" action="ppaction://hlinksldjump"/>
              <a:extLst>
                <a:ext uri="{FF2B5EF4-FFF2-40B4-BE49-F238E27FC236}">
                  <a16:creationId xmlns:a16="http://schemas.microsoft.com/office/drawing/2014/main" id="{0469837D-225F-4EB6-A2B7-9A49D74EF82A}"/>
                </a:ext>
              </a:extLst>
            </p:cNvPr>
            <p:cNvSpPr txBox="1"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869315" y="544551"/>
              <a:ext cx="8599555" cy="44450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defPPr>
                <a:defRPr lang="de-DE"/>
              </a:defPPr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88" indent="-90488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66700" indent="-88900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 Light" panose="020F03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6pPr>
              <a:lvl7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1">
                  <a:solidFill>
                    <a:schemeClr val="dk1"/>
                  </a:solidFill>
                  <a:latin typeface="+mn-lt"/>
                </a:rPr>
                <a:t>Content</a:t>
              </a:r>
              <a:endParaRPr lang="de-DE" sz="1600" b="1" dirty="0">
                <a:solidFill>
                  <a:schemeClr val="dk1"/>
                </a:solidFill>
                <a:latin typeface="+mn-lt"/>
              </a:endParaRPr>
            </a:p>
          </p:txBody>
        </p:sp>
        <p:sp>
          <p:nvSpPr>
            <p:cNvPr id="3" name="MIO_AGENDA_ELEMENT_ELEMENTNUMBER_1">
              <a:hlinkClick r:id="rId18" action="ppaction://hlinksldjump"/>
              <a:extLst>
                <a:ext uri="{FF2B5EF4-FFF2-40B4-BE49-F238E27FC236}">
                  <a16:creationId xmlns:a16="http://schemas.microsoft.com/office/drawing/2014/main" id="{4A5E4DC2-67B8-41C0-B70E-2423306BCA1D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424815" y="544551"/>
              <a:ext cx="444500" cy="4445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2000" b="1">
                  <a:solidFill>
                    <a:schemeClr val="dk1"/>
                  </a:solidFill>
                </a:rPr>
                <a:t>01</a:t>
              </a:r>
              <a:endParaRPr lang="de-DE" sz="2000" b="1" dirty="0">
                <a:solidFill>
                  <a:schemeClr val="dk1"/>
                </a:solidFill>
              </a:endParaRPr>
            </a:p>
          </p:txBody>
        </p:sp>
        <p:sp>
          <p:nvSpPr>
            <p:cNvPr id="4" name="MIO_AGENDA_ELEMENT_TITEL_2">
              <a:hlinkClick r:id="rId19" action="ppaction://hlinksldjump"/>
              <a:extLst>
                <a:ext uri="{FF2B5EF4-FFF2-40B4-BE49-F238E27FC236}">
                  <a16:creationId xmlns:a16="http://schemas.microsoft.com/office/drawing/2014/main" id="{0469837D-225F-4EB6-A2B7-9A49D74EF82A}"/>
                </a:ext>
              </a:extLst>
            </p:cNvPr>
            <p:cNvSpPr txBox="1"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869315" y="1179521"/>
              <a:ext cx="8599555" cy="44450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defPPr>
                <a:defRPr lang="de-DE"/>
              </a:defPPr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88" indent="-90488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66700" indent="-88900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 Light" panose="020F03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6pPr>
              <a:lvl7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de-DE" sz="1600">
                  <a:solidFill>
                    <a:schemeClr val="dk1"/>
                  </a:solidFill>
                  <a:latin typeface="+mn-lt"/>
                </a:rPr>
                <a:t>Status Quo Installation (Status 2024)</a:t>
              </a:r>
              <a:endParaRPr lang="de-DE" sz="1600" dirty="0">
                <a:solidFill>
                  <a:schemeClr val="dk1"/>
                </a:solidFill>
                <a:latin typeface="+mn-lt"/>
              </a:endParaRPr>
            </a:p>
          </p:txBody>
        </p:sp>
        <p:sp>
          <p:nvSpPr>
            <p:cNvPr id="5" name="MIO_AGENDA_ELEMENT_ELEMENTNUMBER_2">
              <a:hlinkClick r:id="rId19" action="ppaction://hlinksldjump"/>
              <a:extLst>
                <a:ext uri="{FF2B5EF4-FFF2-40B4-BE49-F238E27FC236}">
                  <a16:creationId xmlns:a16="http://schemas.microsoft.com/office/drawing/2014/main" id="{1D5C5F93-9B8E-403B-B897-B2A0427B5E73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424815" y="1179521"/>
              <a:ext cx="444500" cy="4445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2000">
                  <a:solidFill>
                    <a:schemeClr val="dk1"/>
                  </a:solidFill>
                </a:rPr>
                <a:t>02</a:t>
              </a:r>
              <a:endParaRPr lang="de-DE" sz="2000" dirty="0">
                <a:solidFill>
                  <a:schemeClr val="dk1"/>
                </a:solidFill>
              </a:endParaRPr>
            </a:p>
          </p:txBody>
        </p:sp>
        <p:sp>
          <p:nvSpPr>
            <p:cNvPr id="6" name="MIO_AGENDA_ELEMENT_TITEL_3">
              <a:hlinkClick r:id="rId20" action="ppaction://hlinksldjump"/>
              <a:extLst>
                <a:ext uri="{FF2B5EF4-FFF2-40B4-BE49-F238E27FC236}">
                  <a16:creationId xmlns:a16="http://schemas.microsoft.com/office/drawing/2014/main" id="{0469837D-225F-4EB6-A2B7-9A49D74EF82A}"/>
                </a:ext>
              </a:extLst>
            </p:cNvPr>
            <p:cNvSpPr txBox="1"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869315" y="1814492"/>
              <a:ext cx="8599555" cy="44450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defPPr>
                <a:defRPr lang="de-DE"/>
              </a:defPPr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88" indent="-90488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66700" indent="-88900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 Light" panose="020F03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6pPr>
              <a:lvl7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pt-BR" sz="1600">
                  <a:solidFill>
                    <a:schemeClr val="dk1"/>
                  </a:solidFill>
                  <a:latin typeface="+mn-lt"/>
                </a:rPr>
                <a:t>Status Quo delivery dates Quadru-Poles</a:t>
              </a:r>
              <a:endParaRPr lang="de-DE" sz="1600" dirty="0">
                <a:solidFill>
                  <a:schemeClr val="dk1"/>
                </a:solidFill>
                <a:latin typeface="+mn-lt"/>
              </a:endParaRPr>
            </a:p>
          </p:txBody>
        </p:sp>
        <p:sp>
          <p:nvSpPr>
            <p:cNvPr id="7" name="MIO_AGENDA_ELEMENT_ELEMENTNUMBER_3">
              <a:hlinkClick r:id="rId20" action="ppaction://hlinksldjump"/>
              <a:extLst>
                <a:ext uri="{FF2B5EF4-FFF2-40B4-BE49-F238E27FC236}">
                  <a16:creationId xmlns:a16="http://schemas.microsoft.com/office/drawing/2014/main" id="{1D5C5F93-9B8E-403B-B897-B2A0427B5E73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424815" y="1814492"/>
              <a:ext cx="444500" cy="4445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2000">
                  <a:solidFill>
                    <a:schemeClr val="dk1"/>
                  </a:solidFill>
                </a:rPr>
                <a:t>03</a:t>
              </a:r>
              <a:endParaRPr lang="de-DE" sz="2000" dirty="0">
                <a:solidFill>
                  <a:schemeClr val="dk1"/>
                </a:solidFill>
              </a:endParaRPr>
            </a:p>
          </p:txBody>
        </p:sp>
        <p:sp>
          <p:nvSpPr>
            <p:cNvPr id="8" name="MIO_AGENDA_ELEMENT_TITEL_4">
              <a:hlinkClick r:id="rId21" action="ppaction://hlinksldjump"/>
              <a:extLst>
                <a:ext uri="{FF2B5EF4-FFF2-40B4-BE49-F238E27FC236}">
                  <a16:creationId xmlns:a16="http://schemas.microsoft.com/office/drawing/2014/main" id="{0469837D-225F-4EB6-A2B7-9A49D74EF82A}"/>
                </a:ext>
              </a:extLst>
            </p:cNvPr>
            <p:cNvSpPr txBox="1"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869315" y="2449463"/>
              <a:ext cx="8599555" cy="44450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defPPr>
                <a:defRPr lang="de-DE"/>
              </a:defPPr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88" indent="-90488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66700" indent="-88900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 Light" panose="020F03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6pPr>
              <a:lvl7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fr-FR" sz="1600">
                  <a:solidFill>
                    <a:schemeClr val="dk1"/>
                  </a:solidFill>
                  <a:latin typeface="+mn-lt"/>
                </a:rPr>
                <a:t>Installation Plan Quadru-Poles (Status 09.2025)</a:t>
              </a:r>
              <a:endParaRPr lang="de-DE" sz="1600" dirty="0">
                <a:solidFill>
                  <a:schemeClr val="dk1"/>
                </a:solidFill>
                <a:latin typeface="+mn-lt"/>
              </a:endParaRPr>
            </a:p>
          </p:txBody>
        </p:sp>
        <p:sp>
          <p:nvSpPr>
            <p:cNvPr id="9" name="MIO_AGENDA_ELEMENT_ELEMENTNUMBER_4">
              <a:hlinkClick r:id="rId21" action="ppaction://hlinksldjump"/>
              <a:extLst>
                <a:ext uri="{FF2B5EF4-FFF2-40B4-BE49-F238E27FC236}">
                  <a16:creationId xmlns:a16="http://schemas.microsoft.com/office/drawing/2014/main" id="{1D5C5F93-9B8E-403B-B897-B2A0427B5E73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gray">
            <a:xfrm>
              <a:off x="424815" y="2449463"/>
              <a:ext cx="444500" cy="4445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2000">
                  <a:solidFill>
                    <a:schemeClr val="dk1"/>
                  </a:solidFill>
                </a:rPr>
                <a:t>04</a:t>
              </a:r>
              <a:endParaRPr lang="de-DE" sz="2000" dirty="0">
                <a:solidFill>
                  <a:schemeClr val="dk1"/>
                </a:solidFill>
              </a:endParaRPr>
            </a:p>
          </p:txBody>
        </p:sp>
        <p:sp>
          <p:nvSpPr>
            <p:cNvPr id="10" name="MIO_AGENDA_ELEMENT_TITEL_5">
              <a:hlinkClick r:id="rId22" action="ppaction://hlinksldjump"/>
              <a:extLst>
                <a:ext uri="{FF2B5EF4-FFF2-40B4-BE49-F238E27FC236}">
                  <a16:creationId xmlns:a16="http://schemas.microsoft.com/office/drawing/2014/main" id="{0469837D-225F-4EB6-A2B7-9A49D74EF82A}"/>
                </a:ext>
              </a:extLst>
            </p:cNvPr>
            <p:cNvSpPr txBox="1">
              <a:spLocks/>
            </p:cNvSpPr>
            <p:nvPr>
              <p:custDataLst>
                <p:tags r:id="rId12"/>
              </p:custDataLst>
            </p:nvPr>
          </p:nvSpPr>
          <p:spPr bwMode="gray">
            <a:xfrm>
              <a:off x="869315" y="3084434"/>
              <a:ext cx="8599555" cy="44450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defPPr>
                <a:defRPr lang="de-DE"/>
              </a:defPPr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88" indent="-90488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66700" indent="-88900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 Light" panose="020F03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6pPr>
              <a:lvl7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de-DE" sz="1600">
                  <a:solidFill>
                    <a:schemeClr val="dk1"/>
                  </a:solidFill>
                  <a:latin typeface="+mn-lt"/>
                </a:rPr>
                <a:t>Open Issues / to clarify</a:t>
              </a:r>
              <a:endParaRPr lang="de-DE" sz="1600" dirty="0">
                <a:solidFill>
                  <a:schemeClr val="dk1"/>
                </a:solidFill>
                <a:latin typeface="+mn-lt"/>
              </a:endParaRPr>
            </a:p>
          </p:txBody>
        </p:sp>
        <p:sp>
          <p:nvSpPr>
            <p:cNvPr id="11" name="MIO_AGENDA_ELEMENT_ELEMENTNUMBER_5">
              <a:hlinkClick r:id="rId22" action="ppaction://hlinksldjump"/>
              <a:extLst>
                <a:ext uri="{FF2B5EF4-FFF2-40B4-BE49-F238E27FC236}">
                  <a16:creationId xmlns:a16="http://schemas.microsoft.com/office/drawing/2014/main" id="{1D5C5F93-9B8E-403B-B897-B2A0427B5E73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gray">
            <a:xfrm>
              <a:off x="424815" y="3084434"/>
              <a:ext cx="444500" cy="4445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2000">
                  <a:solidFill>
                    <a:schemeClr val="dk1"/>
                  </a:solidFill>
                </a:rPr>
                <a:t>05</a:t>
              </a:r>
              <a:endParaRPr lang="de-DE" sz="2000" dirty="0">
                <a:solidFill>
                  <a:schemeClr val="dk1"/>
                </a:solidFill>
              </a:endParaRPr>
            </a:p>
          </p:txBody>
        </p:sp>
        <p:sp>
          <p:nvSpPr>
            <p:cNvPr id="12" name="MIO_AGENDA_ELEMENT_TITEL_6">
              <a:hlinkClick r:id="rId23" action="ppaction://hlinksldjump"/>
              <a:extLst>
                <a:ext uri="{FF2B5EF4-FFF2-40B4-BE49-F238E27FC236}">
                  <a16:creationId xmlns:a16="http://schemas.microsoft.com/office/drawing/2014/main" id="{0469837D-225F-4EB6-A2B7-9A49D74EF82A}"/>
                </a:ext>
              </a:extLst>
            </p:cNvPr>
            <p:cNvSpPr txBox="1">
              <a:spLocks/>
            </p:cNvSpPr>
            <p:nvPr>
              <p:custDataLst>
                <p:tags r:id="rId14"/>
              </p:custDataLst>
            </p:nvPr>
          </p:nvSpPr>
          <p:spPr bwMode="gray">
            <a:xfrm>
              <a:off x="869315" y="3719405"/>
              <a:ext cx="8599555" cy="44450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defPPr>
                <a:defRPr lang="de-DE"/>
              </a:defPPr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88" indent="-90488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66700" indent="-88900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 Light" panose="020F03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6pPr>
              <a:lvl7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de-DE" sz="1600">
                  <a:solidFill>
                    <a:schemeClr val="dk1"/>
                  </a:solidFill>
                  <a:latin typeface="+mn-lt"/>
                </a:rPr>
                <a:t>Next Steps</a:t>
              </a:r>
              <a:endParaRPr lang="de-DE" sz="1600" dirty="0">
                <a:solidFill>
                  <a:schemeClr val="dk1"/>
                </a:solidFill>
                <a:latin typeface="+mn-lt"/>
              </a:endParaRPr>
            </a:p>
          </p:txBody>
        </p:sp>
        <p:sp>
          <p:nvSpPr>
            <p:cNvPr id="13" name="MIO_AGENDA_ELEMENT_ELEMENTNUMBER_6">
              <a:hlinkClick r:id="rId23" action="ppaction://hlinksldjump"/>
              <a:extLst>
                <a:ext uri="{FF2B5EF4-FFF2-40B4-BE49-F238E27FC236}">
                  <a16:creationId xmlns:a16="http://schemas.microsoft.com/office/drawing/2014/main" id="{1D5C5F93-9B8E-403B-B897-B2A0427B5E73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gray">
            <a:xfrm>
              <a:off x="424815" y="3719405"/>
              <a:ext cx="444500" cy="4445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2000">
                  <a:solidFill>
                    <a:schemeClr val="dk1"/>
                  </a:solidFill>
                </a:rPr>
                <a:t>06</a:t>
              </a:r>
              <a:endParaRPr lang="de-DE" sz="2000" dirty="0">
                <a:solidFill>
                  <a:schemeClr val="dk1"/>
                </a:solidFill>
              </a:endParaRPr>
            </a:p>
          </p:txBody>
        </p:sp>
      </p:grpSp>
      <p:sp>
        <p:nvSpPr>
          <p:cNvPr id="20" name="Titel 19">
            <a:extLst>
              <a:ext uri="{FF2B5EF4-FFF2-40B4-BE49-F238E27FC236}">
                <a16:creationId xmlns:a16="http://schemas.microsoft.com/office/drawing/2014/main" id="{52A87956-E7C3-8EA6-58AF-2EB5AB54E18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30262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4C523C6B-DA43-12FF-0207-C6ABD58F72D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24815" y="544551"/>
            <a:ext cx="9044055" cy="3619354"/>
            <a:chOff x="424815" y="544551"/>
            <a:chExt cx="9044055" cy="3619354"/>
          </a:xfrm>
        </p:grpSpPr>
        <p:sp>
          <p:nvSpPr>
            <p:cNvPr id="2" name="MIO_AGENDA_ELEMENT_TITEL_1">
              <a:hlinkClick r:id="rId18" action="ppaction://hlinksldjump"/>
              <a:extLst>
                <a:ext uri="{FF2B5EF4-FFF2-40B4-BE49-F238E27FC236}">
                  <a16:creationId xmlns:a16="http://schemas.microsoft.com/office/drawing/2014/main" id="{0469837D-225F-4EB6-A2B7-9A49D74EF82A}"/>
                </a:ext>
              </a:extLst>
            </p:cNvPr>
            <p:cNvSpPr txBox="1"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869315" y="544551"/>
              <a:ext cx="8599555" cy="44450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defPPr>
                <a:defRPr lang="de-DE"/>
              </a:defPPr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88" indent="-90488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66700" indent="-88900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 Light" panose="020F03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6pPr>
              <a:lvl7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de-DE" sz="1600">
                  <a:solidFill>
                    <a:schemeClr val="dk1"/>
                  </a:solidFill>
                  <a:latin typeface="+mn-lt"/>
                </a:rPr>
                <a:t>Content</a:t>
              </a:r>
              <a:endParaRPr lang="de-DE" sz="1600" dirty="0">
                <a:solidFill>
                  <a:schemeClr val="dk1"/>
                </a:solidFill>
                <a:latin typeface="+mn-lt"/>
              </a:endParaRPr>
            </a:p>
          </p:txBody>
        </p:sp>
        <p:sp>
          <p:nvSpPr>
            <p:cNvPr id="3" name="MIO_AGENDA_ELEMENT_ELEMENTNUMBER_1">
              <a:hlinkClick r:id="rId18" action="ppaction://hlinksldjump"/>
              <a:extLst>
                <a:ext uri="{FF2B5EF4-FFF2-40B4-BE49-F238E27FC236}">
                  <a16:creationId xmlns:a16="http://schemas.microsoft.com/office/drawing/2014/main" id="{1D5C5F93-9B8E-403B-B897-B2A0427B5E73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424815" y="544551"/>
              <a:ext cx="444500" cy="4445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2000">
                  <a:solidFill>
                    <a:schemeClr val="dk1"/>
                  </a:solidFill>
                </a:rPr>
                <a:t>01</a:t>
              </a:r>
              <a:endParaRPr lang="de-DE" sz="2000" dirty="0">
                <a:solidFill>
                  <a:schemeClr val="dk1"/>
                </a:solidFill>
              </a:endParaRPr>
            </a:p>
          </p:txBody>
        </p:sp>
        <p:sp>
          <p:nvSpPr>
            <p:cNvPr id="4" name="MIO_AGENDA_ELEMENT_TITEL_2">
              <a:hlinkClick r:id="rId19" action="ppaction://hlinksldjump"/>
              <a:extLst>
                <a:ext uri="{FF2B5EF4-FFF2-40B4-BE49-F238E27FC236}">
                  <a16:creationId xmlns:a16="http://schemas.microsoft.com/office/drawing/2014/main" id="{0469837D-225F-4EB6-A2B7-9A49D74EF82A}"/>
                </a:ext>
              </a:extLst>
            </p:cNvPr>
            <p:cNvSpPr txBox="1"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869315" y="1179521"/>
              <a:ext cx="8599555" cy="44450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defPPr>
                <a:defRPr lang="de-DE"/>
              </a:defPPr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88" indent="-90488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66700" indent="-88900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 Light" panose="020F03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6pPr>
              <a:lvl7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de-DE" sz="1600">
                  <a:solidFill>
                    <a:schemeClr val="dk1"/>
                  </a:solidFill>
                  <a:latin typeface="+mn-lt"/>
                </a:rPr>
                <a:t>Status Quo Installation (Status 2024)</a:t>
              </a:r>
              <a:endParaRPr lang="de-DE" sz="1600" dirty="0">
                <a:solidFill>
                  <a:schemeClr val="dk1"/>
                </a:solidFill>
                <a:latin typeface="+mn-lt"/>
              </a:endParaRPr>
            </a:p>
          </p:txBody>
        </p:sp>
        <p:sp>
          <p:nvSpPr>
            <p:cNvPr id="5" name="MIO_AGENDA_ELEMENT_ELEMENTNUMBER_2">
              <a:hlinkClick r:id="rId19" action="ppaction://hlinksldjump"/>
              <a:extLst>
                <a:ext uri="{FF2B5EF4-FFF2-40B4-BE49-F238E27FC236}">
                  <a16:creationId xmlns:a16="http://schemas.microsoft.com/office/drawing/2014/main" id="{1D5C5F93-9B8E-403B-B897-B2A0427B5E73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424815" y="1179521"/>
              <a:ext cx="444500" cy="4445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2000">
                  <a:solidFill>
                    <a:schemeClr val="dk1"/>
                  </a:solidFill>
                </a:rPr>
                <a:t>02</a:t>
              </a:r>
              <a:endParaRPr lang="de-DE" sz="2000" dirty="0">
                <a:solidFill>
                  <a:schemeClr val="dk1"/>
                </a:solidFill>
              </a:endParaRPr>
            </a:p>
          </p:txBody>
        </p:sp>
        <p:sp>
          <p:nvSpPr>
            <p:cNvPr id="6" name="MIO_AGENDA_ELEMENT_TITEL_3">
              <a:hlinkClick r:id="rId20" action="ppaction://hlinksldjump"/>
              <a:extLst>
                <a:ext uri="{FF2B5EF4-FFF2-40B4-BE49-F238E27FC236}">
                  <a16:creationId xmlns:a16="http://schemas.microsoft.com/office/drawing/2014/main" id="{0469837D-225F-4EB6-A2B7-9A49D74EF82A}"/>
                </a:ext>
              </a:extLst>
            </p:cNvPr>
            <p:cNvSpPr txBox="1"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869315" y="1814492"/>
              <a:ext cx="8599555" cy="44450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defPPr>
                <a:defRPr lang="de-DE"/>
              </a:defPPr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88" indent="-90488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66700" indent="-88900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 Light" panose="020F03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6pPr>
              <a:lvl7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pt-BR" sz="1600">
                  <a:solidFill>
                    <a:schemeClr val="dk1"/>
                  </a:solidFill>
                  <a:latin typeface="+mn-lt"/>
                </a:rPr>
                <a:t>Status Quo delivery dates Quadru-Poles</a:t>
              </a:r>
              <a:endParaRPr lang="de-DE" sz="1600" dirty="0">
                <a:solidFill>
                  <a:schemeClr val="dk1"/>
                </a:solidFill>
                <a:latin typeface="+mn-lt"/>
              </a:endParaRPr>
            </a:p>
          </p:txBody>
        </p:sp>
        <p:sp>
          <p:nvSpPr>
            <p:cNvPr id="7" name="MIO_AGENDA_ELEMENT_ELEMENTNUMBER_3">
              <a:hlinkClick r:id="rId20" action="ppaction://hlinksldjump"/>
              <a:extLst>
                <a:ext uri="{FF2B5EF4-FFF2-40B4-BE49-F238E27FC236}">
                  <a16:creationId xmlns:a16="http://schemas.microsoft.com/office/drawing/2014/main" id="{1D5C5F93-9B8E-403B-B897-B2A0427B5E73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424815" y="1814492"/>
              <a:ext cx="444500" cy="4445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2000">
                  <a:solidFill>
                    <a:schemeClr val="dk1"/>
                  </a:solidFill>
                </a:rPr>
                <a:t>03</a:t>
              </a:r>
              <a:endParaRPr lang="de-DE" sz="2000" dirty="0">
                <a:solidFill>
                  <a:schemeClr val="dk1"/>
                </a:solidFill>
              </a:endParaRPr>
            </a:p>
          </p:txBody>
        </p:sp>
        <p:sp>
          <p:nvSpPr>
            <p:cNvPr id="8" name="MIO_AGENDA_ELEMENT_TITEL_4">
              <a:hlinkClick r:id="rId21" action="ppaction://hlinksldjump"/>
              <a:extLst>
                <a:ext uri="{FF2B5EF4-FFF2-40B4-BE49-F238E27FC236}">
                  <a16:creationId xmlns:a16="http://schemas.microsoft.com/office/drawing/2014/main" id="{0469837D-225F-4EB6-A2B7-9A49D74EF82A}"/>
                </a:ext>
              </a:extLst>
            </p:cNvPr>
            <p:cNvSpPr txBox="1"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869315" y="2449463"/>
              <a:ext cx="8599555" cy="44450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defPPr>
                <a:defRPr lang="de-DE"/>
              </a:defPPr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88" indent="-90488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66700" indent="-88900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 Light" panose="020F03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6pPr>
              <a:lvl7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fr-FR" sz="1600">
                  <a:solidFill>
                    <a:schemeClr val="dk1"/>
                  </a:solidFill>
                  <a:latin typeface="+mn-lt"/>
                </a:rPr>
                <a:t>Installation Plan Quadru-Poles (Status 09.2025)</a:t>
              </a:r>
              <a:endParaRPr lang="de-DE" sz="1600" dirty="0">
                <a:solidFill>
                  <a:schemeClr val="dk1"/>
                </a:solidFill>
                <a:latin typeface="+mn-lt"/>
              </a:endParaRPr>
            </a:p>
          </p:txBody>
        </p:sp>
        <p:sp>
          <p:nvSpPr>
            <p:cNvPr id="9" name="MIO_AGENDA_ELEMENT_ELEMENTNUMBER_4">
              <a:hlinkClick r:id="rId21" action="ppaction://hlinksldjump"/>
              <a:extLst>
                <a:ext uri="{FF2B5EF4-FFF2-40B4-BE49-F238E27FC236}">
                  <a16:creationId xmlns:a16="http://schemas.microsoft.com/office/drawing/2014/main" id="{1D5C5F93-9B8E-403B-B897-B2A0427B5E73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gray">
            <a:xfrm>
              <a:off x="424815" y="2449463"/>
              <a:ext cx="444500" cy="4445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2000">
                  <a:solidFill>
                    <a:schemeClr val="dk1"/>
                  </a:solidFill>
                </a:rPr>
                <a:t>04</a:t>
              </a:r>
              <a:endParaRPr lang="de-DE" sz="2000" dirty="0">
                <a:solidFill>
                  <a:schemeClr val="dk1"/>
                </a:solidFill>
              </a:endParaRPr>
            </a:p>
          </p:txBody>
        </p:sp>
        <p:sp>
          <p:nvSpPr>
            <p:cNvPr id="10" name="MIO_AGENDA_ELEMENT_TITEL_5">
              <a:hlinkClick r:id="rId22" action="ppaction://hlinksldjump"/>
              <a:extLst>
                <a:ext uri="{FF2B5EF4-FFF2-40B4-BE49-F238E27FC236}">
                  <a16:creationId xmlns:a16="http://schemas.microsoft.com/office/drawing/2014/main" id="{0469837D-225F-4EB6-A2B7-9A49D74EF82A}"/>
                </a:ext>
              </a:extLst>
            </p:cNvPr>
            <p:cNvSpPr txBox="1">
              <a:spLocks/>
            </p:cNvSpPr>
            <p:nvPr>
              <p:custDataLst>
                <p:tags r:id="rId12"/>
              </p:custDataLst>
            </p:nvPr>
          </p:nvSpPr>
          <p:spPr bwMode="gray">
            <a:xfrm>
              <a:off x="869315" y="3084434"/>
              <a:ext cx="8599555" cy="44450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defPPr>
                <a:defRPr lang="de-DE"/>
              </a:defPPr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88" indent="-90488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66700" indent="-88900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 Light" panose="020F03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6pPr>
              <a:lvl7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de-DE" sz="1600">
                  <a:solidFill>
                    <a:schemeClr val="dk1"/>
                  </a:solidFill>
                  <a:latin typeface="+mn-lt"/>
                </a:rPr>
                <a:t>Open Issues / to clarify</a:t>
              </a:r>
              <a:endParaRPr lang="de-DE" sz="1600" dirty="0">
                <a:solidFill>
                  <a:schemeClr val="dk1"/>
                </a:solidFill>
                <a:latin typeface="+mn-lt"/>
              </a:endParaRPr>
            </a:p>
          </p:txBody>
        </p:sp>
        <p:sp>
          <p:nvSpPr>
            <p:cNvPr id="11" name="MIO_AGENDA_ELEMENT_ELEMENTNUMBER_5">
              <a:hlinkClick r:id="rId22" action="ppaction://hlinksldjump"/>
              <a:extLst>
                <a:ext uri="{FF2B5EF4-FFF2-40B4-BE49-F238E27FC236}">
                  <a16:creationId xmlns:a16="http://schemas.microsoft.com/office/drawing/2014/main" id="{1D5C5F93-9B8E-403B-B897-B2A0427B5E73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gray">
            <a:xfrm>
              <a:off x="424815" y="3084434"/>
              <a:ext cx="444500" cy="4445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2000">
                  <a:solidFill>
                    <a:schemeClr val="dk1"/>
                  </a:solidFill>
                </a:rPr>
                <a:t>05</a:t>
              </a:r>
              <a:endParaRPr lang="de-DE" sz="2000" dirty="0">
                <a:solidFill>
                  <a:schemeClr val="dk1"/>
                </a:solidFill>
              </a:endParaRPr>
            </a:p>
          </p:txBody>
        </p:sp>
        <p:sp>
          <p:nvSpPr>
            <p:cNvPr id="12" name="MIO_AGENDA_ELEMENT_TITEL_6">
              <a:hlinkClick r:id="rId23" action="ppaction://hlinksldjump"/>
              <a:extLst>
                <a:ext uri="{FF2B5EF4-FFF2-40B4-BE49-F238E27FC236}">
                  <a16:creationId xmlns:a16="http://schemas.microsoft.com/office/drawing/2014/main" id="{0469837D-225F-4EB6-A2B7-9A49D74EF82A}"/>
                </a:ext>
              </a:extLst>
            </p:cNvPr>
            <p:cNvSpPr txBox="1">
              <a:spLocks/>
            </p:cNvSpPr>
            <p:nvPr>
              <p:custDataLst>
                <p:tags r:id="rId14"/>
              </p:custDataLst>
            </p:nvPr>
          </p:nvSpPr>
          <p:spPr bwMode="gray">
            <a:xfrm>
              <a:off x="869315" y="3719405"/>
              <a:ext cx="8599555" cy="44450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defPPr>
                <a:defRPr lang="de-DE"/>
              </a:defPPr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88" indent="-90488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66700" indent="-88900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 Light" panose="020F03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6pPr>
              <a:lvl7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1">
                  <a:solidFill>
                    <a:schemeClr val="dk1"/>
                  </a:solidFill>
                  <a:latin typeface="+mn-lt"/>
                </a:rPr>
                <a:t>Next Steps</a:t>
              </a:r>
              <a:endParaRPr lang="de-DE" sz="1600" b="1" dirty="0">
                <a:solidFill>
                  <a:schemeClr val="dk1"/>
                </a:solidFill>
                <a:latin typeface="+mn-lt"/>
              </a:endParaRPr>
            </a:p>
          </p:txBody>
        </p:sp>
        <p:sp>
          <p:nvSpPr>
            <p:cNvPr id="13" name="MIO_AGENDA_ELEMENT_ELEMENTNUMBER_6">
              <a:hlinkClick r:id="rId23" action="ppaction://hlinksldjump"/>
              <a:extLst>
                <a:ext uri="{FF2B5EF4-FFF2-40B4-BE49-F238E27FC236}">
                  <a16:creationId xmlns:a16="http://schemas.microsoft.com/office/drawing/2014/main" id="{4A5E4DC2-67B8-41C0-B70E-2423306BCA1D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gray">
            <a:xfrm>
              <a:off x="424815" y="3719405"/>
              <a:ext cx="444500" cy="4445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2000" b="1">
                  <a:solidFill>
                    <a:schemeClr val="dk1"/>
                  </a:solidFill>
                </a:rPr>
                <a:t>06</a:t>
              </a:r>
              <a:endParaRPr lang="de-DE" sz="2000" b="1" dirty="0">
                <a:solidFill>
                  <a:schemeClr val="dk1"/>
                </a:solidFill>
              </a:endParaRPr>
            </a:p>
          </p:txBody>
        </p:sp>
      </p:grpSp>
      <p:sp>
        <p:nvSpPr>
          <p:cNvPr id="20" name="Titel 19">
            <a:extLst>
              <a:ext uri="{FF2B5EF4-FFF2-40B4-BE49-F238E27FC236}">
                <a16:creationId xmlns:a16="http://schemas.microsoft.com/office/drawing/2014/main" id="{52A87956-E7C3-8EA6-58AF-2EB5AB54E18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37303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E9E9D0-9EC7-5D4E-465E-2E0C4F4CAE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37E1617-66F3-143C-64F0-679D1440EB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7E1617-66F3-143C-64F0-679D1440EB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52FDCF6-BDD9-DAC6-2097-348A3CA19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IS100 Workshop – Installation Plan Dipole and quadrupole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3FD6931-3D79-167E-9406-387DE61D2C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/>
              <a:t>Next </a:t>
            </a:r>
            <a:r>
              <a:rPr lang="fr-FR" dirty="0" err="1"/>
              <a:t>Steps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A4E1F65-5B09-6942-DDB6-F752A10262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de-DE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Start / continuation of work preparation for the start of installation of the </a:t>
            </a:r>
            <a:r>
              <a:rPr lang="en-US" sz="2000" dirty="0" err="1"/>
              <a:t>Quadru</a:t>
            </a:r>
            <a:r>
              <a:rPr lang="en-US" sz="2000" dirty="0"/>
              <a:t>-Pole in February 2026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Clarification of the topics highlighted in the previous slid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6FEBD53-1D1E-1C46-FE1B-7148D533B5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5483FD9-7826-EC01-8CA9-D091085FA9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9449A-3FF3-45CE-9F4F-09BADC0910C6}" type="slidenum">
              <a:rPr lang="de-DE" noProof="0"/>
              <a:t>21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208740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031384-C379-0E94-D7E5-4AAE48F6E4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9449A-3FF3-45CE-9F4F-09BADC0910C6}" type="slidenum">
              <a:rPr lang="de-DE" noProof="0"/>
              <a:t>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5EE5EA7-916E-F807-37DE-13D30F84A1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923200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 xmlns:a16="http://schemas.microsoft.com/office/drawing/2014/main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45AFD8-EAA2-D99C-9B2A-B138FAACC2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C6559F8-1791-FEBA-505A-B8540DABD2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6559F8-1791-FEBA-505A-B8540DABD2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34C28EC-7A11-C31D-F0CD-D004A58BAE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IS100 Workshop – Installation Plan Dipole and quadrupole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3EA4663-813E-2C96-3919-2D8D79E05A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/>
              <a:t>Content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17513D8-0A1B-62E9-C23A-54A43DC00AD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de-DE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Installation Plan of Dipoles and Quadrupoles in SIS100</a:t>
            </a:r>
          </a:p>
          <a:p>
            <a:pPr marL="501750" lvl="1" indent="-285750">
              <a:buFont typeface="Arial" panose="020B0604020202020204" pitchFamily="34" charset="0"/>
              <a:buChar char="•"/>
            </a:pPr>
            <a:r>
              <a:rPr lang="en-US" sz="2400" dirty="0"/>
              <a:t>Delivery Dates of </a:t>
            </a:r>
            <a:r>
              <a:rPr lang="en-US" sz="2400" dirty="0" err="1"/>
              <a:t>Quadru</a:t>
            </a:r>
            <a:r>
              <a:rPr lang="en-US" sz="2400" dirty="0"/>
              <a:t>-Poles M10-P (Status 09.2025)</a:t>
            </a:r>
          </a:p>
          <a:p>
            <a:pPr marL="501750" lvl="1" indent="-285750">
              <a:buFont typeface="Arial" panose="020B0604020202020204" pitchFamily="34" charset="0"/>
              <a:buChar char="•"/>
            </a:pPr>
            <a:r>
              <a:rPr lang="en-US" sz="2400" dirty="0"/>
              <a:t>Start of Installation of </a:t>
            </a:r>
            <a:r>
              <a:rPr lang="en-US" sz="2400" dirty="0" err="1"/>
              <a:t>Quadru</a:t>
            </a:r>
            <a:r>
              <a:rPr lang="en-US" sz="2400" dirty="0"/>
              <a:t>-Poles</a:t>
            </a:r>
          </a:p>
          <a:p>
            <a:pPr marL="501750" lvl="1" indent="-285750">
              <a:buFont typeface="Arial" panose="020B0604020202020204" pitchFamily="34" charset="0"/>
              <a:buChar char="•"/>
            </a:pPr>
            <a:r>
              <a:rPr lang="en-US" sz="2400" dirty="0"/>
              <a:t>Installation of </a:t>
            </a:r>
            <a:r>
              <a:rPr lang="en-US" sz="2400" dirty="0" err="1"/>
              <a:t>Quadru</a:t>
            </a:r>
            <a:r>
              <a:rPr lang="en-US" sz="2400" dirty="0"/>
              <a:t>-Po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Further installation dates (beyond the </a:t>
            </a:r>
            <a:r>
              <a:rPr lang="en-US" sz="2400" dirty="0" err="1"/>
              <a:t>Qadru</a:t>
            </a:r>
            <a:r>
              <a:rPr lang="en-US" sz="2400" dirty="0"/>
              <a:t>-Poles) are not content of the today´s presentation.</a:t>
            </a:r>
            <a:br>
              <a:rPr lang="en-US" sz="2400" dirty="0"/>
            </a:br>
            <a:r>
              <a:rPr lang="en-US" sz="2400" dirty="0"/>
              <a:t>(will be presented on 23</a:t>
            </a:r>
            <a:r>
              <a:rPr lang="en-US" sz="2400" baseline="30000" dirty="0"/>
              <a:t>rd</a:t>
            </a:r>
            <a:r>
              <a:rPr lang="en-US" sz="2400" dirty="0"/>
              <a:t> September 2025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215415E-AB98-7DBB-DC1A-4965E6D9D0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84F984F-2807-40D6-B773-4C416A7533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9449A-3FF3-45CE-9F4F-09BADC0910C6}" type="slidenum">
              <a:rPr lang="de-DE" noProof="0"/>
              <a:t>3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867026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9A732F76-F046-7FAB-0CB9-CD096FA2B811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24815" y="544551"/>
            <a:ext cx="9044055" cy="3619354"/>
            <a:chOff x="424815" y="544551"/>
            <a:chExt cx="9044055" cy="3619354"/>
          </a:xfrm>
        </p:grpSpPr>
        <p:sp>
          <p:nvSpPr>
            <p:cNvPr id="2" name="MIO_AGENDA_ELEMENT_TITEL_1">
              <a:hlinkClick r:id="rId18" action="ppaction://hlinksldjump"/>
              <a:extLst>
                <a:ext uri="{FF2B5EF4-FFF2-40B4-BE49-F238E27FC236}">
                  <a16:creationId xmlns:a16="http://schemas.microsoft.com/office/drawing/2014/main" id="{0469837D-225F-4EB6-A2B7-9A49D74EF82A}"/>
                </a:ext>
              </a:extLst>
            </p:cNvPr>
            <p:cNvSpPr txBox="1"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869315" y="544551"/>
              <a:ext cx="8599555" cy="44450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defPPr>
                <a:defRPr lang="de-DE"/>
              </a:defPPr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88" indent="-90488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66700" indent="-88900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 Light" panose="020F03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6pPr>
              <a:lvl7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de-DE" sz="1600">
                  <a:solidFill>
                    <a:schemeClr val="dk1"/>
                  </a:solidFill>
                  <a:latin typeface="+mn-lt"/>
                </a:rPr>
                <a:t>Content</a:t>
              </a:r>
              <a:endParaRPr lang="de-DE" sz="1600" dirty="0">
                <a:solidFill>
                  <a:schemeClr val="dk1"/>
                </a:solidFill>
                <a:latin typeface="+mn-lt"/>
              </a:endParaRPr>
            </a:p>
          </p:txBody>
        </p:sp>
        <p:sp>
          <p:nvSpPr>
            <p:cNvPr id="3" name="MIO_AGENDA_ELEMENT_ELEMENTNUMBER_1">
              <a:hlinkClick r:id="rId18" action="ppaction://hlinksldjump"/>
              <a:extLst>
                <a:ext uri="{FF2B5EF4-FFF2-40B4-BE49-F238E27FC236}">
                  <a16:creationId xmlns:a16="http://schemas.microsoft.com/office/drawing/2014/main" id="{1D5C5F93-9B8E-403B-B897-B2A0427B5E73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424815" y="544551"/>
              <a:ext cx="444500" cy="4445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2000">
                  <a:solidFill>
                    <a:schemeClr val="dk1"/>
                  </a:solidFill>
                </a:rPr>
                <a:t>01</a:t>
              </a:r>
              <a:endParaRPr lang="de-DE" sz="2000" dirty="0">
                <a:solidFill>
                  <a:schemeClr val="dk1"/>
                </a:solidFill>
              </a:endParaRPr>
            </a:p>
          </p:txBody>
        </p:sp>
        <p:sp>
          <p:nvSpPr>
            <p:cNvPr id="4" name="MIO_AGENDA_ELEMENT_TITEL_2">
              <a:hlinkClick r:id="rId19" action="ppaction://hlinksldjump"/>
              <a:extLst>
                <a:ext uri="{FF2B5EF4-FFF2-40B4-BE49-F238E27FC236}">
                  <a16:creationId xmlns:a16="http://schemas.microsoft.com/office/drawing/2014/main" id="{0469837D-225F-4EB6-A2B7-9A49D74EF82A}"/>
                </a:ext>
              </a:extLst>
            </p:cNvPr>
            <p:cNvSpPr txBox="1"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869315" y="1179521"/>
              <a:ext cx="8599555" cy="44450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defPPr>
                <a:defRPr lang="de-DE"/>
              </a:defPPr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88" indent="-90488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66700" indent="-88900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 Light" panose="020F03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6pPr>
              <a:lvl7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1">
                  <a:solidFill>
                    <a:schemeClr val="dk1"/>
                  </a:solidFill>
                  <a:latin typeface="+mn-lt"/>
                </a:rPr>
                <a:t>Status Quo Installation (Status 2024)</a:t>
              </a:r>
              <a:endParaRPr lang="de-DE" sz="1600" b="1" dirty="0">
                <a:solidFill>
                  <a:schemeClr val="dk1"/>
                </a:solidFill>
                <a:latin typeface="+mn-lt"/>
              </a:endParaRPr>
            </a:p>
          </p:txBody>
        </p:sp>
        <p:sp>
          <p:nvSpPr>
            <p:cNvPr id="5" name="MIO_AGENDA_ELEMENT_ELEMENTNUMBER_2">
              <a:hlinkClick r:id="rId19" action="ppaction://hlinksldjump"/>
              <a:extLst>
                <a:ext uri="{FF2B5EF4-FFF2-40B4-BE49-F238E27FC236}">
                  <a16:creationId xmlns:a16="http://schemas.microsoft.com/office/drawing/2014/main" id="{4A5E4DC2-67B8-41C0-B70E-2423306BCA1D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424815" y="1179521"/>
              <a:ext cx="444500" cy="4445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2000" b="1">
                  <a:solidFill>
                    <a:schemeClr val="dk1"/>
                  </a:solidFill>
                </a:rPr>
                <a:t>02</a:t>
              </a:r>
              <a:endParaRPr lang="de-DE" sz="2000" b="1" dirty="0">
                <a:solidFill>
                  <a:schemeClr val="dk1"/>
                </a:solidFill>
              </a:endParaRPr>
            </a:p>
          </p:txBody>
        </p:sp>
        <p:sp>
          <p:nvSpPr>
            <p:cNvPr id="6" name="MIO_AGENDA_ELEMENT_TITEL_3">
              <a:hlinkClick r:id="rId20" action="ppaction://hlinksldjump"/>
              <a:extLst>
                <a:ext uri="{FF2B5EF4-FFF2-40B4-BE49-F238E27FC236}">
                  <a16:creationId xmlns:a16="http://schemas.microsoft.com/office/drawing/2014/main" id="{0469837D-225F-4EB6-A2B7-9A49D74EF82A}"/>
                </a:ext>
              </a:extLst>
            </p:cNvPr>
            <p:cNvSpPr txBox="1"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869315" y="1814492"/>
              <a:ext cx="8599555" cy="44450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defPPr>
                <a:defRPr lang="de-DE"/>
              </a:defPPr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88" indent="-90488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66700" indent="-88900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 Light" panose="020F03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6pPr>
              <a:lvl7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pt-BR" sz="1600">
                  <a:solidFill>
                    <a:schemeClr val="dk1"/>
                  </a:solidFill>
                  <a:latin typeface="+mn-lt"/>
                </a:rPr>
                <a:t>Status Quo delivery dates Quadru-Poles</a:t>
              </a:r>
              <a:endParaRPr lang="de-DE" sz="1600" dirty="0">
                <a:solidFill>
                  <a:schemeClr val="dk1"/>
                </a:solidFill>
                <a:latin typeface="+mn-lt"/>
              </a:endParaRPr>
            </a:p>
          </p:txBody>
        </p:sp>
        <p:sp>
          <p:nvSpPr>
            <p:cNvPr id="7" name="MIO_AGENDA_ELEMENT_ELEMENTNUMBER_3">
              <a:hlinkClick r:id="rId20" action="ppaction://hlinksldjump"/>
              <a:extLst>
                <a:ext uri="{FF2B5EF4-FFF2-40B4-BE49-F238E27FC236}">
                  <a16:creationId xmlns:a16="http://schemas.microsoft.com/office/drawing/2014/main" id="{1D5C5F93-9B8E-403B-B897-B2A0427B5E73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424815" y="1814492"/>
              <a:ext cx="444500" cy="4445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2000">
                  <a:solidFill>
                    <a:schemeClr val="dk1"/>
                  </a:solidFill>
                </a:rPr>
                <a:t>03</a:t>
              </a:r>
              <a:endParaRPr lang="de-DE" sz="2000" dirty="0">
                <a:solidFill>
                  <a:schemeClr val="dk1"/>
                </a:solidFill>
              </a:endParaRPr>
            </a:p>
          </p:txBody>
        </p:sp>
        <p:sp>
          <p:nvSpPr>
            <p:cNvPr id="8" name="MIO_AGENDA_ELEMENT_TITEL_4">
              <a:hlinkClick r:id="rId21" action="ppaction://hlinksldjump"/>
              <a:extLst>
                <a:ext uri="{FF2B5EF4-FFF2-40B4-BE49-F238E27FC236}">
                  <a16:creationId xmlns:a16="http://schemas.microsoft.com/office/drawing/2014/main" id="{0469837D-225F-4EB6-A2B7-9A49D74EF82A}"/>
                </a:ext>
              </a:extLst>
            </p:cNvPr>
            <p:cNvSpPr txBox="1"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869315" y="2449463"/>
              <a:ext cx="8599555" cy="44450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defPPr>
                <a:defRPr lang="de-DE"/>
              </a:defPPr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88" indent="-90488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66700" indent="-88900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 Light" panose="020F03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6pPr>
              <a:lvl7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fr-FR" sz="1600">
                  <a:solidFill>
                    <a:schemeClr val="dk1"/>
                  </a:solidFill>
                  <a:latin typeface="+mn-lt"/>
                </a:rPr>
                <a:t>Installation Plan Quadru-Poles (Status 09.2025)</a:t>
              </a:r>
              <a:endParaRPr lang="de-DE" sz="1600" dirty="0">
                <a:solidFill>
                  <a:schemeClr val="dk1"/>
                </a:solidFill>
                <a:latin typeface="+mn-lt"/>
              </a:endParaRPr>
            </a:p>
          </p:txBody>
        </p:sp>
        <p:sp>
          <p:nvSpPr>
            <p:cNvPr id="9" name="MIO_AGENDA_ELEMENT_ELEMENTNUMBER_4">
              <a:hlinkClick r:id="rId21" action="ppaction://hlinksldjump"/>
              <a:extLst>
                <a:ext uri="{FF2B5EF4-FFF2-40B4-BE49-F238E27FC236}">
                  <a16:creationId xmlns:a16="http://schemas.microsoft.com/office/drawing/2014/main" id="{1D5C5F93-9B8E-403B-B897-B2A0427B5E73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gray">
            <a:xfrm>
              <a:off x="424815" y="2449463"/>
              <a:ext cx="444500" cy="4445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2000">
                  <a:solidFill>
                    <a:schemeClr val="dk1"/>
                  </a:solidFill>
                </a:rPr>
                <a:t>04</a:t>
              </a:r>
              <a:endParaRPr lang="de-DE" sz="2000" dirty="0">
                <a:solidFill>
                  <a:schemeClr val="dk1"/>
                </a:solidFill>
              </a:endParaRPr>
            </a:p>
          </p:txBody>
        </p:sp>
        <p:sp>
          <p:nvSpPr>
            <p:cNvPr id="10" name="MIO_AGENDA_ELEMENT_TITEL_5">
              <a:hlinkClick r:id="rId22" action="ppaction://hlinksldjump"/>
              <a:extLst>
                <a:ext uri="{FF2B5EF4-FFF2-40B4-BE49-F238E27FC236}">
                  <a16:creationId xmlns:a16="http://schemas.microsoft.com/office/drawing/2014/main" id="{0469837D-225F-4EB6-A2B7-9A49D74EF82A}"/>
                </a:ext>
              </a:extLst>
            </p:cNvPr>
            <p:cNvSpPr txBox="1">
              <a:spLocks/>
            </p:cNvSpPr>
            <p:nvPr>
              <p:custDataLst>
                <p:tags r:id="rId12"/>
              </p:custDataLst>
            </p:nvPr>
          </p:nvSpPr>
          <p:spPr bwMode="gray">
            <a:xfrm>
              <a:off x="869315" y="3084434"/>
              <a:ext cx="8599555" cy="44450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defPPr>
                <a:defRPr lang="de-DE"/>
              </a:defPPr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88" indent="-90488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66700" indent="-88900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 Light" panose="020F03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6pPr>
              <a:lvl7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de-DE" sz="1600">
                  <a:solidFill>
                    <a:schemeClr val="dk1"/>
                  </a:solidFill>
                  <a:latin typeface="+mn-lt"/>
                </a:rPr>
                <a:t>Open Issues / to clarify</a:t>
              </a:r>
              <a:endParaRPr lang="de-DE" sz="1600" dirty="0">
                <a:solidFill>
                  <a:schemeClr val="dk1"/>
                </a:solidFill>
                <a:latin typeface="+mn-lt"/>
              </a:endParaRPr>
            </a:p>
          </p:txBody>
        </p:sp>
        <p:sp>
          <p:nvSpPr>
            <p:cNvPr id="11" name="MIO_AGENDA_ELEMENT_ELEMENTNUMBER_5">
              <a:hlinkClick r:id="rId22" action="ppaction://hlinksldjump"/>
              <a:extLst>
                <a:ext uri="{FF2B5EF4-FFF2-40B4-BE49-F238E27FC236}">
                  <a16:creationId xmlns:a16="http://schemas.microsoft.com/office/drawing/2014/main" id="{1D5C5F93-9B8E-403B-B897-B2A0427B5E73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gray">
            <a:xfrm>
              <a:off x="424815" y="3084434"/>
              <a:ext cx="444500" cy="4445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2000">
                  <a:solidFill>
                    <a:schemeClr val="dk1"/>
                  </a:solidFill>
                </a:rPr>
                <a:t>05</a:t>
              </a:r>
              <a:endParaRPr lang="de-DE" sz="2000" dirty="0">
                <a:solidFill>
                  <a:schemeClr val="dk1"/>
                </a:solidFill>
              </a:endParaRPr>
            </a:p>
          </p:txBody>
        </p:sp>
        <p:sp>
          <p:nvSpPr>
            <p:cNvPr id="12" name="MIO_AGENDA_ELEMENT_TITEL_6">
              <a:hlinkClick r:id="rId23" action="ppaction://hlinksldjump"/>
              <a:extLst>
                <a:ext uri="{FF2B5EF4-FFF2-40B4-BE49-F238E27FC236}">
                  <a16:creationId xmlns:a16="http://schemas.microsoft.com/office/drawing/2014/main" id="{0469837D-225F-4EB6-A2B7-9A49D74EF82A}"/>
                </a:ext>
              </a:extLst>
            </p:cNvPr>
            <p:cNvSpPr txBox="1">
              <a:spLocks/>
            </p:cNvSpPr>
            <p:nvPr>
              <p:custDataLst>
                <p:tags r:id="rId14"/>
              </p:custDataLst>
            </p:nvPr>
          </p:nvSpPr>
          <p:spPr bwMode="gray">
            <a:xfrm>
              <a:off x="869315" y="3719405"/>
              <a:ext cx="8599555" cy="44450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defPPr>
                <a:defRPr lang="de-DE"/>
              </a:defPPr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88" indent="-90488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66700" indent="-88900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 Light" panose="020F03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6pPr>
              <a:lvl7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de-DE" sz="1600">
                  <a:solidFill>
                    <a:schemeClr val="dk1"/>
                  </a:solidFill>
                  <a:latin typeface="+mn-lt"/>
                </a:rPr>
                <a:t>Next Steps</a:t>
              </a:r>
              <a:endParaRPr lang="de-DE" sz="1600" dirty="0">
                <a:solidFill>
                  <a:schemeClr val="dk1"/>
                </a:solidFill>
                <a:latin typeface="+mn-lt"/>
              </a:endParaRPr>
            </a:p>
          </p:txBody>
        </p:sp>
        <p:sp>
          <p:nvSpPr>
            <p:cNvPr id="13" name="MIO_AGENDA_ELEMENT_ELEMENTNUMBER_6">
              <a:hlinkClick r:id="rId23" action="ppaction://hlinksldjump"/>
              <a:extLst>
                <a:ext uri="{FF2B5EF4-FFF2-40B4-BE49-F238E27FC236}">
                  <a16:creationId xmlns:a16="http://schemas.microsoft.com/office/drawing/2014/main" id="{1D5C5F93-9B8E-403B-B897-B2A0427B5E73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gray">
            <a:xfrm>
              <a:off x="424815" y="3719405"/>
              <a:ext cx="444500" cy="4445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2000">
                  <a:solidFill>
                    <a:schemeClr val="dk1"/>
                  </a:solidFill>
                </a:rPr>
                <a:t>06</a:t>
              </a:r>
              <a:endParaRPr lang="de-DE" sz="2000" dirty="0">
                <a:solidFill>
                  <a:schemeClr val="dk1"/>
                </a:solidFill>
              </a:endParaRPr>
            </a:p>
          </p:txBody>
        </p:sp>
      </p:grpSp>
      <p:sp>
        <p:nvSpPr>
          <p:cNvPr id="20" name="Titel 19">
            <a:extLst>
              <a:ext uri="{FF2B5EF4-FFF2-40B4-BE49-F238E27FC236}">
                <a16:creationId xmlns:a16="http://schemas.microsoft.com/office/drawing/2014/main" id="{52A87956-E7C3-8EA6-58AF-2EB5AB54E18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17627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52A8A05-85C0-09E8-78CF-08D3CC5D7F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92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52A8A05-85C0-09E8-78CF-08D3CC5D7F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 descr="Ein Bild, das Text, Diagramm, Screenshot, Reihe enthält.&#10;&#10;Automatisch generierte Beschreibung">
            <a:extLst>
              <a:ext uri="{FF2B5EF4-FFF2-40B4-BE49-F238E27FC236}">
                <a16:creationId xmlns:a16="http://schemas.microsoft.com/office/drawing/2014/main" id="{A5E7DFFC-8E2B-8697-48F2-1386B5919F8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8148" b="8025"/>
          <a:stretch/>
        </p:blipFill>
        <p:spPr>
          <a:xfrm>
            <a:off x="1475816" y="1161893"/>
            <a:ext cx="9240368" cy="5475974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291E49F-2190-4D50-13A9-E39C82965D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IS100 Workshop – Installation Plan Dipole and quadrupo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4BB8787-C8B2-CFC3-0EFF-5EDA8A8C2C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Status Quo Installation (Stand 2024)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84A866C-6687-C5A5-B844-80C025C7AA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9449A-3FF3-45CE-9F4F-09BADC0910C6}" type="slidenum">
              <a:rPr lang="de-DE" noProof="0" smtClean="0"/>
              <a:t>5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E4DB58FF-18DA-D793-1B16-EE5EC32CBB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70CF5331-F984-A9EF-3A5A-55B0A9136171}"/>
              </a:ext>
            </a:extLst>
          </p:cNvPr>
          <p:cNvSpPr/>
          <p:nvPr/>
        </p:nvSpPr>
        <p:spPr>
          <a:xfrm>
            <a:off x="3360231" y="1228900"/>
            <a:ext cx="2768600" cy="666467"/>
          </a:xfrm>
          <a:prstGeom prst="ellipse">
            <a:avLst/>
          </a:prstGeom>
          <a:noFill/>
          <a:ln w="349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dirty="0" err="1">
                <a:ln>
                  <a:solidFill>
                    <a:schemeClr val="accent1"/>
                  </a:solidFill>
                </a:ln>
                <a:solidFill>
                  <a:schemeClr val="accent1"/>
                </a:solidFill>
              </a:rPr>
              <a:t>DiPole</a:t>
            </a:r>
            <a:endParaRPr lang="en-US" dirty="0">
              <a:ln>
                <a:solidFill>
                  <a:schemeClr val="accent1"/>
                </a:solidFill>
              </a:ln>
              <a:solidFill>
                <a:schemeClr val="accent1"/>
              </a:solidFill>
            </a:endParaRPr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5FA1D3C6-C1D9-BE77-4D5B-3E42DF263534}"/>
              </a:ext>
            </a:extLst>
          </p:cNvPr>
          <p:cNvSpPr/>
          <p:nvPr/>
        </p:nvSpPr>
        <p:spPr>
          <a:xfrm>
            <a:off x="5875868" y="1735667"/>
            <a:ext cx="2197682" cy="2387600"/>
          </a:xfrm>
          <a:prstGeom prst="ellipse">
            <a:avLst/>
          </a:prstGeom>
          <a:noFill/>
          <a:ln w="349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dirty="0" err="1">
                <a:ln>
                  <a:solidFill>
                    <a:schemeClr val="accent1"/>
                  </a:solidFill>
                </a:ln>
                <a:solidFill>
                  <a:schemeClr val="accent1"/>
                </a:solidFill>
              </a:rPr>
              <a:t>Quadru</a:t>
            </a:r>
            <a:r>
              <a:rPr lang="en-US" dirty="0">
                <a:ln>
                  <a:solidFill>
                    <a:schemeClr val="accent1"/>
                  </a:solidFill>
                </a:ln>
                <a:solidFill>
                  <a:schemeClr val="accent1"/>
                </a:solidFill>
              </a:rPr>
              <a:t>-Pole</a:t>
            </a: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61B03802-C9E8-AAFC-F1EB-0B6D3FF6AB6A}"/>
              </a:ext>
            </a:extLst>
          </p:cNvPr>
          <p:cNvSpPr/>
          <p:nvPr/>
        </p:nvSpPr>
        <p:spPr>
          <a:xfrm>
            <a:off x="1131112" y="1388533"/>
            <a:ext cx="465667" cy="2777069"/>
          </a:xfrm>
          <a:prstGeom prst="ellipse">
            <a:avLst/>
          </a:prstGeom>
          <a:noFill/>
          <a:ln w="349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r>
              <a:rPr lang="en-US" sz="2800" dirty="0">
                <a:ln>
                  <a:solidFill>
                    <a:schemeClr val="accent1"/>
                  </a:solidFill>
                </a:ln>
                <a:solidFill>
                  <a:schemeClr val="accent1"/>
                </a:solidFill>
              </a:rPr>
              <a:t>Bogen</a:t>
            </a: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7E7B6991-F82A-BA0E-363B-F5E5B06295F2}"/>
              </a:ext>
            </a:extLst>
          </p:cNvPr>
          <p:cNvSpPr/>
          <p:nvPr/>
        </p:nvSpPr>
        <p:spPr>
          <a:xfrm>
            <a:off x="1131112" y="4168936"/>
            <a:ext cx="465667" cy="2397464"/>
          </a:xfrm>
          <a:prstGeom prst="ellipse">
            <a:avLst/>
          </a:prstGeom>
          <a:noFill/>
          <a:ln w="349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r>
              <a:rPr lang="en-US" sz="2800" dirty="0" err="1">
                <a:ln>
                  <a:solidFill>
                    <a:schemeClr val="accent1"/>
                  </a:solidFill>
                </a:ln>
                <a:solidFill>
                  <a:schemeClr val="accent1"/>
                </a:solidFill>
              </a:rPr>
              <a:t>Gerade</a:t>
            </a:r>
            <a:endParaRPr lang="en-US" sz="2800" dirty="0">
              <a:ln>
                <a:solidFill>
                  <a:schemeClr val="accent1"/>
                </a:solidFill>
              </a:ln>
              <a:solidFill>
                <a:schemeClr val="accent1"/>
              </a:solidFill>
            </a:endParaRP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5B8457FB-449E-571C-CD40-227DD967CEA5}"/>
              </a:ext>
            </a:extLst>
          </p:cNvPr>
          <p:cNvSpPr/>
          <p:nvPr/>
        </p:nvSpPr>
        <p:spPr>
          <a:xfrm>
            <a:off x="8178800" y="5444067"/>
            <a:ext cx="1148366" cy="1193800"/>
          </a:xfrm>
          <a:prstGeom prst="ellipse">
            <a:avLst/>
          </a:prstGeom>
          <a:noFill/>
          <a:ln w="349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ctr"/>
          <a:lstStyle/>
          <a:p>
            <a:pPr algn="ctr"/>
            <a:r>
              <a:rPr lang="en-US" dirty="0" err="1">
                <a:ln>
                  <a:solidFill>
                    <a:schemeClr val="accent1"/>
                  </a:solidFill>
                </a:ln>
                <a:solidFill>
                  <a:schemeClr val="accent1"/>
                </a:solidFill>
              </a:rPr>
              <a:t>Quadru</a:t>
            </a:r>
            <a:r>
              <a:rPr lang="en-US" dirty="0">
                <a:ln>
                  <a:solidFill>
                    <a:schemeClr val="accent1"/>
                  </a:solidFill>
                </a:ln>
                <a:solidFill>
                  <a:schemeClr val="accent1"/>
                </a:solidFill>
              </a:rPr>
              <a:t>-</a:t>
            </a:r>
            <a:br>
              <a:rPr lang="en-US" dirty="0">
                <a:ln>
                  <a:solidFill>
                    <a:schemeClr val="accent1"/>
                  </a:solidFill>
                </a:ln>
                <a:solidFill>
                  <a:schemeClr val="accent1"/>
                </a:solidFill>
              </a:rPr>
            </a:br>
            <a:r>
              <a:rPr lang="en-US" dirty="0">
                <a:ln>
                  <a:solidFill>
                    <a:schemeClr val="accent1"/>
                  </a:solidFill>
                </a:ln>
                <a:solidFill>
                  <a:schemeClr val="accent1"/>
                </a:solidFill>
              </a:rPr>
              <a:t>Pole</a:t>
            </a: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92C0E838-98D3-7CD5-954D-E5BE8C1C8AC7}"/>
              </a:ext>
            </a:extLst>
          </p:cNvPr>
          <p:cNvSpPr/>
          <p:nvPr/>
        </p:nvSpPr>
        <p:spPr>
          <a:xfrm>
            <a:off x="7772400" y="5444067"/>
            <a:ext cx="406399" cy="1193800"/>
          </a:xfrm>
          <a:prstGeom prst="ellipse">
            <a:avLst/>
          </a:prstGeom>
          <a:noFill/>
          <a:ln w="349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ctr"/>
          <a:lstStyle/>
          <a:p>
            <a:pPr algn="r"/>
            <a:r>
              <a:rPr lang="en-US" dirty="0" err="1">
                <a:ln>
                  <a:solidFill>
                    <a:schemeClr val="accent1"/>
                  </a:solidFill>
                </a:ln>
                <a:solidFill>
                  <a:schemeClr val="accent1"/>
                </a:solidFill>
              </a:rPr>
              <a:t>Quadru</a:t>
            </a:r>
            <a:r>
              <a:rPr lang="en-US" dirty="0">
                <a:ln>
                  <a:solidFill>
                    <a:schemeClr val="accent1"/>
                  </a:solidFill>
                </a:ln>
                <a:solidFill>
                  <a:schemeClr val="accent1"/>
                </a:solidFill>
              </a:rPr>
              <a:t>-Pole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E4B808F9-BA7D-92AB-7EF2-5027F3FCF798}"/>
              </a:ext>
            </a:extLst>
          </p:cNvPr>
          <p:cNvSpPr/>
          <p:nvPr/>
        </p:nvSpPr>
        <p:spPr>
          <a:xfrm>
            <a:off x="4377267" y="4165602"/>
            <a:ext cx="719666" cy="448731"/>
          </a:xfrm>
          <a:prstGeom prst="ellipse">
            <a:avLst/>
          </a:prstGeom>
          <a:noFill/>
          <a:ln w="349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ctr"/>
          <a:lstStyle/>
          <a:p>
            <a:pPr algn="ctr"/>
            <a:r>
              <a:rPr lang="en-US" dirty="0" err="1">
                <a:ln>
                  <a:solidFill>
                    <a:schemeClr val="accent1"/>
                  </a:solidFill>
                </a:ln>
                <a:solidFill>
                  <a:schemeClr val="accent1"/>
                </a:solidFill>
              </a:rPr>
              <a:t>ByPass</a:t>
            </a:r>
            <a:endParaRPr lang="en-US" dirty="0">
              <a:ln>
                <a:solidFill>
                  <a:schemeClr val="accent1"/>
                </a:solidFill>
              </a:ln>
              <a:solidFill>
                <a:schemeClr val="accent1"/>
              </a:solidFill>
            </a:endParaRPr>
          </a:p>
          <a:p>
            <a:pPr algn="ctr"/>
            <a:endParaRPr lang="en-US" dirty="0">
              <a:ln>
                <a:solidFill>
                  <a:schemeClr val="accent1"/>
                </a:solidFill>
              </a:ln>
              <a:solidFill>
                <a:schemeClr val="accent1"/>
              </a:solidFill>
            </a:endParaRPr>
          </a:p>
          <a:p>
            <a:pPr algn="ctr"/>
            <a:endParaRPr lang="en-US" dirty="0">
              <a:ln>
                <a:solidFill>
                  <a:schemeClr val="accent1"/>
                </a:solidFill>
              </a:ln>
              <a:solidFill>
                <a:schemeClr val="accent1"/>
              </a:solidFill>
            </a:endParaRPr>
          </a:p>
          <a:p>
            <a:pPr algn="ctr"/>
            <a:endParaRPr lang="en-US" dirty="0">
              <a:ln>
                <a:solidFill>
                  <a:schemeClr val="accent1"/>
                </a:solidFill>
              </a:ln>
              <a:solidFill>
                <a:schemeClr val="accent1"/>
              </a:solidFill>
            </a:endParaRPr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48358AE5-72F0-2DE7-B23B-3231279043C1}"/>
              </a:ext>
            </a:extLst>
          </p:cNvPr>
          <p:cNvSpPr/>
          <p:nvPr/>
        </p:nvSpPr>
        <p:spPr>
          <a:xfrm>
            <a:off x="5029199" y="4529460"/>
            <a:ext cx="1634067" cy="448731"/>
          </a:xfrm>
          <a:prstGeom prst="ellipse">
            <a:avLst/>
          </a:prstGeom>
          <a:noFill/>
          <a:ln w="349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ctr"/>
          <a:lstStyle/>
          <a:p>
            <a:pPr algn="ctr"/>
            <a:r>
              <a:rPr lang="en-US" dirty="0" err="1">
                <a:ln>
                  <a:solidFill>
                    <a:schemeClr val="accent1"/>
                  </a:solidFill>
                </a:ln>
                <a:solidFill>
                  <a:schemeClr val="accent1"/>
                </a:solidFill>
              </a:rPr>
              <a:t>Cryo</a:t>
            </a:r>
            <a:r>
              <a:rPr lang="en-US" dirty="0">
                <a:ln>
                  <a:solidFill>
                    <a:schemeClr val="accent1"/>
                  </a:solidFill>
                </a:ln>
                <a:solidFill>
                  <a:schemeClr val="accent1"/>
                </a:solidFill>
              </a:rPr>
              <a:t> </a:t>
            </a:r>
            <a:r>
              <a:rPr lang="en-US" dirty="0" err="1">
                <a:ln>
                  <a:solidFill>
                    <a:schemeClr val="accent1"/>
                  </a:solidFill>
                </a:ln>
                <a:solidFill>
                  <a:schemeClr val="accent1"/>
                </a:solidFill>
              </a:rPr>
              <a:t>Nischen</a:t>
            </a:r>
            <a:endParaRPr lang="en-US" dirty="0">
              <a:ln>
                <a:solidFill>
                  <a:schemeClr val="accent1"/>
                </a:solidFill>
              </a:ln>
              <a:solidFill>
                <a:schemeClr val="accent1"/>
              </a:solidFill>
            </a:endParaRPr>
          </a:p>
          <a:p>
            <a:pPr algn="ctr"/>
            <a:endParaRPr lang="en-US" dirty="0">
              <a:ln>
                <a:solidFill>
                  <a:schemeClr val="accent1"/>
                </a:solidFill>
              </a:ln>
              <a:solidFill>
                <a:schemeClr val="accent1"/>
              </a:solidFill>
            </a:endParaRPr>
          </a:p>
          <a:p>
            <a:pPr algn="ctr"/>
            <a:endParaRPr lang="en-US" dirty="0">
              <a:ln>
                <a:solidFill>
                  <a:schemeClr val="accent1"/>
                </a:solidFill>
              </a:ln>
              <a:solidFill>
                <a:schemeClr val="accent1"/>
              </a:solidFill>
            </a:endParaRPr>
          </a:p>
          <a:p>
            <a:pPr algn="ctr"/>
            <a:endParaRPr lang="en-US" dirty="0" err="1">
              <a:ln>
                <a:solidFill>
                  <a:schemeClr val="accent1"/>
                </a:solidFill>
              </a:ln>
              <a:solidFill>
                <a:schemeClr val="accent1"/>
              </a:solidFill>
            </a:endParaRP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6D0C4929-22A0-62F4-BDA6-5434C475F7FF}"/>
              </a:ext>
            </a:extLst>
          </p:cNvPr>
          <p:cNvSpPr/>
          <p:nvPr/>
        </p:nvSpPr>
        <p:spPr>
          <a:xfrm>
            <a:off x="4758267" y="4893733"/>
            <a:ext cx="1370565" cy="533189"/>
          </a:xfrm>
          <a:prstGeom prst="ellipse">
            <a:avLst/>
          </a:prstGeom>
          <a:noFill/>
          <a:ln w="349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ctr"/>
          <a:lstStyle/>
          <a:p>
            <a:pPr algn="ctr"/>
            <a:endParaRPr lang="en-US" dirty="0">
              <a:ln>
                <a:solidFill>
                  <a:schemeClr val="accent1"/>
                </a:solidFill>
              </a:ln>
              <a:solidFill>
                <a:schemeClr val="accent1"/>
              </a:solidFill>
            </a:endParaRPr>
          </a:p>
          <a:p>
            <a:pPr algn="ctr"/>
            <a:endParaRPr lang="en-US" dirty="0">
              <a:ln>
                <a:solidFill>
                  <a:schemeClr val="accent1"/>
                </a:solidFill>
              </a:ln>
              <a:solidFill>
                <a:schemeClr val="accent1"/>
              </a:solidFill>
            </a:endParaRPr>
          </a:p>
          <a:p>
            <a:pPr algn="ctr"/>
            <a:endParaRPr lang="en-US" dirty="0">
              <a:ln>
                <a:solidFill>
                  <a:schemeClr val="accent1"/>
                </a:solidFill>
              </a:ln>
              <a:solidFill>
                <a:schemeClr val="accent1"/>
              </a:solidFill>
            </a:endParaRPr>
          </a:p>
          <a:p>
            <a:pPr algn="ctr"/>
            <a:endParaRPr lang="en-US" dirty="0">
              <a:ln>
                <a:solidFill>
                  <a:schemeClr val="accent1"/>
                </a:solidFill>
              </a:ln>
              <a:solidFill>
                <a:schemeClr val="accent1"/>
              </a:solidFill>
            </a:endParaRPr>
          </a:p>
          <a:p>
            <a:pPr algn="ctr"/>
            <a:r>
              <a:rPr lang="en-US" dirty="0">
                <a:ln>
                  <a:solidFill>
                    <a:schemeClr val="accent1"/>
                  </a:solidFill>
                </a:ln>
                <a:solidFill>
                  <a:schemeClr val="accent1"/>
                </a:solidFill>
              </a:rPr>
              <a:t>straight section</a:t>
            </a:r>
            <a:br>
              <a:rPr lang="en-US" dirty="0">
                <a:ln>
                  <a:solidFill>
                    <a:schemeClr val="accent1"/>
                  </a:solidFill>
                </a:ln>
                <a:solidFill>
                  <a:schemeClr val="accent1"/>
                </a:solidFill>
              </a:rPr>
            </a:br>
            <a:r>
              <a:rPr lang="en-US" dirty="0">
                <a:ln>
                  <a:solidFill>
                    <a:schemeClr val="accent1"/>
                  </a:solidFill>
                </a:ln>
                <a:solidFill>
                  <a:schemeClr val="accent1"/>
                </a:solidFill>
              </a:rPr>
              <a:t>(warm connections) </a:t>
            </a:r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E8068BB7-03F6-6BEF-A656-B05BDA15F5C7}"/>
              </a:ext>
            </a:extLst>
          </p:cNvPr>
          <p:cNvSpPr/>
          <p:nvPr/>
        </p:nvSpPr>
        <p:spPr>
          <a:xfrm>
            <a:off x="9178903" y="1228900"/>
            <a:ext cx="650897" cy="5408967"/>
          </a:xfrm>
          <a:prstGeom prst="ellipse">
            <a:avLst/>
          </a:prstGeom>
          <a:noFill/>
          <a:ln w="349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ctr"/>
          <a:lstStyle/>
          <a:p>
            <a:pPr algn="ctr"/>
            <a:r>
              <a:rPr lang="en-US" dirty="0">
                <a:ln>
                  <a:solidFill>
                    <a:schemeClr val="accent1"/>
                  </a:solidFill>
                </a:ln>
                <a:solidFill>
                  <a:schemeClr val="accent1"/>
                </a:solidFill>
              </a:rPr>
              <a:t>Mechanical</a:t>
            </a:r>
            <a:br>
              <a:rPr lang="en-US" dirty="0">
                <a:ln>
                  <a:solidFill>
                    <a:schemeClr val="accent1"/>
                  </a:solidFill>
                </a:ln>
                <a:solidFill>
                  <a:schemeClr val="accent1"/>
                </a:solidFill>
              </a:rPr>
            </a:br>
            <a:r>
              <a:rPr lang="en-US" dirty="0">
                <a:ln>
                  <a:solidFill>
                    <a:schemeClr val="accent1"/>
                  </a:solidFill>
                </a:ln>
                <a:solidFill>
                  <a:schemeClr val="accent1"/>
                </a:solidFill>
              </a:rPr>
              <a:t>Completion</a:t>
            </a: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318C208D-E62C-DAB8-616C-0C5FA4796411}"/>
              </a:ext>
            </a:extLst>
          </p:cNvPr>
          <p:cNvSpPr/>
          <p:nvPr/>
        </p:nvSpPr>
        <p:spPr>
          <a:xfrm>
            <a:off x="7916332" y="1295400"/>
            <a:ext cx="465667" cy="2980267"/>
          </a:xfrm>
          <a:prstGeom prst="ellipse">
            <a:avLst/>
          </a:prstGeom>
          <a:noFill/>
          <a:ln w="349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ctr"/>
          <a:lstStyle/>
          <a:p>
            <a:r>
              <a:rPr lang="en-US" dirty="0">
                <a:ln>
                  <a:solidFill>
                    <a:schemeClr val="accent1"/>
                  </a:solidFill>
                </a:ln>
                <a:solidFill>
                  <a:schemeClr val="accent1"/>
                </a:solidFill>
              </a:rPr>
              <a:t>Tests und</a:t>
            </a:r>
          </a:p>
          <a:p>
            <a:r>
              <a:rPr lang="en-US" dirty="0">
                <a:ln>
                  <a:solidFill>
                    <a:schemeClr val="accent1"/>
                  </a:solidFill>
                </a:ln>
                <a:solidFill>
                  <a:schemeClr val="accent1"/>
                </a:solidFill>
              </a:rPr>
              <a:t>Mechanical 2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0899D8E4-4FA7-7FE6-CDF5-131BC9684DF7}"/>
              </a:ext>
            </a:extLst>
          </p:cNvPr>
          <p:cNvSpPr txBox="1"/>
          <p:nvPr/>
        </p:nvSpPr>
        <p:spPr>
          <a:xfrm>
            <a:off x="5568378" y="104726"/>
            <a:ext cx="3075222" cy="934478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lIns="36000" tIns="36000" rIns="36000" bIns="3600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</a:rPr>
              <a:t>Takt gem.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Abstimmungen</a:t>
            </a:r>
            <a:endParaRPr lang="en-US" sz="1400" dirty="0">
              <a:solidFill>
                <a:schemeClr val="tx1"/>
              </a:solidFill>
              <a:latin typeface="+mn-lt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/>
              <a:t>LCM </a:t>
            </a:r>
            <a:r>
              <a:rPr lang="en-US" sz="1400" dirty="0" err="1"/>
              <a:t>erstellt</a:t>
            </a:r>
            <a:endParaRPr lang="en-US" sz="14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chemeClr val="tx1"/>
                </a:solidFill>
                <a:latin typeface="+mn-lt"/>
              </a:rPr>
              <a:t>Installationsbeginn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Bogen 2 in KW39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 err="1"/>
              <a:t>Nach</a:t>
            </a:r>
            <a:r>
              <a:rPr lang="en-US" sz="1400" dirty="0"/>
              <a:t> </a:t>
            </a:r>
            <a:r>
              <a:rPr lang="en-US" sz="1400" dirty="0" err="1"/>
              <a:t>Kabelzugarbeiten</a:t>
            </a:r>
            <a:endParaRPr lang="en-US" sz="1400" dirty="0">
              <a:solidFill>
                <a:schemeClr val="tx1"/>
              </a:solidFill>
              <a:latin typeface="+mn-lt"/>
            </a:endParaRPr>
          </a:p>
        </p:txBody>
      </p:sp>
      <p:cxnSp>
        <p:nvCxnSpPr>
          <p:cNvPr id="8" name="Verbinder: gekrümmt 7">
            <a:extLst>
              <a:ext uri="{FF2B5EF4-FFF2-40B4-BE49-F238E27FC236}">
                <a16:creationId xmlns:a16="http://schemas.microsoft.com/office/drawing/2014/main" id="{3306AD75-07AD-D4FB-C1D9-DEE130B2D47F}"/>
              </a:ext>
            </a:extLst>
          </p:cNvPr>
          <p:cNvCxnSpPr>
            <a:cxnSpLocks/>
            <a:stCxn id="4" idx="2"/>
            <a:endCxn id="14" idx="7"/>
          </p:cNvCxnSpPr>
          <p:nvPr/>
        </p:nvCxnSpPr>
        <p:spPr>
          <a:xfrm rot="5400000">
            <a:off x="6271035" y="491548"/>
            <a:ext cx="287298" cy="1382610"/>
          </a:xfrm>
          <a:prstGeom prst="curvedConnector3">
            <a:avLst>
              <a:gd name="adj1" fmla="val 50000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9">
            <a:extLst>
              <a:ext uri="{FF2B5EF4-FFF2-40B4-BE49-F238E27FC236}">
                <a16:creationId xmlns:a16="http://schemas.microsoft.com/office/drawing/2014/main" id="{E5D12F5F-FF4D-C941-54F1-2EDCCFC7DDA0}"/>
              </a:ext>
            </a:extLst>
          </p:cNvPr>
          <p:cNvSpPr txBox="1"/>
          <p:nvPr/>
        </p:nvSpPr>
        <p:spPr>
          <a:xfrm>
            <a:off x="3050437" y="2648124"/>
            <a:ext cx="2308051" cy="934478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lIns="36000" tIns="36000" rIns="36000" bIns="3600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chemeClr val="tx1"/>
                </a:solidFill>
                <a:latin typeface="+mn-lt"/>
              </a:rPr>
              <a:t>Beginn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nach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Vermessung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und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Nachjustierung</a:t>
            </a:r>
            <a:endParaRPr lang="en-US" sz="1400" dirty="0">
              <a:solidFill>
                <a:schemeClr val="tx1"/>
              </a:solidFill>
              <a:latin typeface="+mn-lt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chemeClr val="tx1"/>
                </a:solidFill>
                <a:latin typeface="+mn-lt"/>
              </a:rPr>
              <a:t>Typenweise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Installatio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</a:rPr>
              <a:t>Takt gem.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Abstimmungen</a:t>
            </a:r>
            <a:endParaRPr lang="en-US" sz="1400" dirty="0">
              <a:solidFill>
                <a:schemeClr val="tx1"/>
              </a:solidFill>
              <a:latin typeface="+mn-lt"/>
            </a:endParaRPr>
          </a:p>
        </p:txBody>
      </p:sp>
      <p:cxnSp>
        <p:nvCxnSpPr>
          <p:cNvPr id="12" name="Verbinder: gekrümmt 11">
            <a:extLst>
              <a:ext uri="{FF2B5EF4-FFF2-40B4-BE49-F238E27FC236}">
                <a16:creationId xmlns:a16="http://schemas.microsoft.com/office/drawing/2014/main" id="{5DDD08EA-31A6-D62D-D88C-AE620A95D817}"/>
              </a:ext>
            </a:extLst>
          </p:cNvPr>
          <p:cNvCxnSpPr>
            <a:cxnSpLocks/>
            <a:stCxn id="15" idx="2"/>
            <a:endCxn id="10" idx="3"/>
          </p:cNvCxnSpPr>
          <p:nvPr/>
        </p:nvCxnSpPr>
        <p:spPr>
          <a:xfrm rot="10800000" flipV="1">
            <a:off x="5358488" y="2929467"/>
            <a:ext cx="517380" cy="185896"/>
          </a:xfrm>
          <a:prstGeom prst="curvedConnector3">
            <a:avLst>
              <a:gd name="adj1" fmla="val 50000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>
            <a:extLst>
              <a:ext uri="{FF2B5EF4-FFF2-40B4-BE49-F238E27FC236}">
                <a16:creationId xmlns:a16="http://schemas.microsoft.com/office/drawing/2014/main" id="{9082A6FA-2C62-AF24-9878-69AE93B72445}"/>
              </a:ext>
            </a:extLst>
          </p:cNvPr>
          <p:cNvSpPr txBox="1"/>
          <p:nvPr/>
        </p:nvSpPr>
        <p:spPr>
          <a:xfrm>
            <a:off x="4001636" y="6081751"/>
            <a:ext cx="2783576" cy="71903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lIns="36000" tIns="36000" rIns="36000" bIns="3600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chemeClr val="tx1"/>
                </a:solidFill>
                <a:latin typeface="+mn-lt"/>
              </a:rPr>
              <a:t>Beginn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nach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Quadru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-Pole Bogen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Typenweise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Installatio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</a:rPr>
              <a:t>Takt gem.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Abstimmungen</a:t>
            </a:r>
            <a:endParaRPr lang="en-US" sz="1400" dirty="0">
              <a:solidFill>
                <a:schemeClr val="tx1"/>
              </a:solidFill>
              <a:latin typeface="+mn-lt"/>
            </a:endParaRPr>
          </a:p>
        </p:txBody>
      </p:sp>
      <p:cxnSp>
        <p:nvCxnSpPr>
          <p:cNvPr id="27" name="Verbinder: gekrümmt 26">
            <a:extLst>
              <a:ext uri="{FF2B5EF4-FFF2-40B4-BE49-F238E27FC236}">
                <a16:creationId xmlns:a16="http://schemas.microsoft.com/office/drawing/2014/main" id="{D26B85C2-36BD-E4FD-0154-959CE0599014}"/>
              </a:ext>
            </a:extLst>
          </p:cNvPr>
          <p:cNvCxnSpPr>
            <a:cxnSpLocks/>
            <a:stCxn id="20" idx="3"/>
            <a:endCxn id="26" idx="3"/>
          </p:cNvCxnSpPr>
          <p:nvPr/>
        </p:nvCxnSpPr>
        <p:spPr>
          <a:xfrm rot="5400000" flipH="1">
            <a:off x="7297678" y="5928802"/>
            <a:ext cx="21771" cy="1046704"/>
          </a:xfrm>
          <a:prstGeom prst="curvedConnector4">
            <a:avLst>
              <a:gd name="adj1" fmla="val -1050021"/>
              <a:gd name="adj2" fmla="val 52843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>
            <a:extLst>
              <a:ext uri="{FF2B5EF4-FFF2-40B4-BE49-F238E27FC236}">
                <a16:creationId xmlns:a16="http://schemas.microsoft.com/office/drawing/2014/main" id="{9A1376F0-D3D2-D199-1A0F-A87265B45872}"/>
              </a:ext>
            </a:extLst>
          </p:cNvPr>
          <p:cNvSpPr txBox="1"/>
          <p:nvPr/>
        </p:nvSpPr>
        <p:spPr>
          <a:xfrm>
            <a:off x="8743779" y="293916"/>
            <a:ext cx="1972405" cy="71903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lIns="36000" tIns="36000" rIns="36000" bIns="3600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</a:rPr>
              <a:t>Tests und Mechanical 2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nach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Quadru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-Pol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/>
              <a:t>Takt gem. </a:t>
            </a:r>
            <a:r>
              <a:rPr lang="en-US" sz="1400" dirty="0" err="1"/>
              <a:t>Abtimmung</a:t>
            </a:r>
            <a:endParaRPr lang="en-US" sz="1400" dirty="0">
              <a:solidFill>
                <a:schemeClr val="tx1"/>
              </a:solidFill>
              <a:latin typeface="+mn-lt"/>
            </a:endParaRPr>
          </a:p>
        </p:txBody>
      </p:sp>
      <p:cxnSp>
        <p:nvCxnSpPr>
          <p:cNvPr id="34" name="Verbinder: gekrümmt 33">
            <a:extLst>
              <a:ext uri="{FF2B5EF4-FFF2-40B4-BE49-F238E27FC236}">
                <a16:creationId xmlns:a16="http://schemas.microsoft.com/office/drawing/2014/main" id="{BA7E5E64-DF9F-4902-6E35-A956B7CF12A0}"/>
              </a:ext>
            </a:extLst>
          </p:cNvPr>
          <p:cNvCxnSpPr>
            <a:cxnSpLocks/>
            <a:stCxn id="33" idx="2"/>
            <a:endCxn id="25" idx="7"/>
          </p:cNvCxnSpPr>
          <p:nvPr/>
        </p:nvCxnSpPr>
        <p:spPr>
          <a:xfrm rot="5400000">
            <a:off x="8662443" y="664311"/>
            <a:ext cx="718900" cy="1416178"/>
          </a:xfrm>
          <a:prstGeom prst="curvedConnector3">
            <a:avLst>
              <a:gd name="adj1" fmla="val 50000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7080DBB0-2F57-7D95-A091-3ECF275DED37}"/>
              </a:ext>
            </a:extLst>
          </p:cNvPr>
          <p:cNvSpPr txBox="1"/>
          <p:nvPr/>
        </p:nvSpPr>
        <p:spPr>
          <a:xfrm>
            <a:off x="9951058" y="4978286"/>
            <a:ext cx="2158502" cy="114992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lIns="36000" tIns="36000" rIns="36000" bIns="3600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chemeClr val="tx1"/>
                </a:solidFill>
                <a:latin typeface="+mn-lt"/>
              </a:rPr>
              <a:t>Fortsetzung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Quadru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-Pole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Geraden</a:t>
            </a:r>
            <a:endParaRPr lang="en-US" sz="1400" dirty="0">
              <a:solidFill>
                <a:schemeClr val="tx1"/>
              </a:solidFill>
              <a:latin typeface="+mn-lt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chemeClr val="tx1"/>
                </a:solidFill>
                <a:latin typeface="+mn-lt"/>
              </a:rPr>
              <a:t>Typenweise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Installatio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</a:rPr>
              <a:t>Takt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abhängig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von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Lieferterminen</a:t>
            </a:r>
            <a:endParaRPr lang="en-US" sz="14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415BDB1C-2E76-67D4-F1ED-C9C3F1EA844D}"/>
              </a:ext>
            </a:extLst>
          </p:cNvPr>
          <p:cNvSpPr txBox="1"/>
          <p:nvPr/>
        </p:nvSpPr>
        <p:spPr>
          <a:xfrm>
            <a:off x="9981637" y="2358445"/>
            <a:ext cx="2158502" cy="1365365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lIns="36000" tIns="36000" rIns="36000" bIns="3600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</a:rPr>
              <a:t>Mechanical Completion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chemeClr val="tx1"/>
                </a:solidFill>
                <a:latin typeface="+mn-lt"/>
              </a:rPr>
              <a:t>nach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Fertigstellung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aller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Leistungen</a:t>
            </a:r>
            <a:endParaRPr lang="en-US" sz="1400" dirty="0">
              <a:solidFill>
                <a:schemeClr val="tx1"/>
              </a:solidFill>
              <a:latin typeface="+mn-lt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/>
              <a:t>In </a:t>
            </a:r>
            <a:r>
              <a:rPr lang="en-US" sz="1400" dirty="0" err="1"/>
              <a:t>diesem</a:t>
            </a:r>
            <a:r>
              <a:rPr lang="en-US" sz="1400" dirty="0"/>
              <a:t> Fall </a:t>
            </a:r>
            <a:r>
              <a:rPr lang="en-US" sz="1400" dirty="0" err="1"/>
              <a:t>abhängig</a:t>
            </a:r>
            <a:r>
              <a:rPr lang="en-US" sz="1400" dirty="0"/>
              <a:t> von </a:t>
            </a:r>
            <a:r>
              <a:rPr lang="en-US" sz="1400" dirty="0" err="1"/>
              <a:t>Quadru-Polen</a:t>
            </a:r>
            <a:r>
              <a:rPr lang="en-US" sz="1400" dirty="0"/>
              <a:t> in den </a:t>
            </a:r>
            <a:r>
              <a:rPr lang="en-US" sz="1400" dirty="0" err="1"/>
              <a:t>Geraden</a:t>
            </a:r>
            <a:endParaRPr lang="en-US" sz="1400" dirty="0">
              <a:solidFill>
                <a:schemeClr val="tx1"/>
              </a:solidFill>
              <a:latin typeface="+mn-lt"/>
            </a:endParaRPr>
          </a:p>
        </p:txBody>
      </p:sp>
      <p:cxnSp>
        <p:nvCxnSpPr>
          <p:cNvPr id="38" name="Verbinder: gekrümmt 37">
            <a:extLst>
              <a:ext uri="{FF2B5EF4-FFF2-40B4-BE49-F238E27FC236}">
                <a16:creationId xmlns:a16="http://schemas.microsoft.com/office/drawing/2014/main" id="{40AA3A45-CB54-656A-B9E0-18E6FB2C9E3A}"/>
              </a:ext>
            </a:extLst>
          </p:cNvPr>
          <p:cNvCxnSpPr>
            <a:cxnSpLocks/>
            <a:stCxn id="37" idx="1"/>
            <a:endCxn id="24" idx="6"/>
          </p:cNvCxnSpPr>
          <p:nvPr/>
        </p:nvCxnSpPr>
        <p:spPr>
          <a:xfrm rot="10800000" flipV="1">
            <a:off x="9829801" y="3041128"/>
            <a:ext cx="151837" cy="892256"/>
          </a:xfrm>
          <a:prstGeom prst="curvedConnector3">
            <a:avLst>
              <a:gd name="adj1" fmla="val 50000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Verbinder: gekrümmt 40">
            <a:extLst>
              <a:ext uri="{FF2B5EF4-FFF2-40B4-BE49-F238E27FC236}">
                <a16:creationId xmlns:a16="http://schemas.microsoft.com/office/drawing/2014/main" id="{94FDC22E-B06D-0D78-617D-30DDE7F88663}"/>
              </a:ext>
            </a:extLst>
          </p:cNvPr>
          <p:cNvCxnSpPr>
            <a:cxnSpLocks/>
            <a:stCxn id="36" idx="1"/>
            <a:endCxn id="19" idx="7"/>
          </p:cNvCxnSpPr>
          <p:nvPr/>
        </p:nvCxnSpPr>
        <p:spPr>
          <a:xfrm rot="10800000" flipV="1">
            <a:off x="9158992" y="5553247"/>
            <a:ext cx="792066" cy="65648"/>
          </a:xfrm>
          <a:prstGeom prst="curvedConnector4">
            <a:avLst>
              <a:gd name="adj1" fmla="val 39384"/>
              <a:gd name="adj2" fmla="val -248221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9989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24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21" grpId="0" animBg="1"/>
      <p:bldP spid="22" grpId="0" animBg="1"/>
      <p:bldP spid="23" grpId="0" animBg="1"/>
      <p:bldP spid="24" grpId="0" build="allAtOnce" animBg="1"/>
      <p:bldP spid="25" grpId="0" animBg="1"/>
      <p:bldP spid="4" grpId="0" animBg="1"/>
      <p:bldP spid="33" grpId="0" animBg="1"/>
      <p:bldP spid="3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EDF86907-CBCF-4DFC-0862-271AC88B8A58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24815" y="544551"/>
            <a:ext cx="9044055" cy="3619354"/>
            <a:chOff x="424815" y="544551"/>
            <a:chExt cx="9044055" cy="3619354"/>
          </a:xfrm>
        </p:grpSpPr>
        <p:sp>
          <p:nvSpPr>
            <p:cNvPr id="2" name="MIO_AGENDA_ELEMENT_TITEL_1">
              <a:hlinkClick r:id="rId18" action="ppaction://hlinksldjump"/>
              <a:extLst>
                <a:ext uri="{FF2B5EF4-FFF2-40B4-BE49-F238E27FC236}">
                  <a16:creationId xmlns:a16="http://schemas.microsoft.com/office/drawing/2014/main" id="{0469837D-225F-4EB6-A2B7-9A49D74EF82A}"/>
                </a:ext>
              </a:extLst>
            </p:cNvPr>
            <p:cNvSpPr txBox="1"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869315" y="544551"/>
              <a:ext cx="8599555" cy="44450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defPPr>
                <a:defRPr lang="de-DE"/>
              </a:defPPr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88" indent="-90488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66700" indent="-88900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 Light" panose="020F03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6pPr>
              <a:lvl7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de-DE" sz="1600">
                  <a:solidFill>
                    <a:schemeClr val="dk1"/>
                  </a:solidFill>
                  <a:latin typeface="+mn-lt"/>
                </a:rPr>
                <a:t>Content</a:t>
              </a:r>
              <a:endParaRPr lang="de-DE" sz="1600" dirty="0">
                <a:solidFill>
                  <a:schemeClr val="dk1"/>
                </a:solidFill>
                <a:latin typeface="+mn-lt"/>
              </a:endParaRPr>
            </a:p>
          </p:txBody>
        </p:sp>
        <p:sp>
          <p:nvSpPr>
            <p:cNvPr id="3" name="MIO_AGENDA_ELEMENT_ELEMENTNUMBER_1">
              <a:hlinkClick r:id="rId18" action="ppaction://hlinksldjump"/>
              <a:extLst>
                <a:ext uri="{FF2B5EF4-FFF2-40B4-BE49-F238E27FC236}">
                  <a16:creationId xmlns:a16="http://schemas.microsoft.com/office/drawing/2014/main" id="{1D5C5F93-9B8E-403B-B897-B2A0427B5E73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424815" y="544551"/>
              <a:ext cx="444500" cy="4445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2000">
                  <a:solidFill>
                    <a:schemeClr val="dk1"/>
                  </a:solidFill>
                </a:rPr>
                <a:t>01</a:t>
              </a:r>
              <a:endParaRPr lang="de-DE" sz="2000" dirty="0">
                <a:solidFill>
                  <a:schemeClr val="dk1"/>
                </a:solidFill>
              </a:endParaRPr>
            </a:p>
          </p:txBody>
        </p:sp>
        <p:sp>
          <p:nvSpPr>
            <p:cNvPr id="4" name="MIO_AGENDA_ELEMENT_TITEL_2">
              <a:hlinkClick r:id="rId19" action="ppaction://hlinksldjump"/>
              <a:extLst>
                <a:ext uri="{FF2B5EF4-FFF2-40B4-BE49-F238E27FC236}">
                  <a16:creationId xmlns:a16="http://schemas.microsoft.com/office/drawing/2014/main" id="{0469837D-225F-4EB6-A2B7-9A49D74EF82A}"/>
                </a:ext>
              </a:extLst>
            </p:cNvPr>
            <p:cNvSpPr txBox="1"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869315" y="1179521"/>
              <a:ext cx="8599555" cy="44450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defPPr>
                <a:defRPr lang="de-DE"/>
              </a:defPPr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88" indent="-90488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66700" indent="-88900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 Light" panose="020F03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6pPr>
              <a:lvl7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de-DE" sz="1600">
                  <a:solidFill>
                    <a:schemeClr val="dk1"/>
                  </a:solidFill>
                  <a:latin typeface="+mn-lt"/>
                </a:rPr>
                <a:t>Status Quo Installation (Status 2024)</a:t>
              </a:r>
              <a:endParaRPr lang="de-DE" sz="1600" dirty="0">
                <a:solidFill>
                  <a:schemeClr val="dk1"/>
                </a:solidFill>
                <a:latin typeface="+mn-lt"/>
              </a:endParaRPr>
            </a:p>
          </p:txBody>
        </p:sp>
        <p:sp>
          <p:nvSpPr>
            <p:cNvPr id="5" name="MIO_AGENDA_ELEMENT_ELEMENTNUMBER_2">
              <a:hlinkClick r:id="rId19" action="ppaction://hlinksldjump"/>
              <a:extLst>
                <a:ext uri="{FF2B5EF4-FFF2-40B4-BE49-F238E27FC236}">
                  <a16:creationId xmlns:a16="http://schemas.microsoft.com/office/drawing/2014/main" id="{1D5C5F93-9B8E-403B-B897-B2A0427B5E73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424815" y="1179521"/>
              <a:ext cx="444500" cy="4445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2000">
                  <a:solidFill>
                    <a:schemeClr val="dk1"/>
                  </a:solidFill>
                </a:rPr>
                <a:t>02</a:t>
              </a:r>
              <a:endParaRPr lang="de-DE" sz="2000" dirty="0">
                <a:solidFill>
                  <a:schemeClr val="dk1"/>
                </a:solidFill>
              </a:endParaRPr>
            </a:p>
          </p:txBody>
        </p:sp>
        <p:sp>
          <p:nvSpPr>
            <p:cNvPr id="6" name="MIO_AGENDA_ELEMENT_TITEL_3">
              <a:hlinkClick r:id="rId20" action="ppaction://hlinksldjump"/>
              <a:extLst>
                <a:ext uri="{FF2B5EF4-FFF2-40B4-BE49-F238E27FC236}">
                  <a16:creationId xmlns:a16="http://schemas.microsoft.com/office/drawing/2014/main" id="{0469837D-225F-4EB6-A2B7-9A49D74EF82A}"/>
                </a:ext>
              </a:extLst>
            </p:cNvPr>
            <p:cNvSpPr txBox="1"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869315" y="1814492"/>
              <a:ext cx="8599555" cy="44450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defPPr>
                <a:defRPr lang="de-DE"/>
              </a:defPPr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88" indent="-90488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66700" indent="-88900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 Light" panose="020F03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6pPr>
              <a:lvl7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pt-BR" sz="1600" b="1">
                  <a:solidFill>
                    <a:schemeClr val="dk1"/>
                  </a:solidFill>
                  <a:latin typeface="+mn-lt"/>
                </a:rPr>
                <a:t>Status Quo delivery dates Quadru-Poles</a:t>
              </a:r>
              <a:endParaRPr lang="de-DE" sz="1600" b="1" dirty="0">
                <a:solidFill>
                  <a:schemeClr val="dk1"/>
                </a:solidFill>
                <a:latin typeface="+mn-lt"/>
              </a:endParaRPr>
            </a:p>
          </p:txBody>
        </p:sp>
        <p:sp>
          <p:nvSpPr>
            <p:cNvPr id="7" name="MIO_AGENDA_ELEMENT_ELEMENTNUMBER_3">
              <a:hlinkClick r:id="rId20" action="ppaction://hlinksldjump"/>
              <a:extLst>
                <a:ext uri="{FF2B5EF4-FFF2-40B4-BE49-F238E27FC236}">
                  <a16:creationId xmlns:a16="http://schemas.microsoft.com/office/drawing/2014/main" id="{4A5E4DC2-67B8-41C0-B70E-2423306BCA1D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424815" y="1814492"/>
              <a:ext cx="444500" cy="4445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2000" b="1">
                  <a:solidFill>
                    <a:schemeClr val="dk1"/>
                  </a:solidFill>
                </a:rPr>
                <a:t>03</a:t>
              </a:r>
              <a:endParaRPr lang="de-DE" sz="2000" b="1" dirty="0">
                <a:solidFill>
                  <a:schemeClr val="dk1"/>
                </a:solidFill>
              </a:endParaRPr>
            </a:p>
          </p:txBody>
        </p:sp>
        <p:sp>
          <p:nvSpPr>
            <p:cNvPr id="8" name="MIO_AGENDA_ELEMENT_TITEL_4">
              <a:hlinkClick r:id="rId21" action="ppaction://hlinksldjump"/>
              <a:extLst>
                <a:ext uri="{FF2B5EF4-FFF2-40B4-BE49-F238E27FC236}">
                  <a16:creationId xmlns:a16="http://schemas.microsoft.com/office/drawing/2014/main" id="{0469837D-225F-4EB6-A2B7-9A49D74EF82A}"/>
                </a:ext>
              </a:extLst>
            </p:cNvPr>
            <p:cNvSpPr txBox="1"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869315" y="2449463"/>
              <a:ext cx="8599555" cy="44450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defPPr>
                <a:defRPr lang="de-DE"/>
              </a:defPPr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88" indent="-90488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66700" indent="-88900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 Light" panose="020F03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6pPr>
              <a:lvl7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fr-FR" sz="1600">
                  <a:solidFill>
                    <a:schemeClr val="dk1"/>
                  </a:solidFill>
                  <a:latin typeface="+mn-lt"/>
                </a:rPr>
                <a:t>Installation Plan Quadru-Poles (Status 09.2025)</a:t>
              </a:r>
              <a:endParaRPr lang="de-DE" sz="1600" dirty="0">
                <a:solidFill>
                  <a:schemeClr val="dk1"/>
                </a:solidFill>
                <a:latin typeface="+mn-lt"/>
              </a:endParaRPr>
            </a:p>
          </p:txBody>
        </p:sp>
        <p:sp>
          <p:nvSpPr>
            <p:cNvPr id="9" name="MIO_AGENDA_ELEMENT_ELEMENTNUMBER_4">
              <a:hlinkClick r:id="rId21" action="ppaction://hlinksldjump"/>
              <a:extLst>
                <a:ext uri="{FF2B5EF4-FFF2-40B4-BE49-F238E27FC236}">
                  <a16:creationId xmlns:a16="http://schemas.microsoft.com/office/drawing/2014/main" id="{1D5C5F93-9B8E-403B-B897-B2A0427B5E73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gray">
            <a:xfrm>
              <a:off x="424815" y="2449463"/>
              <a:ext cx="444500" cy="4445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2000">
                  <a:solidFill>
                    <a:schemeClr val="dk1"/>
                  </a:solidFill>
                </a:rPr>
                <a:t>04</a:t>
              </a:r>
              <a:endParaRPr lang="de-DE" sz="2000" dirty="0">
                <a:solidFill>
                  <a:schemeClr val="dk1"/>
                </a:solidFill>
              </a:endParaRPr>
            </a:p>
          </p:txBody>
        </p:sp>
        <p:sp>
          <p:nvSpPr>
            <p:cNvPr id="10" name="MIO_AGENDA_ELEMENT_TITEL_5">
              <a:hlinkClick r:id="rId22" action="ppaction://hlinksldjump"/>
              <a:extLst>
                <a:ext uri="{FF2B5EF4-FFF2-40B4-BE49-F238E27FC236}">
                  <a16:creationId xmlns:a16="http://schemas.microsoft.com/office/drawing/2014/main" id="{0469837D-225F-4EB6-A2B7-9A49D74EF82A}"/>
                </a:ext>
              </a:extLst>
            </p:cNvPr>
            <p:cNvSpPr txBox="1">
              <a:spLocks/>
            </p:cNvSpPr>
            <p:nvPr>
              <p:custDataLst>
                <p:tags r:id="rId12"/>
              </p:custDataLst>
            </p:nvPr>
          </p:nvSpPr>
          <p:spPr bwMode="gray">
            <a:xfrm>
              <a:off x="869315" y="3084434"/>
              <a:ext cx="8599555" cy="44450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defPPr>
                <a:defRPr lang="de-DE"/>
              </a:defPPr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88" indent="-90488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66700" indent="-88900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 Light" panose="020F03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6pPr>
              <a:lvl7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de-DE" sz="1600">
                  <a:solidFill>
                    <a:schemeClr val="dk1"/>
                  </a:solidFill>
                  <a:latin typeface="+mn-lt"/>
                </a:rPr>
                <a:t>Open Issues / to clarify</a:t>
              </a:r>
              <a:endParaRPr lang="de-DE" sz="1600" dirty="0">
                <a:solidFill>
                  <a:schemeClr val="dk1"/>
                </a:solidFill>
                <a:latin typeface="+mn-lt"/>
              </a:endParaRPr>
            </a:p>
          </p:txBody>
        </p:sp>
        <p:sp>
          <p:nvSpPr>
            <p:cNvPr id="11" name="MIO_AGENDA_ELEMENT_ELEMENTNUMBER_5">
              <a:hlinkClick r:id="rId22" action="ppaction://hlinksldjump"/>
              <a:extLst>
                <a:ext uri="{FF2B5EF4-FFF2-40B4-BE49-F238E27FC236}">
                  <a16:creationId xmlns:a16="http://schemas.microsoft.com/office/drawing/2014/main" id="{1D5C5F93-9B8E-403B-B897-B2A0427B5E73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gray">
            <a:xfrm>
              <a:off x="424815" y="3084434"/>
              <a:ext cx="444500" cy="4445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2000">
                  <a:solidFill>
                    <a:schemeClr val="dk1"/>
                  </a:solidFill>
                </a:rPr>
                <a:t>05</a:t>
              </a:r>
              <a:endParaRPr lang="de-DE" sz="2000" dirty="0">
                <a:solidFill>
                  <a:schemeClr val="dk1"/>
                </a:solidFill>
              </a:endParaRPr>
            </a:p>
          </p:txBody>
        </p:sp>
        <p:sp>
          <p:nvSpPr>
            <p:cNvPr id="12" name="MIO_AGENDA_ELEMENT_TITEL_6">
              <a:hlinkClick r:id="rId23" action="ppaction://hlinksldjump"/>
              <a:extLst>
                <a:ext uri="{FF2B5EF4-FFF2-40B4-BE49-F238E27FC236}">
                  <a16:creationId xmlns:a16="http://schemas.microsoft.com/office/drawing/2014/main" id="{0469837D-225F-4EB6-A2B7-9A49D74EF82A}"/>
                </a:ext>
              </a:extLst>
            </p:cNvPr>
            <p:cNvSpPr txBox="1">
              <a:spLocks/>
            </p:cNvSpPr>
            <p:nvPr>
              <p:custDataLst>
                <p:tags r:id="rId14"/>
              </p:custDataLst>
            </p:nvPr>
          </p:nvSpPr>
          <p:spPr bwMode="gray">
            <a:xfrm>
              <a:off x="869315" y="3719405"/>
              <a:ext cx="8599555" cy="44450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defPPr>
                <a:defRPr lang="de-DE"/>
              </a:defPPr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88" indent="-90488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66700" indent="-88900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 Light" panose="020F03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6pPr>
              <a:lvl7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de-DE" sz="1600">
                  <a:solidFill>
                    <a:schemeClr val="dk1"/>
                  </a:solidFill>
                  <a:latin typeface="+mn-lt"/>
                </a:rPr>
                <a:t>Next Steps</a:t>
              </a:r>
              <a:endParaRPr lang="de-DE" sz="1600" dirty="0">
                <a:solidFill>
                  <a:schemeClr val="dk1"/>
                </a:solidFill>
                <a:latin typeface="+mn-lt"/>
              </a:endParaRPr>
            </a:p>
          </p:txBody>
        </p:sp>
        <p:sp>
          <p:nvSpPr>
            <p:cNvPr id="13" name="MIO_AGENDA_ELEMENT_ELEMENTNUMBER_6">
              <a:hlinkClick r:id="rId23" action="ppaction://hlinksldjump"/>
              <a:extLst>
                <a:ext uri="{FF2B5EF4-FFF2-40B4-BE49-F238E27FC236}">
                  <a16:creationId xmlns:a16="http://schemas.microsoft.com/office/drawing/2014/main" id="{1D5C5F93-9B8E-403B-B897-B2A0427B5E73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gray">
            <a:xfrm>
              <a:off x="424815" y="3719405"/>
              <a:ext cx="444500" cy="4445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2000">
                  <a:solidFill>
                    <a:schemeClr val="dk1"/>
                  </a:solidFill>
                </a:rPr>
                <a:t>06</a:t>
              </a:r>
              <a:endParaRPr lang="de-DE" sz="2000" dirty="0">
                <a:solidFill>
                  <a:schemeClr val="dk1"/>
                </a:solidFill>
              </a:endParaRPr>
            </a:p>
          </p:txBody>
        </p:sp>
      </p:grpSp>
      <p:sp>
        <p:nvSpPr>
          <p:cNvPr id="20" name="Titel 19">
            <a:extLst>
              <a:ext uri="{FF2B5EF4-FFF2-40B4-BE49-F238E27FC236}">
                <a16:creationId xmlns:a16="http://schemas.microsoft.com/office/drawing/2014/main" id="{52A87956-E7C3-8EA6-58AF-2EB5AB54E18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93615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9BEAE9-A05A-627F-5729-6CD82807B8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" name="think-cell data - do not delete" hidden="1">
            <a:extLst>
              <a:ext uri="{FF2B5EF4-FFF2-40B4-BE49-F238E27FC236}">
                <a16:creationId xmlns:a16="http://schemas.microsoft.com/office/drawing/2014/main" id="{4AA2EE3C-4918-5610-C6C8-9653A96F5E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5142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6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AA2EE3C-4918-5610-C6C8-9653A96F5E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Inhaltsplatzhalter 14" descr="Ein Bild, das Text, Screenshot, Software, Computersymbol enthält.&#10;&#10;KI-generierte Inhalte können fehlerhaft sein.">
            <a:extLst>
              <a:ext uri="{FF2B5EF4-FFF2-40B4-BE49-F238E27FC236}">
                <a16:creationId xmlns:a16="http://schemas.microsoft.com/office/drawing/2014/main" id="{37250300-0A46-184C-DA53-853064ADBDA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rcRect b="5861"/>
          <a:stretch>
            <a:fillRect/>
          </a:stretch>
        </p:blipFill>
        <p:spPr>
          <a:xfrm>
            <a:off x="525600" y="1601789"/>
            <a:ext cx="8065963" cy="3698804"/>
          </a:xfr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F0B35096-B310-7142-4102-B57B36E3B3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IS100 Workshop – Installation Plan Dipole and quadrupole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018D1AC-7DFD-1F47-5C5E-58B3CB65C85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 dirty="0"/>
              <a:t>Status Quo delivery dates Quadru-Poles (delivery milestones M10-P in Planisware)</a:t>
            </a:r>
          </a:p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7E648B3-A4E4-ACFC-F80B-DB2E0F40D4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AD5FB34-E1E7-5CC6-3AF3-EDD38A19B6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9449A-3FF3-45CE-9F4F-09BADC0910C6}" type="slidenum">
              <a:rPr lang="de-DE" noProof="0"/>
              <a:t>7</a:t>
            </a:fld>
            <a:endParaRPr lang="de-DE" noProof="0" dirty="0"/>
          </a:p>
        </p:txBody>
      </p:sp>
      <p:pic>
        <p:nvPicPr>
          <p:cNvPr id="19" name="Grafik 18" descr="Ein Bild, das Text, Screenshot, Software enthält.&#10;&#10;KI-generierte Inhalte können fehlerhaft sein.">
            <a:extLst>
              <a:ext uri="{FF2B5EF4-FFF2-40B4-BE49-F238E27FC236}">
                <a16:creationId xmlns:a16="http://schemas.microsoft.com/office/drawing/2014/main" id="{DBF00225-4C7D-E612-759F-A47BEC016348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51834" b="21763"/>
          <a:stretch>
            <a:fillRect/>
          </a:stretch>
        </p:blipFill>
        <p:spPr>
          <a:xfrm>
            <a:off x="525600" y="5300593"/>
            <a:ext cx="8065963" cy="1037398"/>
          </a:xfrm>
          <a:prstGeom prst="rect">
            <a:avLst/>
          </a:prstGeom>
        </p:spPr>
      </p:pic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52FCBB05-99C8-8AB9-B3C2-B4247D60CD82}"/>
              </a:ext>
            </a:extLst>
          </p:cNvPr>
          <p:cNvSpPr txBox="1">
            <a:spLocks/>
          </p:cNvSpPr>
          <p:nvPr/>
        </p:nvSpPr>
        <p:spPr bwMode="gray">
          <a:xfrm>
            <a:off x="7194550" y="1602000"/>
            <a:ext cx="4469450" cy="4496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asics / Boundary Conditions</a:t>
            </a:r>
          </a:p>
          <a:p>
            <a:pPr marL="501750" lvl="1" indent="-285750">
              <a:buFont typeface="Arial" panose="020B0604020202020204" pitchFamily="34" charset="0"/>
              <a:buChar char="•"/>
            </a:pPr>
            <a:r>
              <a:rPr lang="en-US" dirty="0"/>
              <a:t>BNET36 is basis for definition of delivery milestones M10-P</a:t>
            </a:r>
          </a:p>
          <a:p>
            <a:pPr marL="501750" lvl="1" indent="-285750">
              <a:buFont typeface="Arial" panose="020B0604020202020204" pitchFamily="34" charset="0"/>
              <a:buChar char="•"/>
            </a:pPr>
            <a:r>
              <a:rPr lang="en-US" dirty="0" err="1"/>
              <a:t>Technische</a:t>
            </a:r>
            <a:r>
              <a:rPr lang="en-US" dirty="0"/>
              <a:t> </a:t>
            </a:r>
            <a:r>
              <a:rPr lang="en-US" dirty="0" err="1"/>
              <a:t>Plätze</a:t>
            </a:r>
            <a:r>
              <a:rPr lang="en-US" dirty="0"/>
              <a:t> (technical places) - information is assigned to each module in the installation plan</a:t>
            </a:r>
          </a:p>
          <a:p>
            <a:pPr marL="501750" lvl="1" indent="-285750">
              <a:buFont typeface="Arial" panose="020B0604020202020204" pitchFamily="34" charset="0"/>
              <a:buChar char="•"/>
            </a:pPr>
            <a:r>
              <a:rPr lang="en-US" dirty="0"/>
              <a:t>3 weeks of non-working time at the turn of the year seam not to be included in the pre-assembly plan (to be </a:t>
            </a:r>
            <a:r>
              <a:rPr lang="en-US" dirty="0" err="1"/>
              <a:t>claryfied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177109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42EE19-6652-0EF8-E075-4E75A1052B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" name="think-cell data - do not delete" hidden="1">
            <a:extLst>
              <a:ext uri="{FF2B5EF4-FFF2-40B4-BE49-F238E27FC236}">
                <a16:creationId xmlns:a16="http://schemas.microsoft.com/office/drawing/2014/main" id="{934B727F-5DA4-F302-5265-F1837A40BB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1" imgW="473" imgH="473" progId="TCLayout.ActiveDocument.1">
                  <p:embed/>
                </p:oleObj>
              </mc:Choice>
              <mc:Fallback>
                <p:oleObj name="think-cell Folie" r:id="rId151" imgW="473" imgH="473" progId="TCLayout.ActiveDocument.1">
                  <p:embed/>
                  <p:pic>
                    <p:nvPicPr>
                      <p:cNvPr id="6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4B727F-5DA4-F302-5265-F1837A40BB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97E87C1-9788-B5CD-A033-2EC28DD692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IS100 Workshop – Installation Plan Dipole and quadrupole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43ABE00-8BC4-2F62-C8D4-943DD3D53B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 dirty="0"/>
              <a:t>Status Quo delivery dates Quadru-Poles (sequence according to delivery milestones M10-P)</a:t>
            </a:r>
          </a:p>
          <a:p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6DBBA6-7D76-55AA-0770-C83FC5CF6B7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D9570C1-DEC9-F374-2288-E67F4F320E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2661466-1653-75D4-9D68-D8C9C47A40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9449A-3FF3-45CE-9F4F-09BADC0910C6}" type="slidenum">
              <a:rPr lang="de-DE" noProof="0"/>
              <a:t>8</a:t>
            </a:fld>
            <a:endParaRPr lang="de-DE" noProof="0" dirty="0"/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DDD0C5F8-AAFE-33A2-A88B-96F0A116A719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0290175" y="2309813"/>
            <a:ext cx="93663" cy="3789363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91784E43-E776-203D-E4BB-12893F53A5E3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2655887" y="2309813"/>
            <a:ext cx="147638" cy="3789363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0EA62A9C-46D3-7A3F-CFD9-07AF1FF73664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7745412" y="2309813"/>
            <a:ext cx="147638" cy="3789363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1E52462B-AD72-054C-F2FA-2C48C7C96475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5200649" y="2309813"/>
            <a:ext cx="147638" cy="3789363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19" name="text">
            <a:extLst>
              <a:ext uri="{FF2B5EF4-FFF2-40B4-BE49-F238E27FC236}">
                <a16:creationId xmlns:a16="http://schemas.microsoft.com/office/drawing/2014/main" id="{0587007B-3A4D-7C32-2B1F-216EF4525642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082800" y="1601788"/>
            <a:ext cx="64293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02F4FE3-1A2A-4D1E-B90B-6D4D4AE5980A}" type="datetime'''''''2''''025'''''''''''''''''''''''''''''">
              <a:rPr lang="en-US" altLang="en-US" b="1" smtClean="0"/>
              <a:pPr/>
              <a:t>2025</a:t>
            </a:fld>
            <a:endParaRPr lang="en-US" b="1" dirty="0"/>
          </a:p>
        </p:txBody>
      </p:sp>
      <p:sp>
        <p:nvSpPr>
          <p:cNvPr id="505" name="text">
            <a:extLst>
              <a:ext uri="{FF2B5EF4-FFF2-40B4-BE49-F238E27FC236}">
                <a16:creationId xmlns:a16="http://schemas.microsoft.com/office/drawing/2014/main" id="{35B6D047-0B06-96B1-19CE-9B8D0CC8105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725737" y="1601788"/>
            <a:ext cx="2552700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14216BF-C595-40C5-BE77-C33A25291AE9}" type="datetime'''20''''''''''2''''''''''''''''''''''6'">
              <a:rPr lang="en-US" altLang="en-US" b="1" smtClean="0"/>
              <a:pPr/>
              <a:t>2026</a:t>
            </a:fld>
            <a:endParaRPr lang="en-US" b="1" dirty="0"/>
          </a:p>
        </p:txBody>
      </p:sp>
      <p:sp>
        <p:nvSpPr>
          <p:cNvPr id="544" name="text">
            <a:extLst>
              <a:ext uri="{FF2B5EF4-FFF2-40B4-BE49-F238E27FC236}">
                <a16:creationId xmlns:a16="http://schemas.microsoft.com/office/drawing/2014/main" id="{6F7E79B7-1220-267D-BA11-670FB0EA689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278438" y="1601788"/>
            <a:ext cx="25511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F38DC23-C9E9-43FB-A5D4-8322146BEBBB}" type="datetime'''20''''''2''''''''''''''''''''''''''''''''7'''''''''''">
              <a:rPr lang="en-US" altLang="en-US" b="1" smtClean="0"/>
              <a:pPr/>
              <a:t>2027</a:t>
            </a:fld>
            <a:endParaRPr lang="en-US" b="1" dirty="0"/>
          </a:p>
        </p:txBody>
      </p:sp>
      <p:sp>
        <p:nvSpPr>
          <p:cNvPr id="593" name="text">
            <a:extLst>
              <a:ext uri="{FF2B5EF4-FFF2-40B4-BE49-F238E27FC236}">
                <a16:creationId xmlns:a16="http://schemas.microsoft.com/office/drawing/2014/main" id="{823B3C4E-718A-FBA3-428D-87D8E087059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829549" y="1601788"/>
            <a:ext cx="2559050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209150C-C0DE-4561-B062-B29A358BD156}" type="datetime'''''''2''''''0''''''''''2''''''''''''''''''8'''''''''''">
              <a:rPr lang="en-US" altLang="en-US" b="1" smtClean="0"/>
              <a:pPr/>
              <a:t>2028</a:t>
            </a:fld>
            <a:endParaRPr lang="en-US" b="1" dirty="0"/>
          </a:p>
        </p:txBody>
      </p:sp>
      <p:sp>
        <p:nvSpPr>
          <p:cNvPr id="407" name="text">
            <a:extLst>
              <a:ext uri="{FF2B5EF4-FFF2-40B4-BE49-F238E27FC236}">
                <a16:creationId xmlns:a16="http://schemas.microsoft.com/office/drawing/2014/main" id="{4A03C23B-30B1-C55D-BF68-443542CE915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082800" y="1862138"/>
            <a:ext cx="64293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D73C281-6788-4916-9632-5A2D9D5F72A2}" type="datetime'Q4'''''''''''">
              <a:rPr lang="en-US" altLang="en-US" b="1" smtClean="0"/>
              <a:pPr/>
              <a:t>Q4</a:t>
            </a:fld>
            <a:endParaRPr lang="en-US" b="1" dirty="0"/>
          </a:p>
        </p:txBody>
      </p:sp>
      <p:sp>
        <p:nvSpPr>
          <p:cNvPr id="497" name="text">
            <a:extLst>
              <a:ext uri="{FF2B5EF4-FFF2-40B4-BE49-F238E27FC236}">
                <a16:creationId xmlns:a16="http://schemas.microsoft.com/office/drawing/2014/main" id="{31CDE386-BD8D-16AE-6FEA-980EB0042FF8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725737" y="1862138"/>
            <a:ext cx="63023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75BFCDF-E2A1-431E-8EE0-5000BA81F963}" type="datetime'''''''''''''''''''''''''Q1'''''">
              <a:rPr lang="en-US" altLang="en-US" b="1" smtClean="0"/>
              <a:pPr/>
              <a:t>Q1</a:t>
            </a:fld>
            <a:endParaRPr lang="en-US" b="1" dirty="0"/>
          </a:p>
        </p:txBody>
      </p:sp>
      <p:sp>
        <p:nvSpPr>
          <p:cNvPr id="498" name="text">
            <a:extLst>
              <a:ext uri="{FF2B5EF4-FFF2-40B4-BE49-F238E27FC236}">
                <a16:creationId xmlns:a16="http://schemas.microsoft.com/office/drawing/2014/main" id="{12D51FA4-B5D5-3228-B16C-4DCCA0DBC0B1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355975" y="1862138"/>
            <a:ext cx="635000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0ADFC55-3886-4F74-8205-E6781F7E51EF}" type="datetime'''''''''''''''''''''''''''''''''''Q''''''''''''''2'''''''">
              <a:rPr lang="en-US" altLang="en-US" b="1" smtClean="0"/>
              <a:pPr/>
              <a:t>Q2</a:t>
            </a:fld>
            <a:endParaRPr lang="en-US" b="1" dirty="0"/>
          </a:p>
        </p:txBody>
      </p:sp>
      <p:sp>
        <p:nvSpPr>
          <p:cNvPr id="499" name="text">
            <a:extLst>
              <a:ext uri="{FF2B5EF4-FFF2-40B4-BE49-F238E27FC236}">
                <a16:creationId xmlns:a16="http://schemas.microsoft.com/office/drawing/2014/main" id="{042229A5-A0E7-7549-34D1-C81890B4D412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990975" y="1862138"/>
            <a:ext cx="64293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A9D8F26-01FA-43D4-BB68-A2C11942FD84}" type="datetime'''Q''''''''''''''''''''''''''''''''''''''''''''''''''''3'''''">
              <a:rPr lang="en-US" altLang="en-US" b="1" smtClean="0"/>
              <a:pPr/>
              <a:t>Q3</a:t>
            </a:fld>
            <a:endParaRPr lang="en-US" b="1" dirty="0"/>
          </a:p>
        </p:txBody>
      </p:sp>
      <p:sp>
        <p:nvSpPr>
          <p:cNvPr id="500" name="text">
            <a:extLst>
              <a:ext uri="{FF2B5EF4-FFF2-40B4-BE49-F238E27FC236}">
                <a16:creationId xmlns:a16="http://schemas.microsoft.com/office/drawing/2014/main" id="{EB813558-5C68-A36D-1021-E07FC03C173E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633913" y="1862138"/>
            <a:ext cx="64452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1FC14B9-B0F7-49A3-B82F-6545FBC37EDC}" type="datetime'''''''''''Q''''''''''''''''''''''4'''''''">
              <a:rPr lang="en-US" altLang="en-US" b="1" smtClean="0"/>
              <a:pPr/>
              <a:t>Q4</a:t>
            </a:fld>
            <a:endParaRPr lang="en-US" b="1" dirty="0"/>
          </a:p>
        </p:txBody>
      </p:sp>
      <p:sp>
        <p:nvSpPr>
          <p:cNvPr id="540" name="text">
            <a:extLst>
              <a:ext uri="{FF2B5EF4-FFF2-40B4-BE49-F238E27FC236}">
                <a16:creationId xmlns:a16="http://schemas.microsoft.com/office/drawing/2014/main" id="{C85E6962-334E-8348-E6C7-5AD32D2B197E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278437" y="1862138"/>
            <a:ext cx="628650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F913DF8-AF63-4911-9044-347BED8B935B}" type="datetime'''Q''''''''''''''''''''''''''''1'''''''''''">
              <a:rPr lang="en-US" altLang="en-US" b="1" smtClean="0"/>
              <a:pPr/>
              <a:t>Q1</a:t>
            </a:fld>
            <a:endParaRPr lang="en-US" b="1" dirty="0"/>
          </a:p>
        </p:txBody>
      </p:sp>
      <p:sp>
        <p:nvSpPr>
          <p:cNvPr id="541" name="text">
            <a:extLst>
              <a:ext uri="{FF2B5EF4-FFF2-40B4-BE49-F238E27FC236}">
                <a16:creationId xmlns:a16="http://schemas.microsoft.com/office/drawing/2014/main" id="{97CF34D9-A7D8-0ACC-1FD9-D063B080A286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907088" y="1862138"/>
            <a:ext cx="63658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23BB49B-F987-4D5E-B1FB-A45DC4DC2BAE}" type="datetime'''''''''''''''Q''''''''''''''''''''''2'''''''''''''''''''''">
              <a:rPr lang="en-US" altLang="en-US" b="1" smtClean="0"/>
              <a:pPr/>
              <a:t>Q2</a:t>
            </a:fld>
            <a:endParaRPr lang="en-US" b="1" dirty="0"/>
          </a:p>
        </p:txBody>
      </p:sp>
      <p:sp>
        <p:nvSpPr>
          <p:cNvPr id="542" name="text">
            <a:extLst>
              <a:ext uri="{FF2B5EF4-FFF2-40B4-BE49-F238E27FC236}">
                <a16:creationId xmlns:a16="http://schemas.microsoft.com/office/drawing/2014/main" id="{D6A8DCF9-1CD0-411D-79CC-ED231F0A9753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543675" y="1862138"/>
            <a:ext cx="64293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4AF189E-61C0-4071-BABB-68D2781C0521}" type="datetime'''''''''''''Q3'">
              <a:rPr lang="en-US" altLang="en-US" b="1" smtClean="0"/>
              <a:pPr/>
              <a:t>Q3</a:t>
            </a:fld>
            <a:endParaRPr lang="en-US" b="1" dirty="0"/>
          </a:p>
        </p:txBody>
      </p:sp>
      <p:sp>
        <p:nvSpPr>
          <p:cNvPr id="543" name="text">
            <a:extLst>
              <a:ext uri="{FF2B5EF4-FFF2-40B4-BE49-F238E27FC236}">
                <a16:creationId xmlns:a16="http://schemas.microsoft.com/office/drawing/2014/main" id="{351E5A06-3B35-2825-526A-18ED8AC9EA29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186612" y="1862138"/>
            <a:ext cx="64293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C44E379-C25F-4312-88C0-9E59046226C3}" type="datetime'''Q''''''''''''''''''''''4'''''''''''''''''''''">
              <a:rPr lang="en-US" altLang="en-US" b="1" smtClean="0"/>
              <a:pPr/>
              <a:t>Q4</a:t>
            </a:fld>
            <a:endParaRPr lang="en-US" b="1" dirty="0"/>
          </a:p>
        </p:txBody>
      </p:sp>
      <p:sp>
        <p:nvSpPr>
          <p:cNvPr id="589" name="text">
            <a:extLst>
              <a:ext uri="{FF2B5EF4-FFF2-40B4-BE49-F238E27FC236}">
                <a16:creationId xmlns:a16="http://schemas.microsoft.com/office/drawing/2014/main" id="{663A5727-43A8-0E6D-7D13-AEF734F2411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829549" y="1862138"/>
            <a:ext cx="63658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EA13AA6-F14D-4345-812D-CE7997E98106}" type="datetime'''''''''''''''''''''''''''Q''''''''''''''''1'''''">
              <a:rPr lang="en-US" altLang="en-US" b="1" smtClean="0"/>
              <a:pPr/>
              <a:t>Q1</a:t>
            </a:fld>
            <a:endParaRPr lang="en-US" b="1" dirty="0"/>
          </a:p>
        </p:txBody>
      </p:sp>
      <p:sp>
        <p:nvSpPr>
          <p:cNvPr id="590" name="text">
            <a:extLst>
              <a:ext uri="{FF2B5EF4-FFF2-40B4-BE49-F238E27FC236}">
                <a16:creationId xmlns:a16="http://schemas.microsoft.com/office/drawing/2014/main" id="{86DA8328-4D9E-ABA8-CE7F-453D290D5140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8466138" y="1862138"/>
            <a:ext cx="63658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C34017C-3044-42FD-BBEF-73F3DB32D6E7}" type="datetime'''''''''''Q''''''''''''''''''''''''''''''2'''">
              <a:rPr lang="en-US" altLang="en-US" b="1" smtClean="0"/>
              <a:pPr/>
              <a:t>Q2</a:t>
            </a:fld>
            <a:endParaRPr lang="en-US" b="1" dirty="0"/>
          </a:p>
        </p:txBody>
      </p:sp>
      <p:sp>
        <p:nvSpPr>
          <p:cNvPr id="591" name="text">
            <a:extLst>
              <a:ext uri="{FF2B5EF4-FFF2-40B4-BE49-F238E27FC236}">
                <a16:creationId xmlns:a16="http://schemas.microsoft.com/office/drawing/2014/main" id="{B92E8E5B-1CB7-58A3-803B-136D166757A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9102724" y="1862138"/>
            <a:ext cx="64293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426FF7B-0F60-4923-8BFC-AEE974644245}" type="datetime'''''''''''''''''''''''''''''''''''''''''''Q''''''3'''">
              <a:rPr lang="en-US" altLang="en-US" b="1" smtClean="0"/>
              <a:pPr/>
              <a:t>Q3</a:t>
            </a:fld>
            <a:endParaRPr lang="en-US" b="1" dirty="0"/>
          </a:p>
        </p:txBody>
      </p:sp>
      <p:sp>
        <p:nvSpPr>
          <p:cNvPr id="592" name="text">
            <a:extLst>
              <a:ext uri="{FF2B5EF4-FFF2-40B4-BE49-F238E27FC236}">
                <a16:creationId xmlns:a16="http://schemas.microsoft.com/office/drawing/2014/main" id="{C76932BA-209D-AFBD-48A5-4194466FE291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9745663" y="1862138"/>
            <a:ext cx="64293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FAB18D2-2786-4855-A580-645F2425FCE6}" type="datetime'''''''Q''''''''''''''''''''''''4'''''''''''''''''">
              <a:rPr lang="en-US" altLang="en-US" b="1" smtClean="0"/>
              <a:pPr/>
              <a:t>Q4</a:t>
            </a:fld>
            <a:endParaRPr lang="en-US" b="1" dirty="0"/>
          </a:p>
        </p:txBody>
      </p:sp>
      <p:sp>
        <p:nvSpPr>
          <p:cNvPr id="39" name="text">
            <a:extLst>
              <a:ext uri="{FF2B5EF4-FFF2-40B4-BE49-F238E27FC236}">
                <a16:creationId xmlns:a16="http://schemas.microsoft.com/office/drawing/2014/main" id="{21C20D93-32E2-BE79-AE4D-2C2EB64573AC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082799" y="2122489"/>
            <a:ext cx="2174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80038D6-A1D4-4852-A2D8-3C728E888BA2}" type="datetime'''''''''''''''''''''''''''''''''''''''''''''''''10'''''">
              <a:rPr lang="en-US" altLang="en-US" sz="1000" smtClean="0"/>
              <a:pPr/>
              <a:t>10</a:t>
            </a:fld>
            <a:endParaRPr lang="en-US" sz="1000" dirty="0"/>
          </a:p>
        </p:txBody>
      </p:sp>
      <p:sp>
        <p:nvSpPr>
          <p:cNvPr id="40" name="text">
            <a:extLst>
              <a:ext uri="{FF2B5EF4-FFF2-40B4-BE49-F238E27FC236}">
                <a16:creationId xmlns:a16="http://schemas.microsoft.com/office/drawing/2014/main" id="{649A30AE-314A-2FA6-E4E3-F495CBE54818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2300288" y="2122489"/>
            <a:ext cx="20955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45B2CB4-4108-4D87-AF1D-C80954AAC9D4}" type="datetime'''''''''''''''''''1''''''''''''''''''1'''''''''''''''''''">
              <a:rPr lang="en-US" altLang="en-US" sz="1000" smtClean="0"/>
              <a:pPr/>
              <a:t>11</a:t>
            </a:fld>
            <a:endParaRPr lang="en-US" sz="1000" dirty="0"/>
          </a:p>
        </p:txBody>
      </p:sp>
      <p:sp>
        <p:nvSpPr>
          <p:cNvPr id="469" name="text">
            <a:extLst>
              <a:ext uri="{FF2B5EF4-FFF2-40B4-BE49-F238E27FC236}">
                <a16:creationId xmlns:a16="http://schemas.microsoft.com/office/drawing/2014/main" id="{6A834C8C-EF2C-D7C5-DC3F-8A66C4119A46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509837" y="2122488"/>
            <a:ext cx="21590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261B0F0-1350-45E5-817C-E87B899581AF}" type="datetime'''''''''''''''''''''1''''''''''2'''''''''''''">
              <a:rPr lang="en-US" altLang="en-US" sz="1000" smtClean="0"/>
              <a:pPr/>
              <a:t>12</a:t>
            </a:fld>
            <a:endParaRPr lang="en-US" sz="1000" dirty="0"/>
          </a:p>
        </p:txBody>
      </p:sp>
      <p:sp>
        <p:nvSpPr>
          <p:cNvPr id="472" name="text">
            <a:extLst>
              <a:ext uri="{FF2B5EF4-FFF2-40B4-BE49-F238E27FC236}">
                <a16:creationId xmlns:a16="http://schemas.microsoft.com/office/drawing/2014/main" id="{4FACF8C0-9C6F-2CAF-74A0-C5426B7AC8CF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725737" y="2122488"/>
            <a:ext cx="2174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F702AA0-B630-49E4-A60E-31CA08924D99}" type="datetime'''''''''''''1'''''''''''''''''''''''''''''''''''''''''''''''">
              <a:rPr lang="en-US" altLang="en-US" sz="1000" smtClean="0"/>
              <a:pPr/>
              <a:t>1</a:t>
            </a:fld>
            <a:endParaRPr lang="en-US" sz="1000" dirty="0"/>
          </a:p>
        </p:txBody>
      </p:sp>
      <p:sp>
        <p:nvSpPr>
          <p:cNvPr id="474" name="text">
            <a:extLst>
              <a:ext uri="{FF2B5EF4-FFF2-40B4-BE49-F238E27FC236}">
                <a16:creationId xmlns:a16="http://schemas.microsoft.com/office/drawing/2014/main" id="{6B8F4876-B618-E2F9-87EC-1F82BC84EFA7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943225" y="2122488"/>
            <a:ext cx="19526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F63A27C-B2B0-4E3B-9F57-04710E53A2D8}" type="datetime'2'''''''''''''''''''''''''''''''''''''''''''''''''''''''">
              <a:rPr lang="en-US" altLang="en-US" sz="1000" smtClean="0"/>
              <a:pPr/>
              <a:t>2</a:t>
            </a:fld>
            <a:endParaRPr lang="en-US" sz="1000" dirty="0"/>
          </a:p>
        </p:txBody>
      </p:sp>
      <p:sp>
        <p:nvSpPr>
          <p:cNvPr id="475" name="text">
            <a:extLst>
              <a:ext uri="{FF2B5EF4-FFF2-40B4-BE49-F238E27FC236}">
                <a16:creationId xmlns:a16="http://schemas.microsoft.com/office/drawing/2014/main" id="{498B5367-95DF-DFF3-CBEE-4204C2767671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3138487" y="2122488"/>
            <a:ext cx="2174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16E0D43-444E-4C37-8D9E-A6EA60A4AA86}" type="datetime'''''''''''''''''''''3'''''''''''''''''''''''''''''''">
              <a:rPr lang="en-US" altLang="en-US" sz="1000" smtClean="0"/>
              <a:pPr/>
              <a:t>3</a:t>
            </a:fld>
            <a:endParaRPr lang="en-US" sz="1000" dirty="0"/>
          </a:p>
        </p:txBody>
      </p:sp>
      <p:sp>
        <p:nvSpPr>
          <p:cNvPr id="476" name="text">
            <a:extLst>
              <a:ext uri="{FF2B5EF4-FFF2-40B4-BE49-F238E27FC236}">
                <a16:creationId xmlns:a16="http://schemas.microsoft.com/office/drawing/2014/main" id="{75617C3C-AD74-01E3-3E44-4E8F95E3A3E4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3355974" y="2122488"/>
            <a:ext cx="20955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51CC9CE-6B89-4724-8F7E-B907E19ADF70}" type="datetime'''''''''''''4'''''''''''''''''''''''''''''''''''''''''''''''''">
              <a:rPr lang="en-US" altLang="en-US" sz="1000" smtClean="0"/>
              <a:pPr/>
              <a:t>4</a:t>
            </a:fld>
            <a:endParaRPr lang="en-US" sz="1000" dirty="0"/>
          </a:p>
        </p:txBody>
      </p:sp>
      <p:sp>
        <p:nvSpPr>
          <p:cNvPr id="477" name="text">
            <a:extLst>
              <a:ext uri="{FF2B5EF4-FFF2-40B4-BE49-F238E27FC236}">
                <a16:creationId xmlns:a16="http://schemas.microsoft.com/office/drawing/2014/main" id="{193702CF-F6F3-6251-B25D-D88BB85C4760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3565524" y="2122488"/>
            <a:ext cx="21590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3A3575F-0B79-4925-9241-6E52B7C864C1}" type="datetime'''''''5'''''''''''''''''''''''">
              <a:rPr lang="en-US" altLang="en-US" sz="1000" smtClean="0"/>
              <a:pPr/>
              <a:t>5</a:t>
            </a:fld>
            <a:endParaRPr lang="en-US" sz="1000" dirty="0"/>
          </a:p>
        </p:txBody>
      </p:sp>
      <p:sp>
        <p:nvSpPr>
          <p:cNvPr id="478" name="text">
            <a:extLst>
              <a:ext uri="{FF2B5EF4-FFF2-40B4-BE49-F238E27FC236}">
                <a16:creationId xmlns:a16="http://schemas.microsoft.com/office/drawing/2014/main" id="{B30D74C5-D412-9BF5-D3F1-E82ED75A24A5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3781425" y="2122488"/>
            <a:ext cx="20955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72E5D5F-6973-402A-B6BD-D0EC83125BBF}" type="datetime'''''''''''''6'''''''">
              <a:rPr lang="en-US" altLang="en-US" sz="1000" smtClean="0"/>
              <a:pPr/>
              <a:t>6</a:t>
            </a:fld>
            <a:endParaRPr lang="en-US" sz="1000" dirty="0"/>
          </a:p>
        </p:txBody>
      </p:sp>
      <p:sp>
        <p:nvSpPr>
          <p:cNvPr id="479" name="text">
            <a:extLst>
              <a:ext uri="{FF2B5EF4-FFF2-40B4-BE49-F238E27FC236}">
                <a16:creationId xmlns:a16="http://schemas.microsoft.com/office/drawing/2014/main" id="{794A595A-2D04-5C56-AD7A-2AD63E0E8D77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3990974" y="2122488"/>
            <a:ext cx="2174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2609581-7493-4850-869F-2CA03D157510}" type="datetime'''''''''''''''''''''7'''''''''''''''''''''''''''''''''''''''">
              <a:rPr lang="en-US" altLang="en-US" sz="1000" smtClean="0"/>
              <a:pPr/>
              <a:t>7</a:t>
            </a:fld>
            <a:endParaRPr lang="en-US" sz="1000" dirty="0"/>
          </a:p>
        </p:txBody>
      </p:sp>
      <p:sp>
        <p:nvSpPr>
          <p:cNvPr id="480" name="text">
            <a:extLst>
              <a:ext uri="{FF2B5EF4-FFF2-40B4-BE49-F238E27FC236}">
                <a16:creationId xmlns:a16="http://schemas.microsoft.com/office/drawing/2014/main" id="{588E2AAA-0CDC-DC6D-0A65-F1D86B94EBD3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4208462" y="2122488"/>
            <a:ext cx="21590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FA5D2F6-FB9F-4E2A-BBA8-3BA824B05D62}" type="datetime'''''''''''''''8'''''''''''''''">
              <a:rPr lang="en-US" altLang="en-US" sz="1000" smtClean="0"/>
              <a:pPr/>
              <a:t>8</a:t>
            </a:fld>
            <a:endParaRPr lang="en-US" sz="1000" dirty="0"/>
          </a:p>
        </p:txBody>
      </p:sp>
      <p:sp>
        <p:nvSpPr>
          <p:cNvPr id="481" name="text">
            <a:extLst>
              <a:ext uri="{FF2B5EF4-FFF2-40B4-BE49-F238E27FC236}">
                <a16:creationId xmlns:a16="http://schemas.microsoft.com/office/drawing/2014/main" id="{3E126A93-F203-75C0-D53D-8D99FE286F2F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4424363" y="2122488"/>
            <a:ext cx="20955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1435BFF-DFC9-4147-88F1-BCCACEB53CEE}" type="datetime'''''''''''''''''''''''''''''''''''''''''''''9'''''''''">
              <a:rPr lang="en-US" altLang="en-US" sz="1000" smtClean="0"/>
              <a:pPr/>
              <a:t>9</a:t>
            </a:fld>
            <a:endParaRPr lang="en-US" sz="1000" dirty="0"/>
          </a:p>
        </p:txBody>
      </p:sp>
      <p:sp>
        <p:nvSpPr>
          <p:cNvPr id="482" name="text">
            <a:extLst>
              <a:ext uri="{FF2B5EF4-FFF2-40B4-BE49-F238E27FC236}">
                <a16:creationId xmlns:a16="http://schemas.microsoft.com/office/drawing/2014/main" id="{86B76748-C2F1-15C8-D7FB-26C47A7ECCF8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4633912" y="2122488"/>
            <a:ext cx="2174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BEBA082-6A9D-4C56-B801-2ECB9299D062}" type="datetime'''''''''''''''1''''''''''''''''''''''''0'''''''">
              <a:rPr lang="en-US" altLang="en-US" sz="1000" smtClean="0"/>
              <a:pPr/>
              <a:t>10</a:t>
            </a:fld>
            <a:endParaRPr lang="en-US" sz="1000" dirty="0"/>
          </a:p>
        </p:txBody>
      </p:sp>
      <p:sp>
        <p:nvSpPr>
          <p:cNvPr id="483" name="text">
            <a:extLst>
              <a:ext uri="{FF2B5EF4-FFF2-40B4-BE49-F238E27FC236}">
                <a16:creationId xmlns:a16="http://schemas.microsoft.com/office/drawing/2014/main" id="{7A6EAC81-D0D0-4A2C-C424-4BE07849CC29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4851399" y="2122488"/>
            <a:ext cx="20955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40A09C1-742D-41F2-9AF0-588921E37397}" type="datetime'''''''''''''1''''''''''''''''''''1'''''''''''">
              <a:rPr lang="en-US" altLang="en-US" sz="1000" smtClean="0"/>
              <a:pPr/>
              <a:t>11</a:t>
            </a:fld>
            <a:endParaRPr lang="en-US" sz="1000" dirty="0"/>
          </a:p>
        </p:txBody>
      </p:sp>
      <p:sp>
        <p:nvSpPr>
          <p:cNvPr id="484" name="text">
            <a:extLst>
              <a:ext uri="{FF2B5EF4-FFF2-40B4-BE49-F238E27FC236}">
                <a16:creationId xmlns:a16="http://schemas.microsoft.com/office/drawing/2014/main" id="{A00ABB58-82B0-63CB-0F36-86217671BE67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5060949" y="2122488"/>
            <a:ext cx="2174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2F33090-FCF2-430E-B3CE-E17F5CE43FD3}" type="datetime'''''''''''''''''''''''''''''1''2'''''''''''''''''''''''">
              <a:rPr lang="en-US" altLang="en-US" sz="1000" smtClean="0"/>
              <a:pPr/>
              <a:t>12</a:t>
            </a:fld>
            <a:endParaRPr lang="en-US" sz="1000" dirty="0"/>
          </a:p>
        </p:txBody>
      </p:sp>
      <p:sp>
        <p:nvSpPr>
          <p:cNvPr id="527" name="text">
            <a:extLst>
              <a:ext uri="{FF2B5EF4-FFF2-40B4-BE49-F238E27FC236}">
                <a16:creationId xmlns:a16="http://schemas.microsoft.com/office/drawing/2014/main" id="{D0A4AD17-767E-2CE1-6E35-B6122529D76F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5278437" y="2122488"/>
            <a:ext cx="21590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39243F7-6AE0-4F61-8CA2-4AAB42070832}" type="datetime'''''''''''''''''''''''''''''''''''''''''''''''1'">
              <a:rPr lang="en-US" altLang="en-US" sz="1000" smtClean="0"/>
              <a:pPr/>
              <a:t>1</a:t>
            </a:fld>
            <a:endParaRPr lang="en-US" sz="1000" dirty="0"/>
          </a:p>
        </p:txBody>
      </p:sp>
      <p:sp>
        <p:nvSpPr>
          <p:cNvPr id="529" name="text">
            <a:extLst>
              <a:ext uri="{FF2B5EF4-FFF2-40B4-BE49-F238E27FC236}">
                <a16:creationId xmlns:a16="http://schemas.microsoft.com/office/drawing/2014/main" id="{20F9BDED-D3EE-6B37-D3CE-E28E18D5960A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5494338" y="2122488"/>
            <a:ext cx="19526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3028098-8853-47CC-800B-442C74DAD03A}" type="datetime'''''''''''''''2'''''''''''''''''''''''''''''''''''''''">
              <a:rPr lang="en-US" altLang="en-US" sz="1000" smtClean="0"/>
              <a:pPr/>
              <a:t>2</a:t>
            </a:fld>
            <a:endParaRPr lang="en-US" sz="1000" dirty="0"/>
          </a:p>
        </p:txBody>
      </p:sp>
      <p:sp>
        <p:nvSpPr>
          <p:cNvPr id="530" name="text">
            <a:extLst>
              <a:ext uri="{FF2B5EF4-FFF2-40B4-BE49-F238E27FC236}">
                <a16:creationId xmlns:a16="http://schemas.microsoft.com/office/drawing/2014/main" id="{5E72EBB9-D2FA-74FF-F5B9-4E1A601C456B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5689599" y="2122488"/>
            <a:ext cx="2174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6A288ED-8393-48D5-8225-CDE47C6C2733}" type="datetime'''''''''''''''''''''''''''''''''''''''''''''''3'">
              <a:rPr lang="en-US" altLang="en-US" sz="1000" smtClean="0"/>
              <a:pPr/>
              <a:t>3</a:t>
            </a:fld>
            <a:endParaRPr lang="en-US" sz="1000" dirty="0"/>
          </a:p>
        </p:txBody>
      </p:sp>
      <p:sp>
        <p:nvSpPr>
          <p:cNvPr id="531" name="text">
            <a:extLst>
              <a:ext uri="{FF2B5EF4-FFF2-40B4-BE49-F238E27FC236}">
                <a16:creationId xmlns:a16="http://schemas.microsoft.com/office/drawing/2014/main" id="{60B507E8-C337-1CF3-46D6-C78E3FA6F164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5907088" y="2122488"/>
            <a:ext cx="20955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81B3CCC-6197-4464-B812-1A074C1A2F89}" type="datetime'''''''''''''''''''''''''''''4'''''''''''''''''''''''''''">
              <a:rPr lang="en-US" altLang="en-US" sz="1000" smtClean="0"/>
              <a:pPr/>
              <a:t>4</a:t>
            </a:fld>
            <a:endParaRPr lang="en-US" sz="1000" dirty="0"/>
          </a:p>
        </p:txBody>
      </p:sp>
      <p:sp>
        <p:nvSpPr>
          <p:cNvPr id="532" name="text">
            <a:extLst>
              <a:ext uri="{FF2B5EF4-FFF2-40B4-BE49-F238E27FC236}">
                <a16:creationId xmlns:a16="http://schemas.microsoft.com/office/drawing/2014/main" id="{2863FBFD-43A7-D215-84A2-8184C9A0A58E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6116637" y="2122488"/>
            <a:ext cx="2174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CDDE179-E239-4421-B10F-CF3454AD001A}" type="datetime'''''''''''''''''''''''''''''5'''''''''''''''''''''">
              <a:rPr lang="en-US" altLang="en-US" sz="1000" smtClean="0"/>
              <a:pPr/>
              <a:t>5</a:t>
            </a:fld>
            <a:endParaRPr lang="en-US" sz="1000" dirty="0"/>
          </a:p>
        </p:txBody>
      </p:sp>
      <p:sp>
        <p:nvSpPr>
          <p:cNvPr id="533" name="text">
            <a:extLst>
              <a:ext uri="{FF2B5EF4-FFF2-40B4-BE49-F238E27FC236}">
                <a16:creationId xmlns:a16="http://schemas.microsoft.com/office/drawing/2014/main" id="{B7C16745-3359-C64D-BD05-894E7A44FBCB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6334124" y="2122488"/>
            <a:ext cx="20955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50F0809-1C95-430B-A9B0-C252C67EBF19}" type="datetime'''6'''">
              <a:rPr lang="en-US" altLang="en-US" sz="1000" smtClean="0"/>
              <a:pPr/>
              <a:t>6</a:t>
            </a:fld>
            <a:endParaRPr lang="en-US" sz="1000" dirty="0"/>
          </a:p>
        </p:txBody>
      </p:sp>
      <p:sp>
        <p:nvSpPr>
          <p:cNvPr id="534" name="text">
            <a:extLst>
              <a:ext uri="{FF2B5EF4-FFF2-40B4-BE49-F238E27FC236}">
                <a16:creationId xmlns:a16="http://schemas.microsoft.com/office/drawing/2014/main" id="{FD2AC980-B5C8-B212-5376-32E9527B1012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6543674" y="2122488"/>
            <a:ext cx="21590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2F3E5B2-CB35-4F03-86FC-208107C55968}" type="datetime'''''''''''7'''''''''''''''''''''''''''''">
              <a:rPr lang="en-US" altLang="en-US" sz="1000" smtClean="0"/>
              <a:pPr/>
              <a:t>7</a:t>
            </a:fld>
            <a:endParaRPr lang="en-US" sz="1000" dirty="0"/>
          </a:p>
        </p:txBody>
      </p:sp>
      <p:sp>
        <p:nvSpPr>
          <p:cNvPr id="535" name="text">
            <a:extLst>
              <a:ext uri="{FF2B5EF4-FFF2-40B4-BE49-F238E27FC236}">
                <a16:creationId xmlns:a16="http://schemas.microsoft.com/office/drawing/2014/main" id="{7383B029-8453-3536-4699-0233D0621237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6759574" y="2122488"/>
            <a:ext cx="2174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6C1089A-5839-49A3-ABDF-C285907458E4}" type="datetime'''8'''''''''''''''''''">
              <a:rPr lang="en-US" altLang="en-US" sz="1000" smtClean="0"/>
              <a:pPr/>
              <a:t>8</a:t>
            </a:fld>
            <a:endParaRPr lang="en-US" sz="1000" dirty="0"/>
          </a:p>
        </p:txBody>
      </p:sp>
      <p:sp>
        <p:nvSpPr>
          <p:cNvPr id="536" name="text">
            <a:extLst>
              <a:ext uri="{FF2B5EF4-FFF2-40B4-BE49-F238E27FC236}">
                <a16:creationId xmlns:a16="http://schemas.microsoft.com/office/drawing/2014/main" id="{23AABF15-814E-86DE-4D83-EE675CB41688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6977063" y="2122488"/>
            <a:ext cx="20955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3B7BF63-A0CC-4B9C-B226-DA542AA6FE5B}" type="datetime'''''''''''''''''''9'''''''''''''''">
              <a:rPr lang="en-US" altLang="en-US" sz="1000" smtClean="0"/>
              <a:pPr/>
              <a:t>9</a:t>
            </a:fld>
            <a:endParaRPr lang="en-US" sz="1000" dirty="0"/>
          </a:p>
        </p:txBody>
      </p:sp>
      <p:sp>
        <p:nvSpPr>
          <p:cNvPr id="537" name="text">
            <a:extLst>
              <a:ext uri="{FF2B5EF4-FFF2-40B4-BE49-F238E27FC236}">
                <a16:creationId xmlns:a16="http://schemas.microsoft.com/office/drawing/2014/main" id="{B4FF9CB4-AC2D-1373-BE72-B350ADA5B90E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7186612" y="2122488"/>
            <a:ext cx="21590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3EB577F-F016-46FF-848C-1D318DB8518A}" type="datetime'''''''''10'''''''''''''''">
              <a:rPr lang="en-US" altLang="en-US" sz="1000" smtClean="0"/>
              <a:pPr/>
              <a:t>10</a:t>
            </a:fld>
            <a:endParaRPr lang="en-US" sz="1000" dirty="0"/>
          </a:p>
        </p:txBody>
      </p:sp>
      <p:sp>
        <p:nvSpPr>
          <p:cNvPr id="538" name="text">
            <a:extLst>
              <a:ext uri="{FF2B5EF4-FFF2-40B4-BE49-F238E27FC236}">
                <a16:creationId xmlns:a16="http://schemas.microsoft.com/office/drawing/2014/main" id="{2757A507-DCFA-6347-F5D9-34B40CCB8C6F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7402512" y="2122488"/>
            <a:ext cx="21113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D01DA93-0D56-41BF-A4ED-7AE7FB7DCC73}" type="datetime'''''''''''''''''''''''''''''11'''''''''''''">
              <a:rPr lang="en-US" altLang="en-US" sz="1000" smtClean="0"/>
              <a:pPr/>
              <a:t>11</a:t>
            </a:fld>
            <a:endParaRPr lang="en-US" sz="1000" dirty="0"/>
          </a:p>
        </p:txBody>
      </p:sp>
      <p:sp>
        <p:nvSpPr>
          <p:cNvPr id="539" name="text">
            <a:extLst>
              <a:ext uri="{FF2B5EF4-FFF2-40B4-BE49-F238E27FC236}">
                <a16:creationId xmlns:a16="http://schemas.microsoft.com/office/drawing/2014/main" id="{BCC06C12-306D-8F5C-9E20-0FDB1C93BF82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7613649" y="2122488"/>
            <a:ext cx="21590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AE0D544-F536-4FE0-86BE-460E4CDED38D}" type="datetime'''''''''''''''1''''''''''2'''''''''''''''''''''''''''''''''''">
              <a:rPr lang="en-US" altLang="en-US" sz="1000" smtClean="0"/>
              <a:pPr/>
              <a:t>12</a:t>
            </a:fld>
            <a:endParaRPr lang="en-US" sz="1000" dirty="0"/>
          </a:p>
        </p:txBody>
      </p:sp>
      <p:sp>
        <p:nvSpPr>
          <p:cNvPr id="576" name="text">
            <a:extLst>
              <a:ext uri="{FF2B5EF4-FFF2-40B4-BE49-F238E27FC236}">
                <a16:creationId xmlns:a16="http://schemas.microsoft.com/office/drawing/2014/main" id="{6A6FA467-0B98-C415-4B29-5B2FF0720726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7829549" y="2122488"/>
            <a:ext cx="2174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5313415-F498-4A71-ADED-65660F1F50A3}" type="datetime'''''''1'''''''''''''''''''''''''''''''''''''''''''''''''''">
              <a:rPr lang="en-US" altLang="en-US" sz="1000" smtClean="0"/>
              <a:pPr/>
              <a:t>1</a:t>
            </a:fld>
            <a:endParaRPr lang="en-US" sz="1000" dirty="0"/>
          </a:p>
        </p:txBody>
      </p:sp>
      <p:sp>
        <p:nvSpPr>
          <p:cNvPr id="578" name="text">
            <a:extLst>
              <a:ext uri="{FF2B5EF4-FFF2-40B4-BE49-F238E27FC236}">
                <a16:creationId xmlns:a16="http://schemas.microsoft.com/office/drawing/2014/main" id="{3869A357-9CC0-FD74-68A4-281C6A0299A0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8047038" y="2122488"/>
            <a:ext cx="201613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CD8674E-1ED6-4FB9-A882-BAC4751428CB}" type="datetime'''''''''''''''''''''''''''''''''''2'''''">
              <a:rPr lang="en-US" altLang="en-US" sz="1000" smtClean="0"/>
              <a:pPr/>
              <a:t>2</a:t>
            </a:fld>
            <a:endParaRPr lang="en-US" sz="1000" dirty="0"/>
          </a:p>
        </p:txBody>
      </p:sp>
      <p:sp>
        <p:nvSpPr>
          <p:cNvPr id="579" name="text">
            <a:extLst>
              <a:ext uri="{FF2B5EF4-FFF2-40B4-BE49-F238E27FC236}">
                <a16:creationId xmlns:a16="http://schemas.microsoft.com/office/drawing/2014/main" id="{6D1957D8-A3C5-2E69-7F77-8F349915AEC0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8248649" y="2122488"/>
            <a:ext cx="2174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5200B7D-1976-45B8-8AC3-D675B0BAFF93}" type="datetime'3'''''''''''''">
              <a:rPr lang="en-US" altLang="en-US" sz="1000" smtClean="0"/>
              <a:pPr/>
              <a:t>3</a:t>
            </a:fld>
            <a:endParaRPr lang="en-US" sz="1000" dirty="0"/>
          </a:p>
        </p:txBody>
      </p:sp>
      <p:sp>
        <p:nvSpPr>
          <p:cNvPr id="580" name="text">
            <a:extLst>
              <a:ext uri="{FF2B5EF4-FFF2-40B4-BE49-F238E27FC236}">
                <a16:creationId xmlns:a16="http://schemas.microsoft.com/office/drawing/2014/main" id="{82BB3A4F-B793-A3ED-2517-CE0D38D9E45A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8466137" y="2122488"/>
            <a:ext cx="20955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49AB53F-F3C8-4BF8-9492-BF2230157088}" type="datetime'''4'''''''''">
              <a:rPr lang="en-US" altLang="en-US" sz="1000" smtClean="0"/>
              <a:pPr/>
              <a:t>4</a:t>
            </a:fld>
            <a:endParaRPr lang="en-US" sz="1000" dirty="0"/>
          </a:p>
        </p:txBody>
      </p:sp>
      <p:sp>
        <p:nvSpPr>
          <p:cNvPr id="581" name="text">
            <a:extLst>
              <a:ext uri="{FF2B5EF4-FFF2-40B4-BE49-F238E27FC236}">
                <a16:creationId xmlns:a16="http://schemas.microsoft.com/office/drawing/2014/main" id="{6F656F80-30A8-983D-B4FF-4D91F59A8C21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8675687" y="2122488"/>
            <a:ext cx="2174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F1DF38D-D7DC-45C4-8790-B128A68ADD48}" type="datetime'''''''''''''''''5'''''''''''''''''''''''''''''''''''''''''''''">
              <a:rPr lang="en-US" altLang="en-US" sz="1000" smtClean="0"/>
              <a:pPr/>
              <a:t>5</a:t>
            </a:fld>
            <a:endParaRPr lang="en-US" sz="1000" dirty="0"/>
          </a:p>
        </p:txBody>
      </p:sp>
      <p:sp>
        <p:nvSpPr>
          <p:cNvPr id="582" name="text">
            <a:extLst>
              <a:ext uri="{FF2B5EF4-FFF2-40B4-BE49-F238E27FC236}">
                <a16:creationId xmlns:a16="http://schemas.microsoft.com/office/drawing/2014/main" id="{1353C742-82B5-C732-C472-B9A173244D47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8893175" y="2122488"/>
            <a:ext cx="20955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4653903-5964-4CA5-B88A-F736D0970A98}" type="datetime'''6'''''''''''''''''''''''''">
              <a:rPr lang="en-US" altLang="en-US" sz="1000" smtClean="0"/>
              <a:pPr/>
              <a:t>6</a:t>
            </a:fld>
            <a:endParaRPr lang="en-US" sz="1000" dirty="0"/>
          </a:p>
        </p:txBody>
      </p:sp>
      <p:sp>
        <p:nvSpPr>
          <p:cNvPr id="583" name="text">
            <a:extLst>
              <a:ext uri="{FF2B5EF4-FFF2-40B4-BE49-F238E27FC236}">
                <a16:creationId xmlns:a16="http://schemas.microsoft.com/office/drawing/2014/main" id="{A7C85233-052B-6371-2374-0D4AB6D4E338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9102724" y="2122488"/>
            <a:ext cx="21590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D208629-1994-415C-A962-3973D4DF1CB5}" type="datetime'7'''''''''''''">
              <a:rPr lang="en-US" altLang="en-US" sz="1000" smtClean="0"/>
              <a:pPr/>
              <a:t>7</a:t>
            </a:fld>
            <a:endParaRPr lang="en-US" sz="1000" dirty="0"/>
          </a:p>
        </p:txBody>
      </p:sp>
      <p:sp>
        <p:nvSpPr>
          <p:cNvPr id="584" name="text">
            <a:extLst>
              <a:ext uri="{FF2B5EF4-FFF2-40B4-BE49-F238E27FC236}">
                <a16:creationId xmlns:a16="http://schemas.microsoft.com/office/drawing/2014/main" id="{D7AAC846-22B0-F749-F104-C4CA782D1D5B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9318624" y="2122488"/>
            <a:ext cx="2174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18CC8A2-C79B-41B3-8425-8457BED6E4AC}" type="datetime'''''''''''''''''''''8'''''''''''''''''''''''''''''''''''''''''">
              <a:rPr lang="en-US" altLang="en-US" sz="1000" smtClean="0"/>
              <a:pPr/>
              <a:t>8</a:t>
            </a:fld>
            <a:endParaRPr lang="en-US" sz="1000" dirty="0"/>
          </a:p>
        </p:txBody>
      </p:sp>
      <p:sp>
        <p:nvSpPr>
          <p:cNvPr id="585" name="text">
            <a:extLst>
              <a:ext uri="{FF2B5EF4-FFF2-40B4-BE49-F238E27FC236}">
                <a16:creationId xmlns:a16="http://schemas.microsoft.com/office/drawing/2014/main" id="{9F4133AC-1CAC-9A6F-47DA-29E7B43F34FA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9536112" y="2122488"/>
            <a:ext cx="20955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A9959FA-E362-46B8-89DD-389AFEC0B216}" type="datetime'''9'''''''''''''''''''''''''''''''''''''''''''''''''''''''''''">
              <a:rPr lang="en-US" altLang="en-US" sz="1000" smtClean="0"/>
              <a:pPr/>
              <a:t>9</a:t>
            </a:fld>
            <a:endParaRPr lang="en-US" sz="1000" dirty="0"/>
          </a:p>
        </p:txBody>
      </p:sp>
      <p:sp>
        <p:nvSpPr>
          <p:cNvPr id="586" name="text">
            <a:extLst>
              <a:ext uri="{FF2B5EF4-FFF2-40B4-BE49-F238E27FC236}">
                <a16:creationId xmlns:a16="http://schemas.microsoft.com/office/drawing/2014/main" id="{9409AAC3-7E67-0E7D-E803-0DF754079A3C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9745662" y="2122488"/>
            <a:ext cx="21590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BDBEAC4-880F-4D2E-AB72-CE436A02E152}" type="datetime'1''''''''''''''''''''''''''''''0'">
              <a:rPr lang="en-US" altLang="en-US" sz="1000" smtClean="0"/>
              <a:pPr/>
              <a:t>10</a:t>
            </a:fld>
            <a:endParaRPr lang="en-US" sz="1000" dirty="0"/>
          </a:p>
        </p:txBody>
      </p:sp>
      <p:sp>
        <p:nvSpPr>
          <p:cNvPr id="587" name="text">
            <a:extLst>
              <a:ext uri="{FF2B5EF4-FFF2-40B4-BE49-F238E27FC236}">
                <a16:creationId xmlns:a16="http://schemas.microsoft.com/office/drawing/2014/main" id="{8852BA85-408A-5813-720D-D33D793695A4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9961563" y="2122488"/>
            <a:ext cx="209550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2EBA5AF-28B9-4446-8439-B9A7440702A9}" type="datetime'''''''''''''''''''''''''''''''''''''''''''11'''''''''''''''''">
              <a:rPr lang="en-US" altLang="en-US" sz="1000" smtClean="0"/>
              <a:pPr/>
              <a:t>11</a:t>
            </a:fld>
            <a:endParaRPr lang="en-US" sz="1000" dirty="0"/>
          </a:p>
        </p:txBody>
      </p:sp>
      <p:sp>
        <p:nvSpPr>
          <p:cNvPr id="588" name="text">
            <a:extLst>
              <a:ext uri="{FF2B5EF4-FFF2-40B4-BE49-F238E27FC236}">
                <a16:creationId xmlns:a16="http://schemas.microsoft.com/office/drawing/2014/main" id="{C2C26262-AF2E-B279-7B8C-CF09618D5ABC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10171112" y="2122488"/>
            <a:ext cx="217488" cy="18732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90D4750-2A50-4BA5-8977-01C8504BC0F1}" type="datetime'''''''''''''''''''12'''''''''''''''''''''''''''''''''''">
              <a:rPr lang="en-US" altLang="en-US" sz="1000" smtClean="0"/>
              <a:pPr/>
              <a:t>12</a:t>
            </a:fld>
            <a:endParaRPr lang="en-US" sz="1000" dirty="0"/>
          </a:p>
        </p:txBody>
      </p:sp>
      <p:cxnSp>
        <p:nvCxnSpPr>
          <p:cNvPr id="421" name="Gerader Verbinder 420">
            <a:extLst>
              <a:ext uri="{FF2B5EF4-FFF2-40B4-BE49-F238E27FC236}">
                <a16:creationId xmlns:a16="http://schemas.microsoft.com/office/drawing/2014/main" id="{6EC8AC18-8653-7957-263A-3276DB9D2EE6}"/>
              </a:ext>
            </a:extLst>
          </p:cNvPr>
          <p:cNvCxnSpPr/>
          <p:nvPr>
            <p:custDataLst>
              <p:tags r:id="rId62"/>
            </p:custDataLst>
          </p:nvPr>
        </p:nvCxnSpPr>
        <p:spPr bwMode="auto">
          <a:xfrm>
            <a:off x="5278438" y="2309813"/>
            <a:ext cx="0" cy="37893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7" name="Gerader Verbinder 506">
            <a:extLst>
              <a:ext uri="{FF2B5EF4-FFF2-40B4-BE49-F238E27FC236}">
                <a16:creationId xmlns:a16="http://schemas.microsoft.com/office/drawing/2014/main" id="{39138860-8976-3F8E-4242-D109CB6D3B61}"/>
              </a:ext>
            </a:extLst>
          </p:cNvPr>
          <p:cNvCxnSpPr/>
          <p:nvPr>
            <p:custDataLst>
              <p:tags r:id="rId63"/>
            </p:custDataLst>
          </p:nvPr>
        </p:nvCxnSpPr>
        <p:spPr bwMode="auto">
          <a:xfrm>
            <a:off x="7829550" y="2309813"/>
            <a:ext cx="0" cy="37893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9AB11DA1-1B13-EEA6-1287-27B72F52BEFF}"/>
              </a:ext>
            </a:extLst>
          </p:cNvPr>
          <p:cNvCxnSpPr/>
          <p:nvPr>
            <p:custDataLst>
              <p:tags r:id="rId64"/>
            </p:custDataLst>
          </p:nvPr>
        </p:nvCxnSpPr>
        <p:spPr bwMode="auto">
          <a:xfrm>
            <a:off x="2082800" y="2309813"/>
            <a:ext cx="0" cy="37893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Gerader Verbinder 62">
            <a:extLst>
              <a:ext uri="{FF2B5EF4-FFF2-40B4-BE49-F238E27FC236}">
                <a16:creationId xmlns:a16="http://schemas.microsoft.com/office/drawing/2014/main" id="{93AED7B5-F5DC-BD65-94EA-DA20A6489021}"/>
              </a:ext>
            </a:extLst>
          </p:cNvPr>
          <p:cNvCxnSpPr/>
          <p:nvPr>
            <p:custDataLst>
              <p:tags r:id="rId65"/>
            </p:custDataLst>
          </p:nvPr>
        </p:nvCxnSpPr>
        <p:spPr bwMode="auto">
          <a:xfrm>
            <a:off x="525463" y="2309813"/>
            <a:ext cx="0" cy="37893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Gerader Verbinder 72">
            <a:extLst>
              <a:ext uri="{FF2B5EF4-FFF2-40B4-BE49-F238E27FC236}">
                <a16:creationId xmlns:a16="http://schemas.microsoft.com/office/drawing/2014/main" id="{FA6C31F6-3BBE-6FF7-FF2E-6C10F0529AFC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>
            <a:off x="11663363" y="2309813"/>
            <a:ext cx="0" cy="37893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BFAC6F7E-6A41-D494-989C-4C02876D5AE6}"/>
              </a:ext>
            </a:extLst>
          </p:cNvPr>
          <p:cNvCxnSpPr/>
          <p:nvPr>
            <p:custDataLst>
              <p:tags r:id="rId67"/>
            </p:custDataLst>
          </p:nvPr>
        </p:nvCxnSpPr>
        <p:spPr bwMode="auto">
          <a:xfrm>
            <a:off x="10388600" y="2309813"/>
            <a:ext cx="0" cy="37893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0" name="Gerader Verbinder 419">
            <a:extLst>
              <a:ext uri="{FF2B5EF4-FFF2-40B4-BE49-F238E27FC236}">
                <a16:creationId xmlns:a16="http://schemas.microsoft.com/office/drawing/2014/main" id="{0605BA3F-DA3A-0ACE-0FBE-74BC9030ED38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>
            <a:off x="2725738" y="2309813"/>
            <a:ext cx="0" cy="37893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2" name="Gerader Verbinder 411">
            <a:extLst>
              <a:ext uri="{FF2B5EF4-FFF2-40B4-BE49-F238E27FC236}">
                <a16:creationId xmlns:a16="http://schemas.microsoft.com/office/drawing/2014/main" id="{9CB09F4F-DF3D-FA86-9D73-275026F3C75C}"/>
              </a:ext>
            </a:extLst>
          </p:cNvPr>
          <p:cNvCxnSpPr/>
          <p:nvPr>
            <p:custDataLst>
              <p:tags r:id="rId69"/>
            </p:custDataLst>
          </p:nvPr>
        </p:nvCxnSpPr>
        <p:spPr bwMode="auto">
          <a:xfrm>
            <a:off x="6543675" y="2309813"/>
            <a:ext cx="0" cy="37893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3" name="Gerader Verbinder 412">
            <a:extLst>
              <a:ext uri="{FF2B5EF4-FFF2-40B4-BE49-F238E27FC236}">
                <a16:creationId xmlns:a16="http://schemas.microsoft.com/office/drawing/2014/main" id="{D156BA51-EC0C-5F83-F343-EA0F4300A880}"/>
              </a:ext>
            </a:extLst>
          </p:cNvPr>
          <p:cNvCxnSpPr/>
          <p:nvPr>
            <p:custDataLst>
              <p:tags r:id="rId70"/>
            </p:custDataLst>
          </p:nvPr>
        </p:nvCxnSpPr>
        <p:spPr bwMode="auto">
          <a:xfrm>
            <a:off x="7186613" y="2309813"/>
            <a:ext cx="0" cy="37893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8" name="Gerader Verbinder 437">
            <a:extLst>
              <a:ext uri="{FF2B5EF4-FFF2-40B4-BE49-F238E27FC236}">
                <a16:creationId xmlns:a16="http://schemas.microsoft.com/office/drawing/2014/main" id="{2D00FFD3-DC9F-31E9-B6CB-5D70AA251CEC}"/>
              </a:ext>
            </a:extLst>
          </p:cNvPr>
          <p:cNvCxnSpPr/>
          <p:nvPr>
            <p:custDataLst>
              <p:tags r:id="rId71"/>
            </p:custDataLst>
          </p:nvPr>
        </p:nvCxnSpPr>
        <p:spPr bwMode="auto">
          <a:xfrm>
            <a:off x="8466138" y="2309813"/>
            <a:ext cx="0" cy="37893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9" name="Gerader Verbinder 438">
            <a:extLst>
              <a:ext uri="{FF2B5EF4-FFF2-40B4-BE49-F238E27FC236}">
                <a16:creationId xmlns:a16="http://schemas.microsoft.com/office/drawing/2014/main" id="{8AB0297B-E20F-139D-8F09-27B1E163B48E}"/>
              </a:ext>
            </a:extLst>
          </p:cNvPr>
          <p:cNvCxnSpPr/>
          <p:nvPr>
            <p:custDataLst>
              <p:tags r:id="rId72"/>
            </p:custDataLst>
          </p:nvPr>
        </p:nvCxnSpPr>
        <p:spPr bwMode="auto">
          <a:xfrm>
            <a:off x="9102725" y="2309813"/>
            <a:ext cx="0" cy="37893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0" name="Gerader Verbinder 439">
            <a:extLst>
              <a:ext uri="{FF2B5EF4-FFF2-40B4-BE49-F238E27FC236}">
                <a16:creationId xmlns:a16="http://schemas.microsoft.com/office/drawing/2014/main" id="{7332203C-1C73-E7D8-3D6B-EB89B7B2CC40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>
            <a:off x="9745663" y="2309813"/>
            <a:ext cx="0" cy="37893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8" name="Gerader Verbinder 407">
            <a:extLst>
              <a:ext uri="{FF2B5EF4-FFF2-40B4-BE49-F238E27FC236}">
                <a16:creationId xmlns:a16="http://schemas.microsoft.com/office/drawing/2014/main" id="{01A97E4D-C036-A103-75FD-1E7CF404A3DF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>
            <a:off x="3355975" y="2309813"/>
            <a:ext cx="0" cy="37893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9" name="Gerader Verbinder 408">
            <a:extLst>
              <a:ext uri="{FF2B5EF4-FFF2-40B4-BE49-F238E27FC236}">
                <a16:creationId xmlns:a16="http://schemas.microsoft.com/office/drawing/2014/main" id="{2BEA1F4D-B742-56F4-C746-FE5D370CF398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>
            <a:off x="3990975" y="2309813"/>
            <a:ext cx="0" cy="37893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0" name="Gerader Verbinder 409">
            <a:extLst>
              <a:ext uri="{FF2B5EF4-FFF2-40B4-BE49-F238E27FC236}">
                <a16:creationId xmlns:a16="http://schemas.microsoft.com/office/drawing/2014/main" id="{1D00E9BE-01D3-83D9-4DBB-6858A4708693}"/>
              </a:ext>
            </a:extLst>
          </p:cNvPr>
          <p:cNvCxnSpPr/>
          <p:nvPr>
            <p:custDataLst>
              <p:tags r:id="rId76"/>
            </p:custDataLst>
          </p:nvPr>
        </p:nvCxnSpPr>
        <p:spPr bwMode="auto">
          <a:xfrm>
            <a:off x="4633913" y="2309813"/>
            <a:ext cx="0" cy="37893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1" name="Gerader Verbinder 410">
            <a:extLst>
              <a:ext uri="{FF2B5EF4-FFF2-40B4-BE49-F238E27FC236}">
                <a16:creationId xmlns:a16="http://schemas.microsoft.com/office/drawing/2014/main" id="{97A5FFF2-4F2D-0D4E-CC96-9FF06B66ECDE}"/>
              </a:ext>
            </a:extLst>
          </p:cNvPr>
          <p:cNvCxnSpPr/>
          <p:nvPr>
            <p:custDataLst>
              <p:tags r:id="rId77"/>
            </p:custDataLst>
          </p:nvPr>
        </p:nvCxnSpPr>
        <p:spPr bwMode="auto">
          <a:xfrm>
            <a:off x="5907088" y="2309813"/>
            <a:ext cx="0" cy="37893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3" name="Gerader Verbinder 462">
            <a:extLst>
              <a:ext uri="{FF2B5EF4-FFF2-40B4-BE49-F238E27FC236}">
                <a16:creationId xmlns:a16="http://schemas.microsoft.com/office/drawing/2014/main" id="{B8B0C6AD-31A9-3BBB-D289-A265F8DD7C80}"/>
              </a:ext>
            </a:extLst>
          </p:cNvPr>
          <p:cNvCxnSpPr/>
          <p:nvPr>
            <p:custDataLst>
              <p:tags r:id="rId78"/>
            </p:custDataLst>
          </p:nvPr>
        </p:nvCxnSpPr>
        <p:spPr bwMode="auto">
          <a:xfrm>
            <a:off x="525463" y="3571875"/>
            <a:ext cx="111379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4" name="Gerader Verbinder 463">
            <a:extLst>
              <a:ext uri="{FF2B5EF4-FFF2-40B4-BE49-F238E27FC236}">
                <a16:creationId xmlns:a16="http://schemas.microsoft.com/office/drawing/2014/main" id="{9B9B5590-6F46-755C-7F33-EBDFA8CB4616}"/>
              </a:ext>
            </a:extLst>
          </p:cNvPr>
          <p:cNvCxnSpPr/>
          <p:nvPr>
            <p:custDataLst>
              <p:tags r:id="rId79"/>
            </p:custDataLst>
          </p:nvPr>
        </p:nvCxnSpPr>
        <p:spPr bwMode="auto">
          <a:xfrm>
            <a:off x="525463" y="5443538"/>
            <a:ext cx="111379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0833866E-BBFB-C567-D074-AD2295213967}"/>
              </a:ext>
            </a:extLst>
          </p:cNvPr>
          <p:cNvCxnSpPr/>
          <p:nvPr>
            <p:custDataLst>
              <p:tags r:id="rId80"/>
            </p:custDataLst>
          </p:nvPr>
        </p:nvCxnSpPr>
        <p:spPr bwMode="auto">
          <a:xfrm>
            <a:off x="525463" y="6099175"/>
            <a:ext cx="111379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9C115E8C-A894-24E9-1B0E-08936F154E45}"/>
              </a:ext>
            </a:extLst>
          </p:cNvPr>
          <p:cNvCxnSpPr/>
          <p:nvPr>
            <p:custDataLst>
              <p:tags r:id="rId81"/>
            </p:custDataLst>
          </p:nvPr>
        </p:nvCxnSpPr>
        <p:spPr bwMode="auto">
          <a:xfrm>
            <a:off x="525463" y="2309813"/>
            <a:ext cx="111379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23" name="Raute 522">
            <a:extLst>
              <a:ext uri="{FF2B5EF4-FFF2-40B4-BE49-F238E27FC236}">
                <a16:creationId xmlns:a16="http://schemas.microsoft.com/office/drawing/2014/main" id="{63AD7584-F948-A48B-C980-45C2EA648714}"/>
              </a:ext>
            </a:extLst>
          </p:cNvPr>
          <p:cNvSpPr/>
          <p:nvPr>
            <p:custDataLst>
              <p:tags r:id="rId82"/>
            </p:custDataLst>
          </p:nvPr>
        </p:nvSpPr>
        <p:spPr bwMode="gray">
          <a:xfrm>
            <a:off x="3927475" y="3332163"/>
            <a:ext cx="114300" cy="114300"/>
          </a:xfrm>
          <a:prstGeom prst="diamond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5" name="Raute 574">
            <a:extLst>
              <a:ext uri="{FF2B5EF4-FFF2-40B4-BE49-F238E27FC236}">
                <a16:creationId xmlns:a16="http://schemas.microsoft.com/office/drawing/2014/main" id="{391693CB-3A5A-49F9-99C1-E5923642742A}"/>
              </a:ext>
            </a:extLst>
          </p:cNvPr>
          <p:cNvSpPr/>
          <p:nvPr>
            <p:custDataLst>
              <p:tags r:id="rId83"/>
            </p:custDataLst>
          </p:nvPr>
        </p:nvSpPr>
        <p:spPr bwMode="gray">
          <a:xfrm>
            <a:off x="8694738" y="5859463"/>
            <a:ext cx="114300" cy="114300"/>
          </a:xfrm>
          <a:prstGeom prst="diamond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47" name="Raute 446">
            <a:extLst>
              <a:ext uri="{FF2B5EF4-FFF2-40B4-BE49-F238E27FC236}">
                <a16:creationId xmlns:a16="http://schemas.microsoft.com/office/drawing/2014/main" id="{FC892F6D-0097-BB63-0DE1-1C00718DAC73}"/>
              </a:ext>
            </a:extLst>
          </p:cNvPr>
          <p:cNvSpPr/>
          <p:nvPr>
            <p:custDataLst>
              <p:tags r:id="rId84"/>
            </p:custDataLst>
          </p:nvPr>
        </p:nvSpPr>
        <p:spPr bwMode="gray">
          <a:xfrm>
            <a:off x="2228850" y="2419350"/>
            <a:ext cx="114300" cy="114300"/>
          </a:xfrm>
          <a:prstGeom prst="diamond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2" name="Raute 521">
            <a:extLst>
              <a:ext uri="{FF2B5EF4-FFF2-40B4-BE49-F238E27FC236}">
                <a16:creationId xmlns:a16="http://schemas.microsoft.com/office/drawing/2014/main" id="{0B99DC1E-0109-7B81-60CA-037B33F2BEE5}"/>
              </a:ext>
            </a:extLst>
          </p:cNvPr>
          <p:cNvSpPr/>
          <p:nvPr>
            <p:custDataLst>
              <p:tags r:id="rId85"/>
            </p:custDataLst>
          </p:nvPr>
        </p:nvSpPr>
        <p:spPr bwMode="gray">
          <a:xfrm>
            <a:off x="3732213" y="3332163"/>
            <a:ext cx="114300" cy="114300"/>
          </a:xfrm>
          <a:prstGeom prst="diamond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7" name="Raute 566">
            <a:extLst>
              <a:ext uri="{FF2B5EF4-FFF2-40B4-BE49-F238E27FC236}">
                <a16:creationId xmlns:a16="http://schemas.microsoft.com/office/drawing/2014/main" id="{D1ABA8F8-8375-AD89-AE1D-74CDAEC9B06A}"/>
              </a:ext>
            </a:extLst>
          </p:cNvPr>
          <p:cNvSpPr/>
          <p:nvPr>
            <p:custDataLst>
              <p:tags r:id="rId86"/>
            </p:custDataLst>
          </p:nvPr>
        </p:nvSpPr>
        <p:spPr bwMode="gray">
          <a:xfrm>
            <a:off x="7408863" y="5554663"/>
            <a:ext cx="114300" cy="114300"/>
          </a:xfrm>
          <a:prstGeom prst="diamond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4" name="Raute 573">
            <a:extLst>
              <a:ext uri="{FF2B5EF4-FFF2-40B4-BE49-F238E27FC236}">
                <a16:creationId xmlns:a16="http://schemas.microsoft.com/office/drawing/2014/main" id="{99F600F2-DA4E-E4C0-AAE0-B7F3D34491FA}"/>
              </a:ext>
            </a:extLst>
          </p:cNvPr>
          <p:cNvSpPr/>
          <p:nvPr>
            <p:custDataLst>
              <p:tags r:id="rId87"/>
            </p:custDataLst>
          </p:nvPr>
        </p:nvSpPr>
        <p:spPr bwMode="gray">
          <a:xfrm>
            <a:off x="8289925" y="5859463"/>
            <a:ext cx="114300" cy="114300"/>
          </a:xfrm>
          <a:prstGeom prst="diamond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1" name="Raute 520">
            <a:extLst>
              <a:ext uri="{FF2B5EF4-FFF2-40B4-BE49-F238E27FC236}">
                <a16:creationId xmlns:a16="http://schemas.microsoft.com/office/drawing/2014/main" id="{E3FA99BB-DB18-8E36-3C01-80170423D37B}"/>
              </a:ext>
            </a:extLst>
          </p:cNvPr>
          <p:cNvSpPr/>
          <p:nvPr>
            <p:custDataLst>
              <p:tags r:id="rId88"/>
            </p:custDataLst>
          </p:nvPr>
        </p:nvSpPr>
        <p:spPr bwMode="gray">
          <a:xfrm>
            <a:off x="3535363" y="3332163"/>
            <a:ext cx="114300" cy="114300"/>
          </a:xfrm>
          <a:prstGeom prst="diamond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4" name="Raute 563">
            <a:extLst>
              <a:ext uri="{FF2B5EF4-FFF2-40B4-BE49-F238E27FC236}">
                <a16:creationId xmlns:a16="http://schemas.microsoft.com/office/drawing/2014/main" id="{3E5F95F4-1730-0CBA-33D7-373D460CC65B}"/>
              </a:ext>
            </a:extLst>
          </p:cNvPr>
          <p:cNvSpPr/>
          <p:nvPr>
            <p:custDataLst>
              <p:tags r:id="rId89"/>
            </p:custDataLst>
          </p:nvPr>
        </p:nvSpPr>
        <p:spPr bwMode="gray">
          <a:xfrm>
            <a:off x="7213600" y="5554663"/>
            <a:ext cx="114300" cy="114300"/>
          </a:xfrm>
          <a:prstGeom prst="diamond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16" name="Raute 515">
            <a:extLst>
              <a:ext uri="{FF2B5EF4-FFF2-40B4-BE49-F238E27FC236}">
                <a16:creationId xmlns:a16="http://schemas.microsoft.com/office/drawing/2014/main" id="{C3054B01-D763-6619-E9D9-8ECF8DDC1855}"/>
              </a:ext>
            </a:extLst>
          </p:cNvPr>
          <p:cNvSpPr/>
          <p:nvPr>
            <p:custDataLst>
              <p:tags r:id="rId90"/>
            </p:custDataLst>
          </p:nvPr>
        </p:nvSpPr>
        <p:spPr bwMode="gray">
          <a:xfrm>
            <a:off x="2767013" y="3028950"/>
            <a:ext cx="114300" cy="114300"/>
          </a:xfrm>
          <a:prstGeom prst="diamond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3" name="Raute 572">
            <a:extLst>
              <a:ext uri="{FF2B5EF4-FFF2-40B4-BE49-F238E27FC236}">
                <a16:creationId xmlns:a16="http://schemas.microsoft.com/office/drawing/2014/main" id="{B96BD2A7-DD96-2C15-44BD-3E0E805914EB}"/>
              </a:ext>
            </a:extLst>
          </p:cNvPr>
          <p:cNvSpPr/>
          <p:nvPr>
            <p:custDataLst>
              <p:tags r:id="rId91"/>
            </p:custDataLst>
          </p:nvPr>
        </p:nvSpPr>
        <p:spPr bwMode="gray">
          <a:xfrm>
            <a:off x="8094663" y="5859463"/>
            <a:ext cx="114300" cy="114300"/>
          </a:xfrm>
          <a:prstGeom prst="diamond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3" name="Raute 562">
            <a:extLst>
              <a:ext uri="{FF2B5EF4-FFF2-40B4-BE49-F238E27FC236}">
                <a16:creationId xmlns:a16="http://schemas.microsoft.com/office/drawing/2014/main" id="{4661F23F-AEA0-5868-EDA9-DC90605C8942}"/>
              </a:ext>
            </a:extLst>
          </p:cNvPr>
          <p:cNvSpPr/>
          <p:nvPr>
            <p:custDataLst>
              <p:tags r:id="rId92"/>
            </p:custDataLst>
          </p:nvPr>
        </p:nvSpPr>
        <p:spPr bwMode="gray">
          <a:xfrm>
            <a:off x="7016750" y="5554663"/>
            <a:ext cx="114300" cy="114300"/>
          </a:xfrm>
          <a:prstGeom prst="diamond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19" name="Raute 518">
            <a:extLst>
              <a:ext uri="{FF2B5EF4-FFF2-40B4-BE49-F238E27FC236}">
                <a16:creationId xmlns:a16="http://schemas.microsoft.com/office/drawing/2014/main" id="{C08A10D7-81C8-7070-A806-5607841E330A}"/>
              </a:ext>
            </a:extLst>
          </p:cNvPr>
          <p:cNvSpPr/>
          <p:nvPr>
            <p:custDataLst>
              <p:tags r:id="rId93"/>
            </p:custDataLst>
          </p:nvPr>
        </p:nvSpPr>
        <p:spPr bwMode="gray">
          <a:xfrm>
            <a:off x="3354388" y="3332163"/>
            <a:ext cx="114300" cy="114300"/>
          </a:xfrm>
          <a:prstGeom prst="diamond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2" name="Raute 571">
            <a:extLst>
              <a:ext uri="{FF2B5EF4-FFF2-40B4-BE49-F238E27FC236}">
                <a16:creationId xmlns:a16="http://schemas.microsoft.com/office/drawing/2014/main" id="{1A34315C-3362-9D6E-ACC3-E81553952E05}"/>
              </a:ext>
            </a:extLst>
          </p:cNvPr>
          <p:cNvSpPr/>
          <p:nvPr>
            <p:custDataLst>
              <p:tags r:id="rId94"/>
            </p:custDataLst>
          </p:nvPr>
        </p:nvSpPr>
        <p:spPr bwMode="gray">
          <a:xfrm>
            <a:off x="7996238" y="5859463"/>
            <a:ext cx="114300" cy="114300"/>
          </a:xfrm>
          <a:prstGeom prst="diamond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71" name="Raute 470">
            <a:extLst>
              <a:ext uri="{FF2B5EF4-FFF2-40B4-BE49-F238E27FC236}">
                <a16:creationId xmlns:a16="http://schemas.microsoft.com/office/drawing/2014/main" id="{3A5459FB-FEB1-AE28-332A-3A2DDD05E866}"/>
              </a:ext>
            </a:extLst>
          </p:cNvPr>
          <p:cNvSpPr/>
          <p:nvPr>
            <p:custDataLst>
              <p:tags r:id="rId95"/>
            </p:custDataLst>
          </p:nvPr>
        </p:nvSpPr>
        <p:spPr bwMode="gray">
          <a:xfrm>
            <a:off x="2598738" y="3028950"/>
            <a:ext cx="114300" cy="114300"/>
          </a:xfrm>
          <a:prstGeom prst="diamond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3" name="Raute 552">
            <a:extLst>
              <a:ext uri="{FF2B5EF4-FFF2-40B4-BE49-F238E27FC236}">
                <a16:creationId xmlns:a16="http://schemas.microsoft.com/office/drawing/2014/main" id="{C3C90AD8-A55D-CE83-D4B8-2AA0E34F1299}"/>
              </a:ext>
            </a:extLst>
          </p:cNvPr>
          <p:cNvSpPr/>
          <p:nvPr>
            <p:custDataLst>
              <p:tags r:id="rId96"/>
            </p:custDataLst>
          </p:nvPr>
        </p:nvSpPr>
        <p:spPr bwMode="gray">
          <a:xfrm>
            <a:off x="4319588" y="3683000"/>
            <a:ext cx="114300" cy="114300"/>
          </a:xfrm>
          <a:prstGeom prst="diamond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0" name="Raute 519">
            <a:extLst>
              <a:ext uri="{FF2B5EF4-FFF2-40B4-BE49-F238E27FC236}">
                <a16:creationId xmlns:a16="http://schemas.microsoft.com/office/drawing/2014/main" id="{524FA2D1-0116-2A9D-399E-F119CB53AB5E}"/>
              </a:ext>
            </a:extLst>
          </p:cNvPr>
          <p:cNvSpPr/>
          <p:nvPr>
            <p:custDataLst>
              <p:tags r:id="rId97"/>
            </p:custDataLst>
          </p:nvPr>
        </p:nvSpPr>
        <p:spPr bwMode="gray">
          <a:xfrm>
            <a:off x="3157538" y="3332163"/>
            <a:ext cx="114300" cy="114300"/>
          </a:xfrm>
          <a:prstGeom prst="diamond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5" name="Raute 564">
            <a:extLst>
              <a:ext uri="{FF2B5EF4-FFF2-40B4-BE49-F238E27FC236}">
                <a16:creationId xmlns:a16="http://schemas.microsoft.com/office/drawing/2014/main" id="{48803B4D-E60D-7644-B2B2-47403959413D}"/>
              </a:ext>
            </a:extLst>
          </p:cNvPr>
          <p:cNvSpPr/>
          <p:nvPr>
            <p:custDataLst>
              <p:tags r:id="rId98"/>
            </p:custDataLst>
          </p:nvPr>
        </p:nvSpPr>
        <p:spPr bwMode="gray">
          <a:xfrm>
            <a:off x="6080125" y="5554663"/>
            <a:ext cx="114300" cy="114300"/>
          </a:xfrm>
          <a:prstGeom prst="diamond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67" name="Raute 466">
            <a:extLst>
              <a:ext uri="{FF2B5EF4-FFF2-40B4-BE49-F238E27FC236}">
                <a16:creationId xmlns:a16="http://schemas.microsoft.com/office/drawing/2014/main" id="{7FC2D881-10CB-C045-8185-8E93599CE955}"/>
              </a:ext>
            </a:extLst>
          </p:cNvPr>
          <p:cNvSpPr/>
          <p:nvPr>
            <p:custDataLst>
              <p:tags r:id="rId99"/>
            </p:custDataLst>
          </p:nvPr>
        </p:nvSpPr>
        <p:spPr bwMode="gray">
          <a:xfrm>
            <a:off x="2403475" y="3028950"/>
            <a:ext cx="114300" cy="114300"/>
          </a:xfrm>
          <a:prstGeom prst="diamond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1" name="Raute 570">
            <a:extLst>
              <a:ext uri="{FF2B5EF4-FFF2-40B4-BE49-F238E27FC236}">
                <a16:creationId xmlns:a16="http://schemas.microsoft.com/office/drawing/2014/main" id="{71508D56-A124-C64D-FAB6-188850C61EC1}"/>
              </a:ext>
            </a:extLst>
          </p:cNvPr>
          <p:cNvSpPr/>
          <p:nvPr>
            <p:custDataLst>
              <p:tags r:id="rId100"/>
            </p:custDataLst>
          </p:nvPr>
        </p:nvSpPr>
        <p:spPr bwMode="gray">
          <a:xfrm>
            <a:off x="7800975" y="5859463"/>
            <a:ext cx="114300" cy="114300"/>
          </a:xfrm>
          <a:prstGeom prst="diamond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45" name="Raute 544">
            <a:extLst>
              <a:ext uri="{FF2B5EF4-FFF2-40B4-BE49-F238E27FC236}">
                <a16:creationId xmlns:a16="http://schemas.microsoft.com/office/drawing/2014/main" id="{0300C591-AE46-A7E1-743D-EBCBBD544F56}"/>
              </a:ext>
            </a:extLst>
          </p:cNvPr>
          <p:cNvSpPr/>
          <p:nvPr>
            <p:custDataLst>
              <p:tags r:id="rId101"/>
            </p:custDataLst>
          </p:nvPr>
        </p:nvSpPr>
        <p:spPr bwMode="gray">
          <a:xfrm>
            <a:off x="5297488" y="4900613"/>
            <a:ext cx="114300" cy="114300"/>
          </a:xfrm>
          <a:prstGeom prst="diamond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99" name="Raute 598">
            <a:extLst>
              <a:ext uri="{FF2B5EF4-FFF2-40B4-BE49-F238E27FC236}">
                <a16:creationId xmlns:a16="http://schemas.microsoft.com/office/drawing/2014/main" id="{C3BFA03D-85F9-C42E-A681-757B5D505994}"/>
              </a:ext>
            </a:extLst>
          </p:cNvPr>
          <p:cNvSpPr/>
          <p:nvPr>
            <p:custDataLst>
              <p:tags r:id="rId102"/>
            </p:custDataLst>
          </p:nvPr>
        </p:nvSpPr>
        <p:spPr bwMode="gray">
          <a:xfrm>
            <a:off x="4710113" y="3987800"/>
            <a:ext cx="114300" cy="114300"/>
          </a:xfrm>
          <a:prstGeom prst="diamond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18" name="Raute 517">
            <a:extLst>
              <a:ext uri="{FF2B5EF4-FFF2-40B4-BE49-F238E27FC236}">
                <a16:creationId xmlns:a16="http://schemas.microsoft.com/office/drawing/2014/main" id="{AE3512C0-0928-82BD-4BAF-24418A13B383}"/>
              </a:ext>
            </a:extLst>
          </p:cNvPr>
          <p:cNvSpPr/>
          <p:nvPr>
            <p:custDataLst>
              <p:tags r:id="rId103"/>
            </p:custDataLst>
          </p:nvPr>
        </p:nvSpPr>
        <p:spPr bwMode="gray">
          <a:xfrm>
            <a:off x="2962275" y="3332163"/>
            <a:ext cx="114300" cy="114300"/>
          </a:xfrm>
          <a:prstGeom prst="diamond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0" name="Raute 559">
            <a:extLst>
              <a:ext uri="{FF2B5EF4-FFF2-40B4-BE49-F238E27FC236}">
                <a16:creationId xmlns:a16="http://schemas.microsoft.com/office/drawing/2014/main" id="{3906241E-4C5D-62F8-DD33-490336360907}"/>
              </a:ext>
            </a:extLst>
          </p:cNvPr>
          <p:cNvSpPr/>
          <p:nvPr>
            <p:custDataLst>
              <p:tags r:id="rId104"/>
            </p:custDataLst>
          </p:nvPr>
        </p:nvSpPr>
        <p:spPr bwMode="gray">
          <a:xfrm>
            <a:off x="5297488" y="4595813"/>
            <a:ext cx="114300" cy="114300"/>
          </a:xfrm>
          <a:prstGeom prst="diamond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5" name="Raute 524">
            <a:extLst>
              <a:ext uri="{FF2B5EF4-FFF2-40B4-BE49-F238E27FC236}">
                <a16:creationId xmlns:a16="http://schemas.microsoft.com/office/drawing/2014/main" id="{07E286D5-3D54-8A25-5A99-737B733D692B}"/>
              </a:ext>
            </a:extLst>
          </p:cNvPr>
          <p:cNvSpPr/>
          <p:nvPr>
            <p:custDataLst>
              <p:tags r:id="rId105"/>
            </p:custDataLst>
          </p:nvPr>
        </p:nvSpPr>
        <p:spPr bwMode="gray">
          <a:xfrm>
            <a:off x="4122738" y="4900613"/>
            <a:ext cx="114300" cy="114300"/>
          </a:xfrm>
          <a:prstGeom prst="diamond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6" name="Raute 565">
            <a:extLst>
              <a:ext uri="{FF2B5EF4-FFF2-40B4-BE49-F238E27FC236}">
                <a16:creationId xmlns:a16="http://schemas.microsoft.com/office/drawing/2014/main" id="{BEC3A980-C01B-E7EF-48B6-20C227681916}"/>
              </a:ext>
            </a:extLst>
          </p:cNvPr>
          <p:cNvSpPr/>
          <p:nvPr>
            <p:custDataLst>
              <p:tags r:id="rId106"/>
            </p:custDataLst>
          </p:nvPr>
        </p:nvSpPr>
        <p:spPr bwMode="gray">
          <a:xfrm>
            <a:off x="5884863" y="5554663"/>
            <a:ext cx="114300" cy="114300"/>
          </a:xfrm>
          <a:prstGeom prst="diamond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1" name="Raute 560">
            <a:extLst>
              <a:ext uri="{FF2B5EF4-FFF2-40B4-BE49-F238E27FC236}">
                <a16:creationId xmlns:a16="http://schemas.microsoft.com/office/drawing/2014/main" id="{AC3A0F1D-8B0D-8DA0-27BE-9322F03B7716}"/>
              </a:ext>
            </a:extLst>
          </p:cNvPr>
          <p:cNvSpPr/>
          <p:nvPr>
            <p:custDataLst>
              <p:tags r:id="rId107"/>
            </p:custDataLst>
          </p:nvPr>
        </p:nvSpPr>
        <p:spPr bwMode="gray">
          <a:xfrm>
            <a:off x="5492750" y="5203825"/>
            <a:ext cx="114300" cy="114300"/>
          </a:xfrm>
          <a:prstGeom prst="diamond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70" name="Raute 569">
            <a:extLst>
              <a:ext uri="{FF2B5EF4-FFF2-40B4-BE49-F238E27FC236}">
                <a16:creationId xmlns:a16="http://schemas.microsoft.com/office/drawing/2014/main" id="{B840A191-CAD2-80D0-E657-D2FF08AA5857}"/>
              </a:ext>
            </a:extLst>
          </p:cNvPr>
          <p:cNvSpPr/>
          <p:nvPr>
            <p:custDataLst>
              <p:tags r:id="rId108"/>
            </p:custDataLst>
          </p:nvPr>
        </p:nvSpPr>
        <p:spPr bwMode="gray">
          <a:xfrm>
            <a:off x="7702550" y="5859463"/>
            <a:ext cx="114300" cy="114300"/>
          </a:xfrm>
          <a:prstGeom prst="diamond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2" name="Raute 551">
            <a:extLst>
              <a:ext uri="{FF2B5EF4-FFF2-40B4-BE49-F238E27FC236}">
                <a16:creationId xmlns:a16="http://schemas.microsoft.com/office/drawing/2014/main" id="{4CF29F53-5B68-9E33-03DF-2884354C293E}"/>
              </a:ext>
            </a:extLst>
          </p:cNvPr>
          <p:cNvSpPr/>
          <p:nvPr>
            <p:custDataLst>
              <p:tags r:id="rId109"/>
            </p:custDataLst>
          </p:nvPr>
        </p:nvSpPr>
        <p:spPr bwMode="gray">
          <a:xfrm>
            <a:off x="4319588" y="3683000"/>
            <a:ext cx="114300" cy="114300"/>
          </a:xfrm>
          <a:prstGeom prst="diamond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6" name="Raute 555">
            <a:extLst>
              <a:ext uri="{FF2B5EF4-FFF2-40B4-BE49-F238E27FC236}">
                <a16:creationId xmlns:a16="http://schemas.microsoft.com/office/drawing/2014/main" id="{E8BA886A-AFA8-F57F-E44D-1A5C06A251F7}"/>
              </a:ext>
            </a:extLst>
          </p:cNvPr>
          <p:cNvSpPr/>
          <p:nvPr>
            <p:custDataLst>
              <p:tags r:id="rId110"/>
            </p:custDataLst>
          </p:nvPr>
        </p:nvSpPr>
        <p:spPr bwMode="gray">
          <a:xfrm>
            <a:off x="4514850" y="3987800"/>
            <a:ext cx="114300" cy="114300"/>
          </a:xfrm>
          <a:prstGeom prst="diamond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8" name="Raute 557">
            <a:extLst>
              <a:ext uri="{FF2B5EF4-FFF2-40B4-BE49-F238E27FC236}">
                <a16:creationId xmlns:a16="http://schemas.microsoft.com/office/drawing/2014/main" id="{741A9C9E-21D0-349F-19F3-B4AC00C5F33B}"/>
              </a:ext>
            </a:extLst>
          </p:cNvPr>
          <p:cNvSpPr/>
          <p:nvPr>
            <p:custDataLst>
              <p:tags r:id="rId111"/>
            </p:custDataLst>
          </p:nvPr>
        </p:nvSpPr>
        <p:spPr bwMode="gray">
          <a:xfrm>
            <a:off x="4905375" y="4291013"/>
            <a:ext cx="114300" cy="114300"/>
          </a:xfrm>
          <a:prstGeom prst="diamond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466" name="Raute 465">
            <a:extLst>
              <a:ext uri="{FF2B5EF4-FFF2-40B4-BE49-F238E27FC236}">
                <a16:creationId xmlns:a16="http://schemas.microsoft.com/office/drawing/2014/main" id="{FE9F52B4-AA9A-7497-4E62-56D5F33230A5}"/>
              </a:ext>
            </a:extLst>
          </p:cNvPr>
          <p:cNvSpPr/>
          <p:nvPr>
            <p:custDataLst>
              <p:tags r:id="rId112"/>
            </p:custDataLst>
          </p:nvPr>
        </p:nvSpPr>
        <p:spPr bwMode="gray">
          <a:xfrm>
            <a:off x="2235200" y="3028950"/>
            <a:ext cx="114300" cy="114300"/>
          </a:xfrm>
          <a:prstGeom prst="diamond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2" name="Raute 561">
            <a:extLst>
              <a:ext uri="{FF2B5EF4-FFF2-40B4-BE49-F238E27FC236}">
                <a16:creationId xmlns:a16="http://schemas.microsoft.com/office/drawing/2014/main" id="{D51542D6-6714-12E9-3A0D-61AE4059D925}"/>
              </a:ext>
            </a:extLst>
          </p:cNvPr>
          <p:cNvSpPr/>
          <p:nvPr>
            <p:custDataLst>
              <p:tags r:id="rId113"/>
            </p:custDataLst>
          </p:nvPr>
        </p:nvSpPr>
        <p:spPr bwMode="gray">
          <a:xfrm>
            <a:off x="5445125" y="5203825"/>
            <a:ext cx="114300" cy="114300"/>
          </a:xfrm>
          <a:prstGeom prst="diamond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9" name="Raute 568">
            <a:extLst>
              <a:ext uri="{FF2B5EF4-FFF2-40B4-BE49-F238E27FC236}">
                <a16:creationId xmlns:a16="http://schemas.microsoft.com/office/drawing/2014/main" id="{CBFD5714-FCCF-6E44-3399-7DC439E5040D}"/>
              </a:ext>
            </a:extLst>
          </p:cNvPr>
          <p:cNvSpPr/>
          <p:nvPr>
            <p:custDataLst>
              <p:tags r:id="rId114"/>
            </p:custDataLst>
          </p:nvPr>
        </p:nvSpPr>
        <p:spPr bwMode="gray">
          <a:xfrm>
            <a:off x="7604125" y="5859463"/>
            <a:ext cx="114300" cy="114300"/>
          </a:xfrm>
          <a:prstGeom prst="diamond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24" name="Raute 523">
            <a:extLst>
              <a:ext uri="{FF2B5EF4-FFF2-40B4-BE49-F238E27FC236}">
                <a16:creationId xmlns:a16="http://schemas.microsoft.com/office/drawing/2014/main" id="{5CC7FC29-9826-7857-7354-067FE3DD7884}"/>
              </a:ext>
            </a:extLst>
          </p:cNvPr>
          <p:cNvSpPr/>
          <p:nvPr>
            <p:custDataLst>
              <p:tags r:id="rId115"/>
            </p:custDataLst>
          </p:nvPr>
        </p:nvSpPr>
        <p:spPr bwMode="gray">
          <a:xfrm>
            <a:off x="3927475" y="4900613"/>
            <a:ext cx="114300" cy="114300"/>
          </a:xfrm>
          <a:prstGeom prst="diamond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9" name="Raute 558">
            <a:extLst>
              <a:ext uri="{FF2B5EF4-FFF2-40B4-BE49-F238E27FC236}">
                <a16:creationId xmlns:a16="http://schemas.microsoft.com/office/drawing/2014/main" id="{D988484A-23C0-182E-B95F-4ECB4627DDFD}"/>
              </a:ext>
            </a:extLst>
          </p:cNvPr>
          <p:cNvSpPr/>
          <p:nvPr>
            <p:custDataLst>
              <p:tags r:id="rId116"/>
            </p:custDataLst>
          </p:nvPr>
        </p:nvSpPr>
        <p:spPr bwMode="gray">
          <a:xfrm>
            <a:off x="5102225" y="4595813"/>
            <a:ext cx="114300" cy="114300"/>
          </a:xfrm>
          <a:prstGeom prst="diamond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5" name="Raute 554">
            <a:extLst>
              <a:ext uri="{FF2B5EF4-FFF2-40B4-BE49-F238E27FC236}">
                <a16:creationId xmlns:a16="http://schemas.microsoft.com/office/drawing/2014/main" id="{F8AB6DDA-7BFE-FEB2-6868-1EC43F0AF848}"/>
              </a:ext>
            </a:extLst>
          </p:cNvPr>
          <p:cNvSpPr/>
          <p:nvPr>
            <p:custDataLst>
              <p:tags r:id="rId117"/>
            </p:custDataLst>
          </p:nvPr>
        </p:nvSpPr>
        <p:spPr bwMode="gray">
          <a:xfrm>
            <a:off x="4500563" y="3987800"/>
            <a:ext cx="114300" cy="114300"/>
          </a:xfrm>
          <a:prstGeom prst="diamond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7" name="Raute 556">
            <a:extLst>
              <a:ext uri="{FF2B5EF4-FFF2-40B4-BE49-F238E27FC236}">
                <a16:creationId xmlns:a16="http://schemas.microsoft.com/office/drawing/2014/main" id="{03AB50DC-4C54-FBF2-E662-C2872D4BC290}"/>
              </a:ext>
            </a:extLst>
          </p:cNvPr>
          <p:cNvSpPr/>
          <p:nvPr>
            <p:custDataLst>
              <p:tags r:id="rId118"/>
            </p:custDataLst>
          </p:nvPr>
        </p:nvSpPr>
        <p:spPr bwMode="gray">
          <a:xfrm>
            <a:off x="4710113" y="4291013"/>
            <a:ext cx="114300" cy="114300"/>
          </a:xfrm>
          <a:prstGeom prst="diamond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17" name="Raute 516">
            <a:extLst>
              <a:ext uri="{FF2B5EF4-FFF2-40B4-BE49-F238E27FC236}">
                <a16:creationId xmlns:a16="http://schemas.microsoft.com/office/drawing/2014/main" id="{29F3CB55-A2EB-8B30-A253-DA274D5C9F0D}"/>
              </a:ext>
            </a:extLst>
          </p:cNvPr>
          <p:cNvSpPr/>
          <p:nvPr>
            <p:custDataLst>
              <p:tags r:id="rId119"/>
            </p:custDataLst>
          </p:nvPr>
        </p:nvSpPr>
        <p:spPr bwMode="gray">
          <a:xfrm>
            <a:off x="2767013" y="3332163"/>
            <a:ext cx="114300" cy="114300"/>
          </a:xfrm>
          <a:prstGeom prst="diamond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51" name="Raute 550">
            <a:extLst>
              <a:ext uri="{FF2B5EF4-FFF2-40B4-BE49-F238E27FC236}">
                <a16:creationId xmlns:a16="http://schemas.microsoft.com/office/drawing/2014/main" id="{66C787FD-97A7-6FA2-CCB8-FEC9733380AC}"/>
              </a:ext>
            </a:extLst>
          </p:cNvPr>
          <p:cNvSpPr/>
          <p:nvPr>
            <p:custDataLst>
              <p:tags r:id="rId120"/>
            </p:custDataLst>
          </p:nvPr>
        </p:nvSpPr>
        <p:spPr bwMode="gray">
          <a:xfrm>
            <a:off x="4122738" y="3683000"/>
            <a:ext cx="114300" cy="114300"/>
          </a:xfrm>
          <a:prstGeom prst="diamond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568" name="Raute 567">
            <a:extLst>
              <a:ext uri="{FF2B5EF4-FFF2-40B4-BE49-F238E27FC236}">
                <a16:creationId xmlns:a16="http://schemas.microsoft.com/office/drawing/2014/main" id="{85E78329-1C6D-29F3-FB49-56BE92B3A429}"/>
              </a:ext>
            </a:extLst>
          </p:cNvPr>
          <p:cNvSpPr/>
          <p:nvPr>
            <p:custDataLst>
              <p:tags r:id="rId121"/>
            </p:custDataLst>
          </p:nvPr>
        </p:nvSpPr>
        <p:spPr bwMode="gray">
          <a:xfrm>
            <a:off x="5689600" y="5554663"/>
            <a:ext cx="114300" cy="114300"/>
          </a:xfrm>
          <a:prstGeom prst="diamond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400" dirty="0" err="1"/>
          </a:p>
        </p:txBody>
      </p:sp>
      <p:sp>
        <p:nvSpPr>
          <p:cNvPr id="71" name="text">
            <a:extLst>
              <a:ext uri="{FF2B5EF4-FFF2-40B4-BE49-F238E27FC236}">
                <a16:creationId xmlns:a16="http://schemas.microsoft.com/office/drawing/2014/main" id="{628AC2F7-A556-285E-AD83-762F9C23B11D}"/>
              </a:ext>
            </a:extLst>
          </p:cNvPr>
          <p:cNvSpPr>
            <a:spLocks noGrp="1"/>
          </p:cNvSpPr>
          <p:nvPr>
            <p:custDataLst>
              <p:tags r:id="rId122"/>
            </p:custDataLst>
          </p:nvPr>
        </p:nvSpPr>
        <p:spPr bwMode="auto">
          <a:xfrm>
            <a:off x="10460038" y="2079625"/>
            <a:ext cx="8874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BCA7072-2ED5-4C4C-B531-C859FFC5020F}" type="datetime'R''''''''esp''o''''n''s''i''''''b''''''''l''''''e'''''">
              <a:rPr lang="en-US" altLang="en-US" b="1" smtClean="0">
                <a:effectLst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Responsible</a:t>
            </a:fld>
            <a:endParaRPr lang="en-US" b="1" dirty="0"/>
          </a:p>
        </p:txBody>
      </p:sp>
      <p:sp>
        <p:nvSpPr>
          <p:cNvPr id="69" name="text">
            <a:extLst>
              <a:ext uri="{FF2B5EF4-FFF2-40B4-BE49-F238E27FC236}">
                <a16:creationId xmlns:a16="http://schemas.microsoft.com/office/drawing/2014/main" id="{4E0FB3B7-B74E-EF58-D2F2-9D11A2DD150B}"/>
              </a:ext>
            </a:extLst>
          </p:cNvPr>
          <p:cNvSpPr>
            <a:spLocks noGrp="1"/>
          </p:cNvSpPr>
          <p:nvPr>
            <p:custDataLst>
              <p:tags r:id="rId123"/>
            </p:custDataLst>
          </p:nvPr>
        </p:nvSpPr>
        <p:spPr bwMode="auto">
          <a:xfrm>
            <a:off x="596900" y="3641725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Type 2.123 S2</a:t>
            </a:r>
            <a:endParaRPr lang="en-US" dirty="0"/>
          </a:p>
        </p:txBody>
      </p:sp>
      <p:sp>
        <p:nvSpPr>
          <p:cNvPr id="92" name="text">
            <a:extLst>
              <a:ext uri="{FF2B5EF4-FFF2-40B4-BE49-F238E27FC236}">
                <a16:creationId xmlns:a16="http://schemas.microsoft.com/office/drawing/2014/main" id="{2498EAF9-ABB6-8B94-9B8D-06A8A3F15DFB}"/>
              </a:ext>
            </a:extLst>
          </p:cNvPr>
          <p:cNvSpPr>
            <a:spLocks noGrp="1"/>
          </p:cNvSpPr>
          <p:nvPr>
            <p:custDataLst>
              <p:tags r:id="rId124"/>
            </p:custDataLst>
          </p:nvPr>
        </p:nvSpPr>
        <p:spPr bwMode="auto">
          <a:xfrm>
            <a:off x="10460038" y="3641725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  <a:endParaRPr lang="en-US" dirty="0"/>
          </a:p>
        </p:txBody>
      </p:sp>
      <p:sp>
        <p:nvSpPr>
          <p:cNvPr id="86" name="text">
            <a:extLst>
              <a:ext uri="{FF2B5EF4-FFF2-40B4-BE49-F238E27FC236}">
                <a16:creationId xmlns:a16="http://schemas.microsoft.com/office/drawing/2014/main" id="{A24C7F73-C2C5-F39A-43FE-01E75B9427B9}"/>
              </a:ext>
            </a:extLst>
          </p:cNvPr>
          <p:cNvSpPr>
            <a:spLocks noGrp="1"/>
          </p:cNvSpPr>
          <p:nvPr>
            <p:custDataLst>
              <p:tags r:id="rId125"/>
            </p:custDataLst>
          </p:nvPr>
        </p:nvSpPr>
        <p:spPr bwMode="auto">
          <a:xfrm>
            <a:off x="596900" y="5162550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/>
              <a:t>Type </a:t>
            </a:r>
            <a:r>
              <a:rPr lang="en-US" altLang="en-US" dirty="0"/>
              <a:t>2.123 S5</a:t>
            </a:r>
            <a:endParaRPr lang="en-US" dirty="0"/>
          </a:p>
        </p:txBody>
      </p:sp>
      <p:sp>
        <p:nvSpPr>
          <p:cNvPr id="82" name="text">
            <a:extLst>
              <a:ext uri="{FF2B5EF4-FFF2-40B4-BE49-F238E27FC236}">
                <a16:creationId xmlns:a16="http://schemas.microsoft.com/office/drawing/2014/main" id="{BDC1FF6A-30F6-DE8B-AAF3-4B00153CE5D2}"/>
              </a:ext>
            </a:extLst>
          </p:cNvPr>
          <p:cNvSpPr>
            <a:spLocks noGrp="1"/>
          </p:cNvSpPr>
          <p:nvPr>
            <p:custDataLst>
              <p:tags r:id="rId126"/>
            </p:custDataLst>
          </p:nvPr>
        </p:nvSpPr>
        <p:spPr bwMode="auto">
          <a:xfrm>
            <a:off x="10460038" y="4859338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Straight</a:t>
            </a:r>
          </a:p>
        </p:txBody>
      </p:sp>
      <p:sp>
        <p:nvSpPr>
          <p:cNvPr id="67" name="text">
            <a:extLst>
              <a:ext uri="{FF2B5EF4-FFF2-40B4-BE49-F238E27FC236}">
                <a16:creationId xmlns:a16="http://schemas.microsoft.com/office/drawing/2014/main" id="{8EB380BC-FE1D-A677-5A8B-18BD87780A26}"/>
              </a:ext>
            </a:extLst>
          </p:cNvPr>
          <p:cNvSpPr>
            <a:spLocks noGrp="1"/>
          </p:cNvSpPr>
          <p:nvPr>
            <p:custDataLst>
              <p:tags r:id="rId127"/>
            </p:custDataLst>
          </p:nvPr>
        </p:nvSpPr>
        <p:spPr bwMode="auto">
          <a:xfrm>
            <a:off x="596900" y="4859338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Type 2.123 S1</a:t>
            </a:r>
            <a:endParaRPr lang="en-US" dirty="0"/>
          </a:p>
        </p:txBody>
      </p:sp>
      <p:sp>
        <p:nvSpPr>
          <p:cNvPr id="8" name="text">
            <a:extLst>
              <a:ext uri="{FF2B5EF4-FFF2-40B4-BE49-F238E27FC236}">
                <a16:creationId xmlns:a16="http://schemas.microsoft.com/office/drawing/2014/main" id="{A10D6D05-7755-E9B4-9D7C-90DA0B078015}"/>
              </a:ext>
            </a:extLst>
          </p:cNvPr>
          <p:cNvSpPr>
            <a:spLocks noGrp="1"/>
          </p:cNvSpPr>
          <p:nvPr>
            <p:custDataLst>
              <p:tags r:id="rId128"/>
            </p:custDataLst>
          </p:nvPr>
        </p:nvSpPr>
        <p:spPr bwMode="auto">
          <a:xfrm>
            <a:off x="596900" y="2682875"/>
            <a:ext cx="11731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effectLst/>
              </a:rPr>
              <a:t>Type 1.7B B1-B6</a:t>
            </a:r>
            <a:endParaRPr lang="en-US" dirty="0"/>
          </a:p>
        </p:txBody>
      </p:sp>
      <p:sp>
        <p:nvSpPr>
          <p:cNvPr id="96" name="text">
            <a:extLst>
              <a:ext uri="{FF2B5EF4-FFF2-40B4-BE49-F238E27FC236}">
                <a16:creationId xmlns:a16="http://schemas.microsoft.com/office/drawing/2014/main" id="{3FF58572-EBB6-6770-82FC-EE992415ACF4}"/>
              </a:ext>
            </a:extLst>
          </p:cNvPr>
          <p:cNvSpPr>
            <a:spLocks noGrp="1"/>
          </p:cNvSpPr>
          <p:nvPr>
            <p:custDataLst>
              <p:tags r:id="rId129"/>
            </p:custDataLst>
          </p:nvPr>
        </p:nvSpPr>
        <p:spPr bwMode="auto">
          <a:xfrm>
            <a:off x="10460038" y="4554538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  <a:endParaRPr lang="en-US" dirty="0"/>
          </a:p>
        </p:txBody>
      </p:sp>
      <p:sp>
        <p:nvSpPr>
          <p:cNvPr id="13" name="text">
            <a:extLst>
              <a:ext uri="{FF2B5EF4-FFF2-40B4-BE49-F238E27FC236}">
                <a16:creationId xmlns:a16="http://schemas.microsoft.com/office/drawing/2014/main" id="{2A3DC2BE-4FFC-C714-2C6C-E67576CD1D8C}"/>
              </a:ext>
            </a:extLst>
          </p:cNvPr>
          <p:cNvSpPr>
            <a:spLocks noGrp="1"/>
          </p:cNvSpPr>
          <p:nvPr>
            <p:custDataLst>
              <p:tags r:id="rId130"/>
            </p:custDataLst>
          </p:nvPr>
        </p:nvSpPr>
        <p:spPr bwMode="auto">
          <a:xfrm>
            <a:off x="596900" y="4554538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Type 2.123 S6</a:t>
            </a:r>
            <a:endParaRPr lang="en-US" dirty="0"/>
          </a:p>
        </p:txBody>
      </p:sp>
      <p:sp>
        <p:nvSpPr>
          <p:cNvPr id="94" name="text">
            <a:extLst>
              <a:ext uri="{FF2B5EF4-FFF2-40B4-BE49-F238E27FC236}">
                <a16:creationId xmlns:a16="http://schemas.microsoft.com/office/drawing/2014/main" id="{0DBD6EEC-6422-0AD0-8ED6-E29A6D2CABD3}"/>
              </a:ext>
            </a:extLst>
          </p:cNvPr>
          <p:cNvSpPr>
            <a:spLocks noGrp="1"/>
          </p:cNvSpPr>
          <p:nvPr>
            <p:custDataLst>
              <p:tags r:id="rId131"/>
            </p:custDataLst>
          </p:nvPr>
        </p:nvSpPr>
        <p:spPr bwMode="auto">
          <a:xfrm>
            <a:off x="10460038" y="4249738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  <a:endParaRPr lang="en-US" dirty="0"/>
          </a:p>
        </p:txBody>
      </p:sp>
      <p:sp>
        <p:nvSpPr>
          <p:cNvPr id="12" name="text">
            <a:extLst>
              <a:ext uri="{FF2B5EF4-FFF2-40B4-BE49-F238E27FC236}">
                <a16:creationId xmlns:a16="http://schemas.microsoft.com/office/drawing/2014/main" id="{97B68B5B-18E2-1451-3630-662694935321}"/>
              </a:ext>
            </a:extLst>
          </p:cNvPr>
          <p:cNvSpPr>
            <a:spLocks noGrp="1"/>
          </p:cNvSpPr>
          <p:nvPr>
            <p:custDataLst>
              <p:tags r:id="rId132"/>
            </p:custDataLst>
          </p:nvPr>
        </p:nvSpPr>
        <p:spPr bwMode="auto">
          <a:xfrm>
            <a:off x="596900" y="4249738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/>
              <a:t>Type </a:t>
            </a:r>
            <a:r>
              <a:rPr lang="en-US" altLang="en-US" dirty="0"/>
              <a:t>2.123 S4</a:t>
            </a:r>
            <a:endParaRPr lang="en-US" dirty="0"/>
          </a:p>
        </p:txBody>
      </p:sp>
      <p:sp>
        <p:nvSpPr>
          <p:cNvPr id="78" name="text">
            <a:extLst>
              <a:ext uri="{FF2B5EF4-FFF2-40B4-BE49-F238E27FC236}">
                <a16:creationId xmlns:a16="http://schemas.microsoft.com/office/drawing/2014/main" id="{98D131B3-BA62-3BC1-DB3B-42934BEB454B}"/>
              </a:ext>
            </a:extLst>
          </p:cNvPr>
          <p:cNvSpPr>
            <a:spLocks noGrp="1"/>
          </p:cNvSpPr>
          <p:nvPr>
            <p:custDataLst>
              <p:tags r:id="rId133"/>
            </p:custDataLst>
          </p:nvPr>
        </p:nvSpPr>
        <p:spPr bwMode="auto">
          <a:xfrm>
            <a:off x="10460038" y="2987675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Curve</a:t>
            </a:r>
            <a:endParaRPr lang="en-US" dirty="0"/>
          </a:p>
        </p:txBody>
      </p:sp>
      <p:sp>
        <p:nvSpPr>
          <p:cNvPr id="100" name="text">
            <a:extLst>
              <a:ext uri="{FF2B5EF4-FFF2-40B4-BE49-F238E27FC236}">
                <a16:creationId xmlns:a16="http://schemas.microsoft.com/office/drawing/2014/main" id="{436B19A7-EF08-93DD-3421-692B81273522}"/>
              </a:ext>
            </a:extLst>
          </p:cNvPr>
          <p:cNvSpPr>
            <a:spLocks noGrp="1"/>
          </p:cNvSpPr>
          <p:nvPr>
            <p:custDataLst>
              <p:tags r:id="rId134"/>
            </p:custDataLst>
          </p:nvPr>
        </p:nvSpPr>
        <p:spPr bwMode="auto">
          <a:xfrm>
            <a:off x="10460038" y="5162550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</a:p>
        </p:txBody>
      </p:sp>
      <p:sp>
        <p:nvSpPr>
          <p:cNvPr id="102" name="text">
            <a:extLst>
              <a:ext uri="{FF2B5EF4-FFF2-40B4-BE49-F238E27FC236}">
                <a16:creationId xmlns:a16="http://schemas.microsoft.com/office/drawing/2014/main" id="{ACFC02D7-13F1-4AB8-EABE-5CDD9E67893A}"/>
              </a:ext>
            </a:extLst>
          </p:cNvPr>
          <p:cNvSpPr>
            <a:spLocks noGrp="1"/>
          </p:cNvSpPr>
          <p:nvPr>
            <p:custDataLst>
              <p:tags r:id="rId135"/>
            </p:custDataLst>
          </p:nvPr>
        </p:nvSpPr>
        <p:spPr bwMode="auto">
          <a:xfrm>
            <a:off x="10460038" y="5513388"/>
            <a:ext cx="11318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 / Curve</a:t>
            </a:r>
          </a:p>
        </p:txBody>
      </p:sp>
      <p:sp>
        <p:nvSpPr>
          <p:cNvPr id="98" name="text">
            <a:extLst>
              <a:ext uri="{FF2B5EF4-FFF2-40B4-BE49-F238E27FC236}">
                <a16:creationId xmlns:a16="http://schemas.microsoft.com/office/drawing/2014/main" id="{B728691A-AE14-61E9-C21E-6FBEC881AE0B}"/>
              </a:ext>
            </a:extLst>
          </p:cNvPr>
          <p:cNvSpPr>
            <a:spLocks noGrp="1"/>
          </p:cNvSpPr>
          <p:nvPr>
            <p:custDataLst>
              <p:tags r:id="rId136"/>
            </p:custDataLst>
          </p:nvPr>
        </p:nvSpPr>
        <p:spPr bwMode="auto">
          <a:xfrm>
            <a:off x="10460038" y="3946525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</a:t>
            </a:r>
          </a:p>
        </p:txBody>
      </p:sp>
      <p:sp>
        <p:nvSpPr>
          <p:cNvPr id="84" name="text">
            <a:extLst>
              <a:ext uri="{FF2B5EF4-FFF2-40B4-BE49-F238E27FC236}">
                <a16:creationId xmlns:a16="http://schemas.microsoft.com/office/drawing/2014/main" id="{2678BB5D-BA23-EBF0-F942-BA7F7EA95144}"/>
              </a:ext>
            </a:extLst>
          </p:cNvPr>
          <p:cNvSpPr>
            <a:spLocks noGrp="1"/>
          </p:cNvSpPr>
          <p:nvPr>
            <p:custDataLst>
              <p:tags r:id="rId137"/>
            </p:custDataLst>
          </p:nvPr>
        </p:nvSpPr>
        <p:spPr bwMode="auto">
          <a:xfrm>
            <a:off x="596900" y="3946525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Type 2.123 S3</a:t>
            </a:r>
            <a:endParaRPr lang="en-US" dirty="0"/>
          </a:p>
        </p:txBody>
      </p:sp>
      <p:sp>
        <p:nvSpPr>
          <p:cNvPr id="90" name="text">
            <a:extLst>
              <a:ext uri="{FF2B5EF4-FFF2-40B4-BE49-F238E27FC236}">
                <a16:creationId xmlns:a16="http://schemas.microsoft.com/office/drawing/2014/main" id="{1A3C8612-2490-403A-F94A-7F4EAD5F2DC8}"/>
              </a:ext>
            </a:extLst>
          </p:cNvPr>
          <p:cNvSpPr>
            <a:spLocks noGrp="1"/>
          </p:cNvSpPr>
          <p:nvPr>
            <p:custDataLst>
              <p:tags r:id="rId138"/>
            </p:custDataLst>
          </p:nvPr>
        </p:nvSpPr>
        <p:spPr bwMode="auto">
          <a:xfrm>
            <a:off x="596900" y="5818188"/>
            <a:ext cx="14144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/>
              <a:t>Type </a:t>
            </a:r>
            <a:r>
              <a:rPr lang="en-US" altLang="en-US" dirty="0"/>
              <a:t>1.E / 2.4 S1-S6</a:t>
            </a:r>
            <a:endParaRPr lang="en-US" dirty="0"/>
          </a:p>
        </p:txBody>
      </p:sp>
      <p:sp>
        <p:nvSpPr>
          <p:cNvPr id="104" name="text">
            <a:extLst>
              <a:ext uri="{FF2B5EF4-FFF2-40B4-BE49-F238E27FC236}">
                <a16:creationId xmlns:a16="http://schemas.microsoft.com/office/drawing/2014/main" id="{FF653FF6-45BB-1550-19C1-1B085542E24E}"/>
              </a:ext>
            </a:extLst>
          </p:cNvPr>
          <p:cNvSpPr>
            <a:spLocks noGrp="1"/>
          </p:cNvSpPr>
          <p:nvPr>
            <p:custDataLst>
              <p:tags r:id="rId139"/>
            </p:custDataLst>
          </p:nvPr>
        </p:nvSpPr>
        <p:spPr bwMode="auto">
          <a:xfrm>
            <a:off x="10460038" y="5818188"/>
            <a:ext cx="11318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Straight / Curve</a:t>
            </a:r>
          </a:p>
        </p:txBody>
      </p:sp>
      <p:sp>
        <p:nvSpPr>
          <p:cNvPr id="450" name="text">
            <a:extLst>
              <a:ext uri="{FF2B5EF4-FFF2-40B4-BE49-F238E27FC236}">
                <a16:creationId xmlns:a16="http://schemas.microsoft.com/office/drawing/2014/main" id="{A58806FA-590C-0A0D-D450-DC1A19323B1B}"/>
              </a:ext>
            </a:extLst>
          </p:cNvPr>
          <p:cNvSpPr>
            <a:spLocks noGrp="1"/>
          </p:cNvSpPr>
          <p:nvPr>
            <p:custDataLst>
              <p:tags r:id="rId140"/>
            </p:custDataLst>
          </p:nvPr>
        </p:nvSpPr>
        <p:spPr bwMode="auto">
          <a:xfrm>
            <a:off x="1660525" y="2139950"/>
            <a:ext cx="350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EBF3DDBE-A98C-4EAD-9052-5493DB14FD65}" type="datetime'''''''''M''''''''''''''''''o''n''''t''''''''''''''''h'''''''''">
              <a:rPr lang="en-US" altLang="en-US" sz="1000" smtClean="0"/>
              <a:pPr/>
              <a:t>Month</a:t>
            </a:fld>
            <a:endParaRPr lang="en-US" sz="1000" dirty="0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0352FE2F-AC33-3AA0-C56C-0614F1F084CB}"/>
              </a:ext>
            </a:extLst>
          </p:cNvPr>
          <p:cNvSpPr>
            <a:spLocks noGrp="1"/>
          </p:cNvSpPr>
          <p:nvPr>
            <p:custDataLst>
              <p:tags r:id="rId141"/>
            </p:custDataLst>
          </p:nvPr>
        </p:nvSpPr>
        <p:spPr bwMode="auto">
          <a:xfrm>
            <a:off x="596900" y="2987675"/>
            <a:ext cx="11795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effectLst/>
              </a:rPr>
              <a:t>Type 1.6A B1-B6</a:t>
            </a:r>
            <a:endParaRPr lang="en-US" dirty="0"/>
          </a:p>
        </p:txBody>
      </p:sp>
      <p:sp>
        <p:nvSpPr>
          <p:cNvPr id="76" name="text">
            <a:extLst>
              <a:ext uri="{FF2B5EF4-FFF2-40B4-BE49-F238E27FC236}">
                <a16:creationId xmlns:a16="http://schemas.microsoft.com/office/drawing/2014/main" id="{B8E95713-9D99-7006-1351-B1795B192911}"/>
              </a:ext>
            </a:extLst>
          </p:cNvPr>
          <p:cNvSpPr>
            <a:spLocks noGrp="1"/>
          </p:cNvSpPr>
          <p:nvPr>
            <p:custDataLst>
              <p:tags r:id="rId142"/>
            </p:custDataLst>
          </p:nvPr>
        </p:nvSpPr>
        <p:spPr bwMode="auto">
          <a:xfrm>
            <a:off x="10460038" y="2682875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Curve</a:t>
            </a:r>
            <a:endParaRPr lang="en-US" dirty="0"/>
          </a:p>
        </p:txBody>
      </p:sp>
      <p:sp>
        <p:nvSpPr>
          <p:cNvPr id="80" name="text">
            <a:extLst>
              <a:ext uri="{FF2B5EF4-FFF2-40B4-BE49-F238E27FC236}">
                <a16:creationId xmlns:a16="http://schemas.microsoft.com/office/drawing/2014/main" id="{BA9FF06C-C63B-F468-A2D9-16B41B8DE618}"/>
              </a:ext>
            </a:extLst>
          </p:cNvPr>
          <p:cNvSpPr>
            <a:spLocks noGrp="1"/>
          </p:cNvSpPr>
          <p:nvPr>
            <p:custDataLst>
              <p:tags r:id="rId143"/>
            </p:custDataLst>
          </p:nvPr>
        </p:nvSpPr>
        <p:spPr bwMode="auto">
          <a:xfrm>
            <a:off x="10460038" y="3290888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Curve</a:t>
            </a:r>
            <a:endParaRPr lang="en-US" dirty="0"/>
          </a:p>
        </p:txBody>
      </p:sp>
      <p:sp>
        <p:nvSpPr>
          <p:cNvPr id="74" name="text">
            <a:extLst>
              <a:ext uri="{FF2B5EF4-FFF2-40B4-BE49-F238E27FC236}">
                <a16:creationId xmlns:a16="http://schemas.microsoft.com/office/drawing/2014/main" id="{C714183B-09A1-2C75-09D8-A44B420FA0C6}"/>
              </a:ext>
            </a:extLst>
          </p:cNvPr>
          <p:cNvSpPr>
            <a:spLocks noGrp="1"/>
          </p:cNvSpPr>
          <p:nvPr>
            <p:custDataLst>
              <p:tags r:id="rId144"/>
            </p:custDataLst>
          </p:nvPr>
        </p:nvSpPr>
        <p:spPr bwMode="auto">
          <a:xfrm>
            <a:off x="10460038" y="2378075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effectLst/>
              </a:rPr>
              <a:t>Curve</a:t>
            </a:r>
            <a:endParaRPr lang="en-US" dirty="0"/>
          </a:p>
        </p:txBody>
      </p:sp>
      <p:sp>
        <p:nvSpPr>
          <p:cNvPr id="6" name="text">
            <a:extLst>
              <a:ext uri="{FF2B5EF4-FFF2-40B4-BE49-F238E27FC236}">
                <a16:creationId xmlns:a16="http://schemas.microsoft.com/office/drawing/2014/main" id="{D388E4E7-8E97-C8DE-0AAE-041152186065}"/>
              </a:ext>
            </a:extLst>
          </p:cNvPr>
          <p:cNvSpPr>
            <a:spLocks noGrp="1"/>
          </p:cNvSpPr>
          <p:nvPr>
            <p:custDataLst>
              <p:tags r:id="rId145"/>
            </p:custDataLst>
          </p:nvPr>
        </p:nvSpPr>
        <p:spPr bwMode="auto">
          <a:xfrm>
            <a:off x="596900" y="2378075"/>
            <a:ext cx="10763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>
                <a:effectLst/>
              </a:rPr>
              <a:t>Type </a:t>
            </a:r>
            <a:r>
              <a:rPr lang="en-US" altLang="en-US" dirty="0">
                <a:effectLst/>
              </a:rPr>
              <a:t>2.5 B1-B6</a:t>
            </a:r>
            <a:endParaRPr lang="en-US" dirty="0"/>
          </a:p>
        </p:txBody>
      </p:sp>
      <p:sp>
        <p:nvSpPr>
          <p:cNvPr id="11" name="text">
            <a:extLst>
              <a:ext uri="{FF2B5EF4-FFF2-40B4-BE49-F238E27FC236}">
                <a16:creationId xmlns:a16="http://schemas.microsoft.com/office/drawing/2014/main" id="{63025624-DD6D-EC6A-67BF-E09A3CFAAF2B}"/>
              </a:ext>
            </a:extLst>
          </p:cNvPr>
          <p:cNvSpPr>
            <a:spLocks noGrp="1"/>
          </p:cNvSpPr>
          <p:nvPr>
            <p:custDataLst>
              <p:tags r:id="rId146"/>
            </p:custDataLst>
          </p:nvPr>
        </p:nvSpPr>
        <p:spPr bwMode="auto">
          <a:xfrm>
            <a:off x="596900" y="3290888"/>
            <a:ext cx="1171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effectLst/>
              </a:rPr>
              <a:t>Type 2.8C B1-B6</a:t>
            </a:r>
            <a:endParaRPr lang="en-US" dirty="0"/>
          </a:p>
        </p:txBody>
      </p:sp>
      <p:sp>
        <p:nvSpPr>
          <p:cNvPr id="88" name="text">
            <a:extLst>
              <a:ext uri="{FF2B5EF4-FFF2-40B4-BE49-F238E27FC236}">
                <a16:creationId xmlns:a16="http://schemas.microsoft.com/office/drawing/2014/main" id="{8FA0E786-6546-1898-15E2-2924DE6D47CD}"/>
              </a:ext>
            </a:extLst>
          </p:cNvPr>
          <p:cNvSpPr>
            <a:spLocks noGrp="1"/>
          </p:cNvSpPr>
          <p:nvPr>
            <p:custDataLst>
              <p:tags r:id="rId147"/>
            </p:custDataLst>
          </p:nvPr>
        </p:nvSpPr>
        <p:spPr bwMode="auto">
          <a:xfrm>
            <a:off x="596900" y="5513388"/>
            <a:ext cx="10763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/>
              <a:t>Type </a:t>
            </a:r>
            <a:r>
              <a:rPr lang="en-US" altLang="en-US" dirty="0"/>
              <a:t>2.9 B1-B6</a:t>
            </a:r>
            <a:endParaRPr lang="en-US" dirty="0"/>
          </a:p>
        </p:txBody>
      </p:sp>
      <p:sp>
        <p:nvSpPr>
          <p:cNvPr id="14" name="text">
            <a:extLst>
              <a:ext uri="{FF2B5EF4-FFF2-40B4-BE49-F238E27FC236}">
                <a16:creationId xmlns:a16="http://schemas.microsoft.com/office/drawing/2014/main" id="{545D39E6-451C-197B-9735-2350B17FACF3}"/>
              </a:ext>
            </a:extLst>
          </p:cNvPr>
          <p:cNvSpPr>
            <a:spLocks noGrp="1"/>
          </p:cNvSpPr>
          <p:nvPr>
            <p:custDataLst>
              <p:tags r:id="rId148"/>
            </p:custDataLst>
          </p:nvPr>
        </p:nvSpPr>
        <p:spPr bwMode="auto">
          <a:xfrm>
            <a:off x="596900" y="2079625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DEC0F1C-E2C4-47F0-806C-88D7F6BAC7C9}" type="datetime'''''''A''''''''''c''t''i''''''''v''''ity'''''''''''''''''">
              <a:rPr lang="en-US" altLang="en-US" b="1" smtClean="0">
                <a:effectLst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900943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B685E9F2-E393-8C3A-13DD-BCE9F40E3A02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24815" y="544551"/>
            <a:ext cx="9044055" cy="3619354"/>
            <a:chOff x="424815" y="544551"/>
            <a:chExt cx="9044055" cy="3619354"/>
          </a:xfrm>
        </p:grpSpPr>
        <p:sp>
          <p:nvSpPr>
            <p:cNvPr id="2" name="MIO_AGENDA_ELEMENT_TITEL_1">
              <a:hlinkClick r:id="rId18" action="ppaction://hlinksldjump"/>
              <a:extLst>
                <a:ext uri="{FF2B5EF4-FFF2-40B4-BE49-F238E27FC236}">
                  <a16:creationId xmlns:a16="http://schemas.microsoft.com/office/drawing/2014/main" id="{0469837D-225F-4EB6-A2B7-9A49D74EF82A}"/>
                </a:ext>
              </a:extLst>
            </p:cNvPr>
            <p:cNvSpPr txBox="1"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869315" y="544551"/>
              <a:ext cx="8599555" cy="44450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defPPr>
                <a:defRPr lang="de-DE"/>
              </a:defPPr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88" indent="-90488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66700" indent="-88900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 Light" panose="020F03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6pPr>
              <a:lvl7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de-DE" sz="1600">
                  <a:solidFill>
                    <a:schemeClr val="dk1"/>
                  </a:solidFill>
                  <a:latin typeface="+mn-lt"/>
                </a:rPr>
                <a:t>Content</a:t>
              </a:r>
              <a:endParaRPr lang="de-DE" sz="1600" dirty="0">
                <a:solidFill>
                  <a:schemeClr val="dk1"/>
                </a:solidFill>
                <a:latin typeface="+mn-lt"/>
              </a:endParaRPr>
            </a:p>
          </p:txBody>
        </p:sp>
        <p:sp>
          <p:nvSpPr>
            <p:cNvPr id="3" name="MIO_AGENDA_ELEMENT_ELEMENTNUMBER_1">
              <a:hlinkClick r:id="rId18" action="ppaction://hlinksldjump"/>
              <a:extLst>
                <a:ext uri="{FF2B5EF4-FFF2-40B4-BE49-F238E27FC236}">
                  <a16:creationId xmlns:a16="http://schemas.microsoft.com/office/drawing/2014/main" id="{1D5C5F93-9B8E-403B-B897-B2A0427B5E73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424815" y="544551"/>
              <a:ext cx="444500" cy="4445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2000">
                  <a:solidFill>
                    <a:schemeClr val="dk1"/>
                  </a:solidFill>
                </a:rPr>
                <a:t>01</a:t>
              </a:r>
              <a:endParaRPr lang="de-DE" sz="2000" dirty="0">
                <a:solidFill>
                  <a:schemeClr val="dk1"/>
                </a:solidFill>
              </a:endParaRPr>
            </a:p>
          </p:txBody>
        </p:sp>
        <p:sp>
          <p:nvSpPr>
            <p:cNvPr id="4" name="MIO_AGENDA_ELEMENT_TITEL_2">
              <a:hlinkClick r:id="rId19" action="ppaction://hlinksldjump"/>
              <a:extLst>
                <a:ext uri="{FF2B5EF4-FFF2-40B4-BE49-F238E27FC236}">
                  <a16:creationId xmlns:a16="http://schemas.microsoft.com/office/drawing/2014/main" id="{0469837D-225F-4EB6-A2B7-9A49D74EF82A}"/>
                </a:ext>
              </a:extLst>
            </p:cNvPr>
            <p:cNvSpPr txBox="1"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869315" y="1179521"/>
              <a:ext cx="8599555" cy="44450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defPPr>
                <a:defRPr lang="de-DE"/>
              </a:defPPr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88" indent="-90488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66700" indent="-88900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 Light" panose="020F03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6pPr>
              <a:lvl7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de-DE" sz="1600">
                  <a:solidFill>
                    <a:schemeClr val="dk1"/>
                  </a:solidFill>
                  <a:latin typeface="+mn-lt"/>
                </a:rPr>
                <a:t>Status Quo Installation (Status 2024)</a:t>
              </a:r>
              <a:endParaRPr lang="de-DE" sz="1600" dirty="0">
                <a:solidFill>
                  <a:schemeClr val="dk1"/>
                </a:solidFill>
                <a:latin typeface="+mn-lt"/>
              </a:endParaRPr>
            </a:p>
          </p:txBody>
        </p:sp>
        <p:sp>
          <p:nvSpPr>
            <p:cNvPr id="5" name="MIO_AGENDA_ELEMENT_ELEMENTNUMBER_2">
              <a:hlinkClick r:id="rId19" action="ppaction://hlinksldjump"/>
              <a:extLst>
                <a:ext uri="{FF2B5EF4-FFF2-40B4-BE49-F238E27FC236}">
                  <a16:creationId xmlns:a16="http://schemas.microsoft.com/office/drawing/2014/main" id="{1D5C5F93-9B8E-403B-B897-B2A0427B5E73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424815" y="1179521"/>
              <a:ext cx="444500" cy="4445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2000">
                  <a:solidFill>
                    <a:schemeClr val="dk1"/>
                  </a:solidFill>
                </a:rPr>
                <a:t>02</a:t>
              </a:r>
              <a:endParaRPr lang="de-DE" sz="2000" dirty="0">
                <a:solidFill>
                  <a:schemeClr val="dk1"/>
                </a:solidFill>
              </a:endParaRPr>
            </a:p>
          </p:txBody>
        </p:sp>
        <p:sp>
          <p:nvSpPr>
            <p:cNvPr id="6" name="MIO_AGENDA_ELEMENT_TITEL_3">
              <a:hlinkClick r:id="rId20" action="ppaction://hlinksldjump"/>
              <a:extLst>
                <a:ext uri="{FF2B5EF4-FFF2-40B4-BE49-F238E27FC236}">
                  <a16:creationId xmlns:a16="http://schemas.microsoft.com/office/drawing/2014/main" id="{0469837D-225F-4EB6-A2B7-9A49D74EF82A}"/>
                </a:ext>
              </a:extLst>
            </p:cNvPr>
            <p:cNvSpPr txBox="1"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869315" y="1814492"/>
              <a:ext cx="8599555" cy="44450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defPPr>
                <a:defRPr lang="de-DE"/>
              </a:defPPr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88" indent="-90488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66700" indent="-88900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 Light" panose="020F03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6pPr>
              <a:lvl7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pt-BR" sz="1600">
                  <a:solidFill>
                    <a:schemeClr val="dk1"/>
                  </a:solidFill>
                  <a:latin typeface="+mn-lt"/>
                </a:rPr>
                <a:t>Status Quo delivery dates Quadru-Poles</a:t>
              </a:r>
              <a:endParaRPr lang="de-DE" sz="1600" dirty="0">
                <a:solidFill>
                  <a:schemeClr val="dk1"/>
                </a:solidFill>
                <a:latin typeface="+mn-lt"/>
              </a:endParaRPr>
            </a:p>
          </p:txBody>
        </p:sp>
        <p:sp>
          <p:nvSpPr>
            <p:cNvPr id="7" name="MIO_AGENDA_ELEMENT_ELEMENTNUMBER_3">
              <a:hlinkClick r:id="rId20" action="ppaction://hlinksldjump"/>
              <a:extLst>
                <a:ext uri="{FF2B5EF4-FFF2-40B4-BE49-F238E27FC236}">
                  <a16:creationId xmlns:a16="http://schemas.microsoft.com/office/drawing/2014/main" id="{1D5C5F93-9B8E-403B-B897-B2A0427B5E73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424815" y="1814492"/>
              <a:ext cx="444500" cy="4445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2000">
                  <a:solidFill>
                    <a:schemeClr val="dk1"/>
                  </a:solidFill>
                </a:rPr>
                <a:t>03</a:t>
              </a:r>
              <a:endParaRPr lang="de-DE" sz="2000" dirty="0">
                <a:solidFill>
                  <a:schemeClr val="dk1"/>
                </a:solidFill>
              </a:endParaRPr>
            </a:p>
          </p:txBody>
        </p:sp>
        <p:sp>
          <p:nvSpPr>
            <p:cNvPr id="8" name="MIO_AGENDA_ELEMENT_TITEL_4">
              <a:hlinkClick r:id="rId21" action="ppaction://hlinksldjump"/>
              <a:extLst>
                <a:ext uri="{FF2B5EF4-FFF2-40B4-BE49-F238E27FC236}">
                  <a16:creationId xmlns:a16="http://schemas.microsoft.com/office/drawing/2014/main" id="{0469837D-225F-4EB6-A2B7-9A49D74EF82A}"/>
                </a:ext>
              </a:extLst>
            </p:cNvPr>
            <p:cNvSpPr txBox="1"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869315" y="2449463"/>
              <a:ext cx="8599555" cy="44450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defPPr>
                <a:defRPr lang="de-DE"/>
              </a:defPPr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88" indent="-90488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66700" indent="-88900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 Light" panose="020F03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6pPr>
              <a:lvl7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fr-FR" sz="1600" b="1">
                  <a:solidFill>
                    <a:schemeClr val="dk1"/>
                  </a:solidFill>
                  <a:latin typeface="+mn-lt"/>
                </a:rPr>
                <a:t>Installation Plan Quadru-Poles (Status 09.2025)</a:t>
              </a:r>
              <a:endParaRPr lang="de-DE" sz="1600" b="1" dirty="0">
                <a:solidFill>
                  <a:schemeClr val="dk1"/>
                </a:solidFill>
                <a:latin typeface="+mn-lt"/>
              </a:endParaRPr>
            </a:p>
          </p:txBody>
        </p:sp>
        <p:sp>
          <p:nvSpPr>
            <p:cNvPr id="9" name="MIO_AGENDA_ELEMENT_ELEMENTNUMBER_4">
              <a:hlinkClick r:id="rId21" action="ppaction://hlinksldjump"/>
              <a:extLst>
                <a:ext uri="{FF2B5EF4-FFF2-40B4-BE49-F238E27FC236}">
                  <a16:creationId xmlns:a16="http://schemas.microsoft.com/office/drawing/2014/main" id="{4A5E4DC2-67B8-41C0-B70E-2423306BCA1D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gray">
            <a:xfrm>
              <a:off x="424815" y="2449463"/>
              <a:ext cx="444500" cy="4445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2000" b="1">
                  <a:solidFill>
                    <a:schemeClr val="dk1"/>
                  </a:solidFill>
                </a:rPr>
                <a:t>04</a:t>
              </a:r>
              <a:endParaRPr lang="de-DE" sz="2000" b="1" dirty="0">
                <a:solidFill>
                  <a:schemeClr val="dk1"/>
                </a:solidFill>
              </a:endParaRPr>
            </a:p>
          </p:txBody>
        </p:sp>
        <p:sp>
          <p:nvSpPr>
            <p:cNvPr id="10" name="MIO_AGENDA_ELEMENT_TITEL_5">
              <a:hlinkClick r:id="rId22" action="ppaction://hlinksldjump"/>
              <a:extLst>
                <a:ext uri="{FF2B5EF4-FFF2-40B4-BE49-F238E27FC236}">
                  <a16:creationId xmlns:a16="http://schemas.microsoft.com/office/drawing/2014/main" id="{0469837D-225F-4EB6-A2B7-9A49D74EF82A}"/>
                </a:ext>
              </a:extLst>
            </p:cNvPr>
            <p:cNvSpPr txBox="1">
              <a:spLocks/>
            </p:cNvSpPr>
            <p:nvPr>
              <p:custDataLst>
                <p:tags r:id="rId12"/>
              </p:custDataLst>
            </p:nvPr>
          </p:nvSpPr>
          <p:spPr bwMode="gray">
            <a:xfrm>
              <a:off x="869315" y="3084434"/>
              <a:ext cx="8599555" cy="44450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defPPr>
                <a:defRPr lang="de-DE"/>
              </a:defPPr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88" indent="-90488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66700" indent="-88900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 Light" panose="020F03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6pPr>
              <a:lvl7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de-DE" sz="1600">
                  <a:solidFill>
                    <a:schemeClr val="dk1"/>
                  </a:solidFill>
                  <a:latin typeface="+mn-lt"/>
                </a:rPr>
                <a:t>Open Issues / to clarify</a:t>
              </a:r>
              <a:endParaRPr lang="de-DE" sz="1600" dirty="0">
                <a:solidFill>
                  <a:schemeClr val="dk1"/>
                </a:solidFill>
                <a:latin typeface="+mn-lt"/>
              </a:endParaRPr>
            </a:p>
          </p:txBody>
        </p:sp>
        <p:sp>
          <p:nvSpPr>
            <p:cNvPr id="11" name="MIO_AGENDA_ELEMENT_ELEMENTNUMBER_5">
              <a:hlinkClick r:id="rId22" action="ppaction://hlinksldjump"/>
              <a:extLst>
                <a:ext uri="{FF2B5EF4-FFF2-40B4-BE49-F238E27FC236}">
                  <a16:creationId xmlns:a16="http://schemas.microsoft.com/office/drawing/2014/main" id="{1D5C5F93-9B8E-403B-B897-B2A0427B5E73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gray">
            <a:xfrm>
              <a:off x="424815" y="3084434"/>
              <a:ext cx="444500" cy="4445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2000">
                  <a:solidFill>
                    <a:schemeClr val="dk1"/>
                  </a:solidFill>
                </a:rPr>
                <a:t>05</a:t>
              </a:r>
              <a:endParaRPr lang="de-DE" sz="2000" dirty="0">
                <a:solidFill>
                  <a:schemeClr val="dk1"/>
                </a:solidFill>
              </a:endParaRPr>
            </a:p>
          </p:txBody>
        </p:sp>
        <p:sp>
          <p:nvSpPr>
            <p:cNvPr id="12" name="MIO_AGENDA_ELEMENT_TITEL_6">
              <a:hlinkClick r:id="rId23" action="ppaction://hlinksldjump"/>
              <a:extLst>
                <a:ext uri="{FF2B5EF4-FFF2-40B4-BE49-F238E27FC236}">
                  <a16:creationId xmlns:a16="http://schemas.microsoft.com/office/drawing/2014/main" id="{0469837D-225F-4EB6-A2B7-9A49D74EF82A}"/>
                </a:ext>
              </a:extLst>
            </p:cNvPr>
            <p:cNvSpPr txBox="1">
              <a:spLocks/>
            </p:cNvSpPr>
            <p:nvPr>
              <p:custDataLst>
                <p:tags r:id="rId14"/>
              </p:custDataLst>
            </p:nvPr>
          </p:nvSpPr>
          <p:spPr bwMode="gray">
            <a:xfrm>
              <a:off x="869315" y="3719405"/>
              <a:ext cx="8599555" cy="44450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defPPr>
                <a:defRPr lang="de-DE"/>
              </a:defPPr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8900" indent="-889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88" indent="-90488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" panose="020F05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66700" indent="-88900" algn="l" defTabSz="914400" rtl="0" eaLnBrk="1" latinLnBrk="0" hangingPunct="1">
                <a:spcBef>
                  <a:spcPts val="0"/>
                </a:spcBef>
                <a:spcAft>
                  <a:spcPts val="300"/>
                </a:spcAft>
                <a:buClr>
                  <a:schemeClr val="bg2"/>
                </a:buClr>
                <a:buFont typeface="Calibri Light" panose="020F0302020204030204" pitchFamily="34" charset="0"/>
                <a:buChar char="›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6pPr>
              <a:lvl7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975" indent="-180975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Font typeface="+mj-lt"/>
                <a:buAutoNum type="arabicPeriod"/>
                <a:defRPr sz="1200" kern="1200">
                  <a:solidFill>
                    <a:schemeClr val="tx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de-DE" sz="1600">
                  <a:solidFill>
                    <a:schemeClr val="dk1"/>
                  </a:solidFill>
                  <a:latin typeface="+mn-lt"/>
                </a:rPr>
                <a:t>Next Steps</a:t>
              </a:r>
              <a:endParaRPr lang="de-DE" sz="1600" dirty="0">
                <a:solidFill>
                  <a:schemeClr val="dk1"/>
                </a:solidFill>
                <a:latin typeface="+mn-lt"/>
              </a:endParaRPr>
            </a:p>
          </p:txBody>
        </p:sp>
        <p:sp>
          <p:nvSpPr>
            <p:cNvPr id="13" name="MIO_AGENDA_ELEMENT_ELEMENTNUMBER_6">
              <a:hlinkClick r:id="rId23" action="ppaction://hlinksldjump"/>
              <a:extLst>
                <a:ext uri="{FF2B5EF4-FFF2-40B4-BE49-F238E27FC236}">
                  <a16:creationId xmlns:a16="http://schemas.microsoft.com/office/drawing/2014/main" id="{1D5C5F93-9B8E-403B-B897-B2A0427B5E73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gray">
            <a:xfrm>
              <a:off x="424815" y="3719405"/>
              <a:ext cx="444500" cy="4445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2000">
                  <a:solidFill>
                    <a:schemeClr val="dk1"/>
                  </a:solidFill>
                </a:rPr>
                <a:t>06</a:t>
              </a:r>
              <a:endParaRPr lang="de-DE" sz="2000" dirty="0">
                <a:solidFill>
                  <a:schemeClr val="dk1"/>
                </a:solidFill>
              </a:endParaRPr>
            </a:p>
          </p:txBody>
        </p:sp>
      </p:grpSp>
      <p:sp>
        <p:nvSpPr>
          <p:cNvPr id="20" name="Titel 19">
            <a:extLst>
              <a:ext uri="{FF2B5EF4-FFF2-40B4-BE49-F238E27FC236}">
                <a16:creationId xmlns:a16="http://schemas.microsoft.com/office/drawing/2014/main" id="{52A87956-E7C3-8EA6-58AF-2EB5AB54E18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95807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UNDODONOTDELETE" val="0"/>
  <p:tag name="MIO_PRESENTATION_LANGUAGE" val="1031"/>
  <p:tag name="THINKCELLPRESENTATIONDONOTDELETE" val="&lt;?xml version=&quot;1.0&quot; encoding=&quot;UTF-16&quot; standalone=&quot;yes&quot;?&gt;&lt;root reqver=&quot;28224&quot;&gt;&lt;version val=&quot;3577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#m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FF&quot; g=&quot;C0&quot; b=&quot;0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0eOx2HesyadIdMgp0nJA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GFnHVB5ibdvxz18vJ6Uw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0eOx2HesyadIdMgp0nJA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2V8OROOxML7sDsDdbWww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qbp75uxbDfNDyFfuoI0g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_g2J2LWgW82VtkYfaCFw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Bbs1s43QU8dq_FMNDNiQ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0irfeTrd26_fdmaoz4Rg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PiJ9cfBfcZ_7SqiFf0qg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UlF2I2OCcLQjNL6UIctg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L77srfoBsL32sa1h5RA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2V8OROOxML7sDsDdbWww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ifwDPv9IvjH6AL5ylO1g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J07BxDcCi1DJGOR.utiA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RcbCnfb8ManRd93qurHg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ceDrs6T4Eo1KIKsM68Q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XLuXysWPtaILQlzrBzyw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S710Omv5.Oke3bdKwNBQ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t0eGigH9rf9Euv8SoB9Q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Ot2xLcWhEtV7DSk7DjMQ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39OjHbwe5cqYIemRDfSA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f0psr0GfnzAcDy0RZ2r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qbp75uxbDfNDyFfuoI0g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jhDMrEjM7vNE_qnssDjA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S23swiDV2H5mpsKWSsBw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4h.yMoYLwdYQXsOcov0w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IMMCaLufYF_09FpFprCQ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L22FbSh5r57rMtnO3Ncg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MOvAJABjJjzLIK85EPNQ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8Quh24XSacyVfpDzGo9Q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HNKy7HoUfUecEVnwUGQg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w3Rz8qpvh3Sc_iGSC.qQ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es_Yj7K_bJmda2Js81I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_g2J2LWgW82VtkYfaCFw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RLrkzgoXZUs7DUARsRUg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GOy87FKhtUqwvrmbDd1A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7QzSzNSr2gupO9tQjvGg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7A3lPCNGLGQwB.k19yIQ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kPRGcmBWD49d2bhVFKiA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yKCDiHddhwrrZG2cE37A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qRR0P5GRFWl00OJvHVAg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iP4wlkthqJ3Mo9NSVNTw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i.WDgxnGEybIIPJ1Lv0A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WZoaMpkauVlnePwjfSa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Bbs1s43QU8dq_FMNDNiQ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TPe1ZF1aMYLLD3LS5tnA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mAEWp1pBSYmoA.verqZg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Q3r8hOlcQWhAuLhQexZQ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wGxT3ncZiwSutiJcS8AA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A2WaAprZwXIRHAp8L.Ew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Ri_.BQXpCqKVWlGrCNMA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q.lhX5fYKCZsmSQzB._g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PKxBYOfEo.Jdg.PYn6gw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PADlZnhSTx7rvhJKJ9iA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Z_.G8wmAHUi2s1L7Mo5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0irfeTrd26_fdmaoz4Rg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aApdOYn092a1FqqVThvQ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Jpqi7j7deUeauWdYCAjA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maLlNuZxQkwpgVcJNi1A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lnIhCAIJBGeQExn5C3Bw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g.0579RoI7iBf.GYa3bg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1c2SxQNXt3MXZ9h0VE.A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azuqCpbZfhAiDbcFmxrQ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pTGNwwGAy32qu60PjWlQ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akEZuvd0BdXJ_2Jxh.iw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4Sw3FdProW4kEcXMCOf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PiJ9cfBfcZ_7SqiFf0qg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.j0V8DACGUXHiCUrOScA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6Pvqfkg8ef0Vz7u_2BzA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0afyV4EYmPbC.uE0St5w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yXK9F00u1.FpCJzulcJA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pPzwiyhwH.R_jcYBeHTw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kX4ApEyRKduy6I1pvUNQ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ZXQt9IysQ9bWLbia9SqQ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T9E07LGdDA8Yr9DMoGVA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4FgZyWJD3QP7oepemo2Q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5MMXFsFWf5Qy24qKRr9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UlF2I2OCcLQjNL6UIctg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PqyFaxyYdzn5ohIyRWhg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Yrmlq6TRBtfgf.0.5Vcg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_h7O6b2aX.tU5k4ZDR3g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VSI7kHXpKBndynBIrvbA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TeuIfz4xdUWgVM0uWUOg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ffSkIxVs142Lxo9JCodA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dQJgruKaiLr9N.yXhYuQ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nQLJSpnn2wGizChR6wMg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uQipHYKASgxSo8v76m7A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vcYwdnibUmIx5uRPNXQ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L77srfoBsL32sa1h5RAg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DbXoMlvk790wRNnVSaww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GPDWIF8q36jHED_RgC4A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2shEu3wXedZOTbO91DMw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kTDeOLmNGvM3RrzxJfDg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6Qw7Qz.fRH2.NbaUhOxQ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a_vpLaujnQgjz...VJEQ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q4qMxkbTmlHF2viAKtVw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peBLPSKz2Ltpaz.ZDpBw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Ejij85lgVMotZ7e9HcWw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HVmpWGfpSMJtpHAv3zI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ifwDPv9IvjH6AL5ylO1g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HCFVbQS0Gtgu.leedHlg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mFxKlwBFC0Bwz_OEjIbw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WDnyoT20LanHJ.bFwNxw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eUb7yPQhVsadL2zAQjpw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XEG5GB9y1.6QuaToOrqg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SPBifS_WNetY2aTRJbaw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YjYBAeOQvrtUY7.hI4tA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vZqVWqnt6wg33t.UW_fQ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XQS1uq5NG_VlyatyN7Mw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Igq7KhNZpMMhLW2wtad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J07BxDcCi1DJGOR.utiA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6qqK6SmvjfYmVTSX0ekg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1hdlzJthiWdVvSlySKjw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.q.nryh4ODoIr_A07Y2A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dB0lU9gVpjS.LOI.5P5w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kiqt1A1m_b_5TKIfWLRA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b34kNu6mlF97NpX.fO7g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MU78hg1gVCt.57JotwrQ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B4bysF0iApjY3b1asKYg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dAPqiVjR5Yy7Fn6EYPng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zGV3QcEGz3cew8lT9Wr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RcbCnfb8ManRd93qurHg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xHWl9LP4yWgHcHKkJW7Q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YodH9fg24vX4Ja1aGbHQ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MCTWhX1m.Dy6EfLStbmw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nIzt2P1SOEdvfLGohXMA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in8sbIotXAxZ_9ubVsNg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vNO0YaMZ9U88StxzQ2kQ"/>
</p:tagLst>
</file>

<file path=ppt/tags/tag1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VgAPGnHxsgy.mJVgyQNQ"/>
</p:tagLst>
</file>

<file path=ppt/tags/tag1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jUp_cq_jHbmt5_fwaEmA"/>
</p:tagLst>
</file>

<file path=ppt/tags/tag1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Qyx6MwJtpb6IIKZx2AtQ"/>
</p:tagLst>
</file>

<file path=ppt/tags/tag1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Lz9J0PxsiWFZs4Se3uX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ceDrs6T4Eo1KIKsM68Q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40dpltZgtxhIIiv1VHfg"/>
</p:tagLst>
</file>

<file path=ppt/tags/tag1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72VAkUdjddwGIVEWMJESQ"/>
</p:tagLst>
</file>

<file path=ppt/tags/tag1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OxO8QaBZHAal_iviXfwQ"/>
</p:tagLst>
</file>

<file path=ppt/tags/tag1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KwO2aJk8RQPcjLSzEZOw"/>
</p:tagLst>
</file>

<file path=ppt/tags/tag1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mNIsQA9iIPqAv3Nmi1dA"/>
</p:tagLst>
</file>

<file path=ppt/tags/tag1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3HV.lTEWhYsoYbc91rOQ"/>
</p:tagLst>
</file>

<file path=ppt/tags/tag1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mlhyreX.AvOZ5LFvrIAw"/>
</p:tagLst>
</file>

<file path=ppt/tags/tag1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MlY0e5mSP9x_TU54UkfA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dmvesR3LbPXqOWj1wLLg"/>
</p:tagLst>
</file>

<file path=ppt/tags/tag1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Fmd3Y349Q9T_tKc7KI9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XLuXysWPtaILQlzrBzyw"/>
</p:tagLst>
</file>

<file path=ppt/tags/tag1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CEWqc0nmfflV351ZsfOQ"/>
</p:tagLst>
</file>

<file path=ppt/tags/tag1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4ajkOBY4SEf.DjXrAYvw"/>
</p:tagLst>
</file>

<file path=ppt/tags/tag1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mX7eVLp6hBNLsEjFic5A"/>
</p:tagLst>
</file>

<file path=ppt/tags/tag1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1WzCqqRcslniYrP6goDg"/>
</p:tagLst>
</file>

<file path=ppt/tags/tag1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JLJjF0WPwpgZJ2d7Lz6w"/>
</p:tagLst>
</file>

<file path=ppt/tags/tag1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cjnYrQkhiW2.3lhKBN5Q"/>
</p:tagLst>
</file>

<file path=ppt/tags/tag1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T7_TNvYkOgP0zw.X9zpA"/>
</p:tagLst>
</file>

<file path=ppt/tags/tag1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fK95NWPhVzCBYKy0Oj4g"/>
</p:tagLst>
</file>

<file path=ppt/tags/tag1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B4q7L7p1EHUlafLbfE1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S710Omv5.Oke3bdKwNBQ"/>
</p:tagLst>
</file>

<file path=ppt/tags/tag1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ltjVGMP5_u6mL4UJm_Uw"/>
</p:tagLst>
</file>

<file path=ppt/tags/tag1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NhhzldKc_6ym5lqfB0mA"/>
</p:tagLst>
</file>

<file path=ppt/tags/tag1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bygPnu.bH5AufKuuvQWA"/>
</p:tagLst>
</file>

<file path=ppt/tags/tag1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NgRPao9UU23sI5fk_XDg"/>
</p:tagLst>
</file>

<file path=ppt/tags/tag1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aoBPQeKtzWPVCuw0mz7g"/>
</p:tagLst>
</file>

<file path=ppt/tags/tag1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0eIycx1qxBIvVcJM44ug"/>
</p:tagLst>
</file>

<file path=ppt/tags/tag1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Z62P01GFx_u6vxDFxFxA"/>
</p:tagLst>
</file>

<file path=ppt/tags/tag1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JBRtRzICMk2Fcqntja4w"/>
</p:tagLst>
</file>

<file path=ppt/tags/tag1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yas4CFMNxnOCx.9Ar.OA"/>
</p:tagLst>
</file>

<file path=ppt/tags/tag1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71zdAkqSW8QqkQZxvpb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t0eGigH9rf9Euv8SoB9Q"/>
</p:tagLst>
</file>

<file path=ppt/tags/tag1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ranu0y9DJuxBKpgq8_jg"/>
</p:tagLst>
</file>

<file path=ppt/tags/tag1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kmG1bXgGj9c784beUSMg"/>
</p:tagLst>
</file>

<file path=ppt/tags/tag1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LkxB51wyDj3QsRwzmj1A"/>
</p:tagLst>
</file>

<file path=ppt/tags/tag1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sjxx_kc0KQiW_.JYiL8w"/>
</p:tagLst>
</file>

<file path=ppt/tags/tag1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2PQNqzogsVtkwIZcuhmw"/>
</p:tagLst>
</file>

<file path=ppt/tags/tag1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jUsLSYIi7pREOAcEkE4A"/>
</p:tagLst>
</file>

<file path=ppt/tags/tag1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YkEbghpo5dDD1JhQJv9w"/>
</p:tagLst>
</file>

<file path=ppt/tags/tag1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eKIz17FD4bi.K4DrgDsA"/>
</p:tagLst>
</file>

<file path=ppt/tags/tag1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cZJCA314EM4T3K0T5mWQ"/>
</p:tagLst>
</file>

<file path=ppt/tags/tag1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uwCEAfP_YkTHaVx8Qsl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39OjHbwe5cqYIemRDfSA"/>
</p:tagLst>
</file>

<file path=ppt/tags/tag1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gEZuIfmi29vY8hTVTN0w"/>
</p:tagLst>
</file>

<file path=ppt/tags/tag1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UKKLH38Oo1jKFV6.rf.A"/>
</p:tagLst>
</file>

<file path=ppt/tags/tag1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Edb0YV3igPFieyzCl0lA"/>
</p:tagLst>
</file>

<file path=ppt/tags/tag1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Ee0GiIh2M2oZWRM7Jnhw"/>
</p:tagLst>
</file>

<file path=ppt/tags/tag1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z7IobY8x2Lr_1pO4IcSA"/>
</p:tagLst>
</file>

<file path=ppt/tags/tag1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OXk_mP98O_mstE5ns9Zw"/>
</p:tagLst>
</file>

<file path=ppt/tags/tag1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aQXElktBQ2boMcu_PJ7A"/>
</p:tagLst>
</file>

<file path=ppt/tags/tag1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7EecZfEWhtfZXzWGi8IQQ"/>
</p:tagLst>
</file>

<file path=ppt/tags/tag1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QuMaZ5_FtLBKIgy7I_Cw"/>
</p:tagLst>
</file>

<file path=ppt/tags/tag1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iyfLUH_n4nAJ8IYo05_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Ot2xLcWhEtV7DSk7DjMQ"/>
</p:tagLst>
</file>

<file path=ppt/tags/tag1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0QQdwRsZKLKqW8U9s88w"/>
</p:tagLst>
</file>

<file path=ppt/tags/tag1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8OdzFQbVX3XeHJJIt_jA"/>
</p:tagLst>
</file>

<file path=ppt/tags/tag1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go2ba5gUHxEDZQtSEx1Q"/>
</p:tagLst>
</file>

<file path=ppt/tags/tag1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GsblrnR7LIhgIjlpkXsQ"/>
</p:tagLst>
</file>

<file path=ppt/tags/tag1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r4fz.Vx5X9PIAYH469fg"/>
</p:tagLst>
</file>

<file path=ppt/tags/tag1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otwXIuOJegAnypzRJGSw"/>
</p:tagLst>
</file>

<file path=ppt/tags/tag1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i7iMLFTgq1Rbs04ZfY3g"/>
</p:tagLst>
</file>

<file path=ppt/tags/tag1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V4K1bISAEPqwzqv9qMew"/>
</p:tagLst>
</file>

<file path=ppt/tags/tag1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qu7iJ8G4JpxeS_7x_3Jw"/>
</p:tagLst>
</file>

<file path=ppt/tags/tag1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GFnHVB5ibdvxz18vJ6U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f0psr0GfnzAcDy0RZ2rw"/>
</p:tagLst>
</file>

<file path=ppt/tags/tag1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0eOx2HesyadIdMgp0nJA"/>
</p:tagLst>
</file>

<file path=ppt/tags/tag1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2V8OROOxML7sDsDdbWww"/>
</p:tagLst>
</file>

<file path=ppt/tags/tag1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qbp75uxbDfNDyFfuoI0g"/>
</p:tagLst>
</file>

<file path=ppt/tags/tag1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_g2J2LWgW82VtkYfaCFw"/>
</p:tagLst>
</file>

<file path=ppt/tags/tag1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Bbs1s43QU8dq_FMNDNiQ"/>
</p:tagLst>
</file>

<file path=ppt/tags/tag1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0irfeTrd26_fdmaoz4Rg"/>
</p:tagLst>
</file>

<file path=ppt/tags/tag1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PiJ9cfBfcZ_7SqiFf0qg"/>
</p:tagLst>
</file>

<file path=ppt/tags/tag1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UlF2I2OCcLQjNL6UIctg"/>
</p:tagLst>
</file>

<file path=ppt/tags/tag1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L77srfoBsL32sa1h5RAg"/>
</p:tagLst>
</file>

<file path=ppt/tags/tag1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ifwDPv9IvjH6AL5ylO1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S23swiDV2H5mpsKWSsBw"/>
</p:tagLst>
</file>

<file path=ppt/tags/tag1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J07BxDcCi1DJGOR.utiA"/>
</p:tagLst>
</file>

<file path=ppt/tags/tag1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RcbCnfb8ManRd93qurHg"/>
</p:tagLst>
</file>

<file path=ppt/tags/tag1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ceDrs6T4Eo1KIKsM68Q"/>
</p:tagLst>
</file>

<file path=ppt/tags/tag1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XLuXysWPtaILQlzrBzyw"/>
</p:tagLst>
</file>

<file path=ppt/tags/tag1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S710Omv5.Oke3bdKwNBQ"/>
</p:tagLst>
</file>

<file path=ppt/tags/tag1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t0eGigH9rf9Euv8SoB9Q"/>
</p:tagLst>
</file>

<file path=ppt/tags/tag1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Ot2xLcWhEtV7DSk7DjMQ"/>
</p:tagLst>
</file>

<file path=ppt/tags/tag1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39OjHbwe5cqYIemRDfSA"/>
</p:tagLst>
</file>

<file path=ppt/tags/tag1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f0psr0GfnzAcDy0RZ2rw"/>
</p:tagLst>
</file>

<file path=ppt/tags/tag1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jhDMrEjM7vNE_qnssDj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4h.yMoYLwdYQXsOcov0w"/>
</p:tagLst>
</file>

<file path=ppt/tags/tag1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S23swiDV2H5mpsKWSsBw"/>
</p:tagLst>
</file>

<file path=ppt/tags/tag1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4h.yMoYLwdYQXsOcov0w"/>
</p:tagLst>
</file>

<file path=ppt/tags/tag1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IMMCaLufYF_09FpFprCQ"/>
</p:tagLst>
</file>

<file path=ppt/tags/tag1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L22FbSh5r57rMtnO3Ncg"/>
</p:tagLst>
</file>

<file path=ppt/tags/tag1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MOvAJABjJjzLIK85EPNQ"/>
</p:tagLst>
</file>

<file path=ppt/tags/tag1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8Quh24XSacyVfpDzGo9Q"/>
</p:tagLst>
</file>

<file path=ppt/tags/tag1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HNKy7HoUfUecEVnwUGQg"/>
</p:tagLst>
</file>

<file path=ppt/tags/tag1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w3Rz8qpvh3Sc_iGSC.qQ"/>
</p:tagLst>
</file>

<file path=ppt/tags/tag1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es_Yj7K_bJmda2Js81IQ"/>
</p:tagLst>
</file>

<file path=ppt/tags/tag1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RLrkzgoXZUs7DUARsRU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jhDMrEjM7vNE_qnssDjA"/>
</p:tagLst>
</file>

<file path=ppt/tags/tag1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GOy87FKhtUqwvrmbDd1A"/>
</p:tagLst>
</file>

<file path=ppt/tags/tag1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7QzSzNSr2gupO9tQjvGg"/>
</p:tagLst>
</file>

<file path=ppt/tags/tag1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7A3lPCNGLGQwB.k19yIQ"/>
</p:tagLst>
</file>

<file path=ppt/tags/tag1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kPRGcmBWD49d2bhVFKiA"/>
</p:tagLst>
</file>

<file path=ppt/tags/tag1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yKCDiHddhwrrZG2cE37A"/>
</p:tagLst>
</file>

<file path=ppt/tags/tag1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qRR0P5GRFWl00OJvHVAg"/>
</p:tagLst>
</file>

<file path=ppt/tags/tag1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iP4wlkthqJ3Mo9NSVNTw"/>
</p:tagLst>
</file>

<file path=ppt/tags/tag1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i.WDgxnGEybIIPJ1Lv0A"/>
</p:tagLst>
</file>

<file path=ppt/tags/tag1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WZoaMpkauVlnePwjfSaw"/>
</p:tagLst>
</file>

<file path=ppt/tags/tag1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TPe1ZF1aMYLLD3LS5tn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IMMCaLufYF_09FpFprCQ"/>
</p:tagLst>
</file>

<file path=ppt/tags/tag1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mAEWp1pBSYmoA.verqZg"/>
</p:tagLst>
</file>

<file path=ppt/tags/tag1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Q3r8hOlcQWhAuLhQexZQ"/>
</p:tagLst>
</file>

<file path=ppt/tags/tag1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wGxT3ncZiwSutiJcS8AA"/>
</p:tagLst>
</file>

<file path=ppt/tags/tag1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A2WaAprZwXIRHAp8L.Ew"/>
</p:tagLst>
</file>

<file path=ppt/tags/tag1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Ri_.BQXpCqKVWlGrCNMA"/>
</p:tagLst>
</file>

<file path=ppt/tags/tag1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q.lhX5fYKCZsmSQzB._g"/>
</p:tagLst>
</file>

<file path=ppt/tags/tag1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PKxBYOfEo.Jdg.PYn6gw"/>
</p:tagLst>
</file>

<file path=ppt/tags/tag1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PADlZnhSTx7rvhJKJ9iA"/>
</p:tagLst>
</file>

<file path=ppt/tags/tag1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Z_.G8wmAHUi2s1L7Mo5g"/>
</p:tagLst>
</file>

<file path=ppt/tags/tag1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aApdOYn092a1FqqVThv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L22FbSh5r57rMtnO3Ncg"/>
</p:tagLst>
</file>

<file path=ppt/tags/tag1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Jpqi7j7deUeauWdYCAjA"/>
</p:tagLst>
</file>

<file path=ppt/tags/tag1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maLlNuZxQkwpgVcJNi1A"/>
</p:tagLst>
</file>

<file path=ppt/tags/tag1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lnIhCAIJBGeQExn5C3Bw"/>
</p:tagLst>
</file>

<file path=ppt/tags/tag1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g.0579RoI7iBf.GYa3bg"/>
</p:tagLst>
</file>

<file path=ppt/tags/tag1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1c2SxQNXt3MXZ9h0VE.A"/>
</p:tagLst>
</file>

<file path=ppt/tags/tag1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azuqCpbZfhAiDbcFmxrQ"/>
</p:tagLst>
</file>

<file path=ppt/tags/tag1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pTGNwwGAy32qu60PjWlQ"/>
</p:tagLst>
</file>

<file path=ppt/tags/tag1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akEZuvd0BdXJ_2Jxh.iw"/>
</p:tagLst>
</file>

<file path=ppt/tags/tag1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4Sw3FdProW4kEcXMCOfQ"/>
</p:tagLst>
</file>

<file path=ppt/tags/tag1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.j0V8DACGUXHiCUrOSc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MOvAJABjJjzLIK85EPNQ"/>
</p:tagLst>
</file>

<file path=ppt/tags/tag1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6Pvqfkg8ef0Vz7u_2BzA"/>
</p:tagLst>
</file>

<file path=ppt/tags/tag1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0afyV4EYmPbC.uE0St5w"/>
</p:tagLst>
</file>

<file path=ppt/tags/tag1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yXK9F00u1.FpCJzulcJA"/>
</p:tagLst>
</file>

<file path=ppt/tags/tag1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pPzwiyhwH.R_jcYBeHTw"/>
</p:tagLst>
</file>

<file path=ppt/tags/tag1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kX4ApEyRKduy6I1pvUNQ"/>
</p:tagLst>
</file>

<file path=ppt/tags/tag1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ZXQt9IysQ9bWLbia9SqQ"/>
</p:tagLst>
</file>

<file path=ppt/tags/tag1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T9E07LGdDA8Yr9DMoGVA"/>
</p:tagLst>
</file>

<file path=ppt/tags/tag1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4FgZyWJD3QP7oepemo2Q"/>
</p:tagLst>
</file>

<file path=ppt/tags/tag1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5MMXFsFWf5Qy24qKRr9Q"/>
</p:tagLst>
</file>

<file path=ppt/tags/tag1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PqyFaxyYdzn5ohIyRWh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es_Yj7K_bJmda2Js81IQ"/>
</p:tagLst>
</file>

<file path=ppt/tags/tag1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Yrmlq6TRBtfgf.0.5Vcg"/>
</p:tagLst>
</file>

<file path=ppt/tags/tag1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_h7O6b2aX.tU5k4ZDR3g"/>
</p:tagLst>
</file>

<file path=ppt/tags/tag1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VSI7kHXpKBndynBIrvbA"/>
</p:tagLst>
</file>

<file path=ppt/tags/tag1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TeuIfz4xdUWgVM0uWUOg"/>
</p:tagLst>
</file>

<file path=ppt/tags/tag1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ffSkIxVs142Lxo9JCodA"/>
</p:tagLst>
</file>

<file path=ppt/tags/tag1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dQJgruKaiLr9N.yXhYuQ"/>
</p:tagLst>
</file>

<file path=ppt/tags/tag1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nQLJSpnn2wGizChR6wMg"/>
</p:tagLst>
</file>

<file path=ppt/tags/tag1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uQipHYKASgxSo8v76m7A"/>
</p:tagLst>
</file>

<file path=ppt/tags/tag1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vcYwdnibUmIx5uRPNXQA"/>
</p:tagLst>
</file>

<file path=ppt/tags/tag1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DbXoMlvk790wRNnVSaw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8Quh24XSacyVfpDzGo9Q"/>
</p:tagLst>
</file>

<file path=ppt/tags/tag1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GPDWIF8q36jHED_RgC4A"/>
</p:tagLst>
</file>

<file path=ppt/tags/tag1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2shEu3wXedZOTbO91DMw"/>
</p:tagLst>
</file>

<file path=ppt/tags/tag1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kTDeOLmNGvM3RrzxJfDg"/>
</p:tagLst>
</file>

<file path=ppt/tags/tag1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6Qw7Qz.fRH2.NbaUhOxQ"/>
</p:tagLst>
</file>

<file path=ppt/tags/tag1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a_vpLaujnQgjz...VJEQ"/>
</p:tagLst>
</file>

<file path=ppt/tags/tag1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q4qMxkbTmlHF2viAKtVw"/>
</p:tagLst>
</file>

<file path=ppt/tags/tag1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peBLPSKz2Ltpaz.ZDpBw"/>
</p:tagLst>
</file>

<file path=ppt/tags/tag1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Ejij85lgVMotZ7e9HcWw"/>
</p:tagLst>
</file>

<file path=ppt/tags/tag1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HVmpWGfpSMJtpHAv3zIg"/>
</p:tagLst>
</file>

<file path=ppt/tags/tag1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HCFVbQS0Gtgu.leedHl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HNKy7HoUfUecEVnwUGQg"/>
</p:tagLst>
</file>

<file path=ppt/tags/tag1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mFxKlwBFC0Bwz_OEjIbw"/>
</p:tagLst>
</file>

<file path=ppt/tags/tag1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WDnyoT20LanHJ.bFwNxw"/>
</p:tagLst>
</file>

<file path=ppt/tags/tag1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eUb7yPQhVsadL2zAQjpw"/>
</p:tagLst>
</file>

<file path=ppt/tags/tag1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XEG5GB9y1.6QuaToOrqg"/>
</p:tagLst>
</file>

<file path=ppt/tags/tag1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SPBifS_WNetY2aTRJbaw"/>
</p:tagLst>
</file>

<file path=ppt/tags/tag1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YjYBAeOQvrtUY7.hI4tA"/>
</p:tagLst>
</file>

<file path=ppt/tags/tag1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vZqVWqnt6wg33t.UW_fQ"/>
</p:tagLst>
</file>

<file path=ppt/tags/tag1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XQS1uq5NG_VlyatyN7Mw"/>
</p:tagLst>
</file>

<file path=ppt/tags/tag1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Igq7KhNZpMMhLW2wtadw"/>
</p:tagLst>
</file>

<file path=ppt/tags/tag1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6qqK6SmvjfYmVTSX0ek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7A3lPCNGLGQwB.k19yIQ"/>
</p:tagLst>
</file>

<file path=ppt/tags/tag1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1hdlzJthiWdVvSlySKjw"/>
</p:tagLst>
</file>

<file path=ppt/tags/tag1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.q.nryh4ODoIr_A07Y2A"/>
</p:tagLst>
</file>

<file path=ppt/tags/tag1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dB0lU9gVpjS.LOI.5P5w"/>
</p:tagLst>
</file>

<file path=ppt/tags/tag1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kiqt1A1m_b_5TKIfWLRA"/>
</p:tagLst>
</file>

<file path=ppt/tags/tag1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b34kNu6mlF97NpX.fO7g"/>
</p:tagLst>
</file>

<file path=ppt/tags/tag1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MU78hg1gVCt.57JotwrQ"/>
</p:tagLst>
</file>

<file path=ppt/tags/tag1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B4bysF0iApjY3b1asKYg"/>
</p:tagLst>
</file>

<file path=ppt/tags/tag1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dAPqiVjR5Yy7Fn6EYPng"/>
</p:tagLst>
</file>

<file path=ppt/tags/tag1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zGV3QcEGz3cew8lT9WrQ"/>
</p:tagLst>
</file>

<file path=ppt/tags/tag1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xHWl9LP4yWgHcHKkJW7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7QzSzNSr2gupO9tQjvGg"/>
</p:tagLst>
</file>

<file path=ppt/tags/tag1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YodH9fg24vX4Ja1aGbHQ"/>
</p:tagLst>
</file>

<file path=ppt/tags/tag1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MCTWhX1m.Dy6EfLStbmw"/>
</p:tagLst>
</file>

<file path=ppt/tags/tag1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nIzt2P1SOEdvfLGohXMA"/>
</p:tagLst>
</file>

<file path=ppt/tags/tag1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in8sbIotXAxZ_9ubVsNg"/>
</p:tagLst>
</file>

<file path=ppt/tags/tag1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vNO0YaMZ9U88StxzQ2kQ"/>
</p:tagLst>
</file>

<file path=ppt/tags/tag1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VgAPGnHxsgy.mJVgyQNQ"/>
</p:tagLst>
</file>

<file path=ppt/tags/tag1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jUp_cq_jHbmt5_fwaEmA"/>
</p:tagLst>
</file>

<file path=ppt/tags/tag1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Qyx6MwJtpb6IIKZx2AtQ"/>
</p:tagLst>
</file>

<file path=ppt/tags/tag1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Lz9J0PxsiWFZs4Se3uXg"/>
</p:tagLst>
</file>

<file path=ppt/tags/tag1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40dpltZgtxhIIiv1VHf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RLrkzgoXZUs7DUARsRUg"/>
</p:tagLst>
</file>

<file path=ppt/tags/tag1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72VAkUdjddwGIVEWMJESQ"/>
</p:tagLst>
</file>

<file path=ppt/tags/tag1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OxO8QaBZHAal_iviXfwQ"/>
</p:tagLst>
</file>

<file path=ppt/tags/tag1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KwO2aJk8RQPcjLSzEZOw"/>
</p:tagLst>
</file>

<file path=ppt/tags/tag1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mNIsQA9iIPqAv3Nmi1dA"/>
</p:tagLst>
</file>

<file path=ppt/tags/tag1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3HV.lTEWhYsoYbc91rOQ"/>
</p:tagLst>
</file>

<file path=ppt/tags/tag1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mlhyreX.AvOZ5LFvrIAw"/>
</p:tagLst>
</file>

<file path=ppt/tags/tag1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MlY0e5mSP9x_TU54UkfA"/>
</p:tagLst>
</file>

<file path=ppt/tags/tag1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dmvesR3LbPXqOWj1wLLg"/>
</p:tagLst>
</file>

<file path=ppt/tags/tag1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Fmd3Y349Q9T_tKc7KI9A"/>
</p:tagLst>
</file>

<file path=ppt/tags/tag1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CEWqc0nmfflV351ZsfO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w3Rz8qpvh3Sc_iGSC.qQ"/>
</p:tagLst>
</file>

<file path=ppt/tags/tag1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4ajkOBY4SEf.DjXrAYvw"/>
</p:tagLst>
</file>

<file path=ppt/tags/tag1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mX7eVLp6hBNLsEjFic5A"/>
</p:tagLst>
</file>

<file path=ppt/tags/tag1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1WzCqqRcslniYrP6goDg"/>
</p:tagLst>
</file>

<file path=ppt/tags/tag1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JLJjF0WPwpgZJ2d7Lz6w"/>
</p:tagLst>
</file>

<file path=ppt/tags/tag1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cjnYrQkhiW2.3lhKBN5Q"/>
</p:tagLst>
</file>

<file path=ppt/tags/tag1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T7_TNvYkOgP0zw.X9zpA"/>
</p:tagLst>
</file>

<file path=ppt/tags/tag1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fK95NWPhVzCBYKy0Oj4g"/>
</p:tagLst>
</file>

<file path=ppt/tags/tag1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B4q7L7p1EHUlafLbfE1Q"/>
</p:tagLst>
</file>

<file path=ppt/tags/tag1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ltjVGMP5_u6mL4UJm_U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kPRGcmBWD49d2bhVFKiA"/>
</p:tagLst>
</file>

<file path=ppt/tags/tag1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NhhzldKc_6ym5lqfB0mA"/>
</p:tagLst>
</file>

<file path=ppt/tags/tag1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bygPnu.bH5AufKuuvQWA"/>
</p:tagLst>
</file>

<file path=ppt/tags/tag1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NgRPao9UU23sI5fk_XDg"/>
</p:tagLst>
</file>

<file path=ppt/tags/tag1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aoBPQeKtzWPVCuw0mz7g"/>
</p:tagLst>
</file>

<file path=ppt/tags/tag1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0eIycx1qxBIvVcJM44ug"/>
</p:tagLst>
</file>

<file path=ppt/tags/tag1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Z62P01GFx_u6vxDFxFxA"/>
</p:tagLst>
</file>

<file path=ppt/tags/tag1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JBRtRzICMk2Fcqntja4w"/>
</p:tagLst>
</file>

<file path=ppt/tags/tag1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yas4CFMNxnOCx.9Ar.OA"/>
</p:tagLst>
</file>

<file path=ppt/tags/tag1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71zdAkqSW8QqkQZxvpbA"/>
</p:tagLst>
</file>

<file path=ppt/tags/tag1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ranu0y9DJuxBKpgq8_j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yKCDiHddhwrrZG2cE37A"/>
</p:tagLst>
</file>

<file path=ppt/tags/tag1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kmG1bXgGj9c784beUSMg"/>
</p:tagLst>
</file>

<file path=ppt/tags/tag1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LkxB51wyDj3QsRwzmj1A"/>
</p:tagLst>
</file>

<file path=ppt/tags/tag1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sjxx_kc0KQiW_.JYiL8w"/>
</p:tagLst>
</file>

<file path=ppt/tags/tag1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2PQNqzogsVtkwIZcuhmw"/>
</p:tagLst>
</file>

<file path=ppt/tags/tag1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jUsLSYIi7pREOAcEkE4A"/>
</p:tagLst>
</file>

<file path=ppt/tags/tag1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YkEbghpo5dDD1JhQJv9w"/>
</p:tagLst>
</file>

<file path=ppt/tags/tag1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eKIz17FD4bi.K4DrgDsA"/>
</p:tagLst>
</file>

<file path=ppt/tags/tag1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cZJCA314EM4T3K0T5mWQ"/>
</p:tagLst>
</file>

<file path=ppt/tags/tag1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uwCEAfP_YkTHaVx8Qslw"/>
</p:tagLst>
</file>

<file path=ppt/tags/tag1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gEZuIfmi29vY8hTVTN0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qRR0P5GRFWl00OJvHVAg"/>
</p:tagLst>
</file>

<file path=ppt/tags/tag1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UKKLH38Oo1jKFV6.rf.A"/>
</p:tagLst>
</file>

<file path=ppt/tags/tag1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Edb0YV3igPFieyzCl0lA"/>
</p:tagLst>
</file>

<file path=ppt/tags/tag1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Ee0GiIh2M2oZWRM7Jnhw"/>
</p:tagLst>
</file>

<file path=ppt/tags/tag1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z7IobY8x2Lr_1pO4IcSA"/>
</p:tagLst>
</file>

<file path=ppt/tags/tag1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OXk_mP98O_mstE5ns9Zw"/>
</p:tagLst>
</file>

<file path=ppt/tags/tag1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aQXElktBQ2boMcu_PJ7A"/>
</p:tagLst>
</file>

<file path=ppt/tags/tag1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7EecZfEWhtfZXzWGi8IQQ"/>
</p:tagLst>
</file>

<file path=ppt/tags/tag1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QuMaZ5_FtLBKIgy7I_Cw"/>
</p:tagLst>
</file>

<file path=ppt/tags/tag1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iyfLUH_n4nAJ8IYo05_Q"/>
</p:tagLst>
</file>

<file path=ppt/tags/tag1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0QQdwRsZKLKqW8U9s88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i.WDgxnGEybIIPJ1Lv0A"/>
</p:tagLst>
</file>

<file path=ppt/tags/tag1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8OdzFQbVX3XeHJJIt_jA"/>
</p:tagLst>
</file>

<file path=ppt/tags/tag1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go2ba5gUHxEDZQtSEx1Q"/>
</p:tagLst>
</file>

<file path=ppt/tags/tag1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GsblrnR7LIhgIjlpkXsQ"/>
</p:tagLst>
</file>

<file path=ppt/tags/tag1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r4fz.Vx5X9PIAYH469fg"/>
</p:tagLst>
</file>

<file path=ppt/tags/tag1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otwXIuOJegAnypzRJGSw"/>
</p:tagLst>
</file>

<file path=ppt/tags/tag1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i7iMLFTgq1Rbs04ZfY3g"/>
</p:tagLst>
</file>

<file path=ppt/tags/tag1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V4K1bISAEPqwzqv9qMew"/>
</p:tagLst>
</file>

<file path=ppt/tags/tag1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qu7iJ8G4JpxeS_7x_3Jw"/>
</p:tagLst>
</file>

<file path=ppt/tags/tag1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GFnHVB5ibdvxz18vJ6Uw"/>
</p:tagLst>
</file>

<file path=ppt/tags/tag1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0eOx2HesyadIdMgp0nJ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6Pvqfkg8ef0Vz7u_2BzA"/>
</p:tagLst>
</file>

<file path=ppt/tags/tag1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2V8OROOxML7sDsDdbWww"/>
</p:tagLst>
</file>

<file path=ppt/tags/tag1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qbp75uxbDfNDyFfuoI0g"/>
</p:tagLst>
</file>

<file path=ppt/tags/tag1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_g2J2LWgW82VtkYfaCFw"/>
</p:tagLst>
</file>

<file path=ppt/tags/tag1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Bbs1s43QU8dq_FMNDNiQ"/>
</p:tagLst>
</file>

<file path=ppt/tags/tag1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0irfeTrd26_fdmaoz4Rg"/>
</p:tagLst>
</file>

<file path=ppt/tags/tag1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PiJ9cfBfcZ_7SqiFf0qg"/>
</p:tagLst>
</file>

<file path=ppt/tags/tag1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UlF2I2OCcLQjNL6UIctg"/>
</p:tagLst>
</file>

<file path=ppt/tags/tag1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L77srfoBsL32sa1h5RAg"/>
</p:tagLst>
</file>

<file path=ppt/tags/tag1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ifwDPv9IvjH6AL5ylO1g"/>
</p:tagLst>
</file>

<file path=ppt/tags/tag1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J07BxDcCi1DJGOR.uti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0afyV4EYmPbC.uE0St5w"/>
</p:tagLst>
</file>

<file path=ppt/tags/tag1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RcbCnfb8ManRd93qurHg"/>
</p:tagLst>
</file>

<file path=ppt/tags/tag1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ceDrs6T4Eo1KIKsM68Q"/>
</p:tagLst>
</file>

<file path=ppt/tags/tag1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XLuXysWPtaILQlzrBzyw"/>
</p:tagLst>
</file>

<file path=ppt/tags/tag1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S710Omv5.Oke3bdKwNBQ"/>
</p:tagLst>
</file>

<file path=ppt/tags/tag1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t0eGigH9rf9Euv8SoB9Q"/>
</p:tagLst>
</file>

<file path=ppt/tags/tag1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Ot2xLcWhEtV7DSk7DjMQ"/>
</p:tagLst>
</file>

<file path=ppt/tags/tag1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39OjHbwe5cqYIemRDfSA"/>
</p:tagLst>
</file>

<file path=ppt/tags/tag1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f0psr0GfnzAcDy0RZ2rw"/>
</p:tagLst>
</file>

<file path=ppt/tags/tag1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jhDMrEjM7vNE_qnssDjA"/>
</p:tagLst>
</file>

<file path=ppt/tags/tag1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S23swiDV2H5mpsKWSsB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kX4ApEyRKduy6I1pvUNQ"/>
</p:tagLst>
</file>

<file path=ppt/tags/tag1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4h.yMoYLwdYQXsOcov0w"/>
</p:tagLst>
</file>

<file path=ppt/tags/tag1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IMMCaLufYF_09FpFprCQ"/>
</p:tagLst>
</file>

<file path=ppt/tags/tag1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L22FbSh5r57rMtnO3Ncg"/>
</p:tagLst>
</file>

<file path=ppt/tags/tag1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MOvAJABjJjzLIK85EPNQ"/>
</p:tagLst>
</file>

<file path=ppt/tags/tag1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8Quh24XSacyVfpDzGo9Q"/>
</p:tagLst>
</file>

<file path=ppt/tags/tag1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HNKy7HoUfUecEVnwUGQg"/>
</p:tagLst>
</file>

<file path=ppt/tags/tag1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w3Rz8qpvh3Sc_iGSC.qQ"/>
</p:tagLst>
</file>

<file path=ppt/tags/tag1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es_Yj7K_bJmda2Js81IQ"/>
</p:tagLst>
</file>

<file path=ppt/tags/tag1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RLrkzgoXZUs7DUARsRUg"/>
</p:tagLst>
</file>

<file path=ppt/tags/tag1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GOy87FKhtUqwvrmbDd1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yXK9F00u1.FpCJzulcJA"/>
</p:tagLst>
</file>

<file path=ppt/tags/tag1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7QzSzNSr2gupO9tQjvGg"/>
</p:tagLst>
</file>

<file path=ppt/tags/tag1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7A3lPCNGLGQwB.k19yIQ"/>
</p:tagLst>
</file>

<file path=ppt/tags/tag1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kPRGcmBWD49d2bhVFKiA"/>
</p:tagLst>
</file>

<file path=ppt/tags/tag1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yKCDiHddhwrrZG2cE37A"/>
</p:tagLst>
</file>

<file path=ppt/tags/tag1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qRR0P5GRFWl00OJvHVAg"/>
</p:tagLst>
</file>

<file path=ppt/tags/tag1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iP4wlkthqJ3Mo9NSVNTw"/>
</p:tagLst>
</file>

<file path=ppt/tags/tag1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i.WDgxnGEybIIPJ1Lv0A"/>
</p:tagLst>
</file>

<file path=ppt/tags/tag1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WZoaMpkauVlnePwjfSaw"/>
</p:tagLst>
</file>

<file path=ppt/tags/tag1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TPe1ZF1aMYLLD3LS5tnA"/>
</p:tagLst>
</file>

<file path=ppt/tags/tag1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mAEWp1pBSYmoA.verqZ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pPzwiyhwH.R_jcYBeHTw"/>
</p:tagLst>
</file>

<file path=ppt/tags/tag1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Q3r8hOlcQWhAuLhQexZQ"/>
</p:tagLst>
</file>

<file path=ppt/tags/tag1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wGxT3ncZiwSutiJcS8AA"/>
</p:tagLst>
</file>

<file path=ppt/tags/tag1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A2WaAprZwXIRHAp8L.Ew"/>
</p:tagLst>
</file>

<file path=ppt/tags/tag1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Ri_.BQXpCqKVWlGrCNMA"/>
</p:tagLst>
</file>

<file path=ppt/tags/tag1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q.lhX5fYKCZsmSQzB._g"/>
</p:tagLst>
</file>

<file path=ppt/tags/tag1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PKxBYOfEo.Jdg.PYn6gw"/>
</p:tagLst>
</file>

<file path=ppt/tags/tag1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PADlZnhSTx7rvhJKJ9iA"/>
</p:tagLst>
</file>

<file path=ppt/tags/tag1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Z_.G8wmAHUi2s1L7Mo5g"/>
</p:tagLst>
</file>

<file path=ppt/tags/tag1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aApdOYn092a1FqqVThvQ"/>
</p:tagLst>
</file>

<file path=ppt/tags/tag1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Jpqi7j7deUeauWdYCAj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ZXQt9IysQ9bWLbia9SqQ"/>
</p:tagLst>
</file>

<file path=ppt/tags/tag1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maLlNuZxQkwpgVcJNi1A"/>
</p:tagLst>
</file>

<file path=ppt/tags/tag1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lnIhCAIJBGeQExn5C3Bw"/>
</p:tagLst>
</file>

<file path=ppt/tags/tag1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g.0579RoI7iBf.GYa3bg"/>
</p:tagLst>
</file>

<file path=ppt/tags/tag1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1c2SxQNXt3MXZ9h0VE.A"/>
</p:tagLst>
</file>

<file path=ppt/tags/tag1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azuqCpbZfhAiDbcFmxrQ"/>
</p:tagLst>
</file>

<file path=ppt/tags/tag1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pTGNwwGAy32qu60PjWlQ"/>
</p:tagLst>
</file>

<file path=ppt/tags/tag1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akEZuvd0BdXJ_2Jxh.iw"/>
</p:tagLst>
</file>

<file path=ppt/tags/tag1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4Sw3FdProW4kEcXMCOfQ"/>
</p:tagLst>
</file>

<file path=ppt/tags/tag1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.j0V8DACGUXHiCUrOScA"/>
</p:tagLst>
</file>

<file path=ppt/tags/tag1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6Pvqfkg8ef0Vz7u_2Bz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T9E07LGdDA8Yr9DMoGVA"/>
</p:tagLst>
</file>

<file path=ppt/tags/tag1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0afyV4EYmPbC.uE0St5w"/>
</p:tagLst>
</file>

<file path=ppt/tags/tag1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yXK9F00u1.FpCJzulcJA"/>
</p:tagLst>
</file>

<file path=ppt/tags/tag1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pPzwiyhwH.R_jcYBeHTw"/>
</p:tagLst>
</file>

<file path=ppt/tags/tag1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kX4ApEyRKduy6I1pvUNQ"/>
</p:tagLst>
</file>

<file path=ppt/tags/tag1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ZXQt9IysQ9bWLbia9SqQ"/>
</p:tagLst>
</file>

<file path=ppt/tags/tag1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T9E07LGdDA8Yr9DMoGVA"/>
</p:tagLst>
</file>

<file path=ppt/tags/tag1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4FgZyWJD3QP7oepemo2Q"/>
</p:tagLst>
</file>

<file path=ppt/tags/tag1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5MMXFsFWf5Qy24qKRr9Q"/>
</p:tagLst>
</file>

<file path=ppt/tags/tag1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PqyFaxyYdzn5ohIyRWhg"/>
</p:tagLst>
</file>

<file path=ppt/tags/tag1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Yrmlq6TRBtfgf.0.5Vc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4FgZyWJD3QP7oepemo2Q"/>
</p:tagLst>
</file>

<file path=ppt/tags/tag1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_h7O6b2aX.tU5k4ZDR3g"/>
</p:tagLst>
</file>

<file path=ppt/tags/tag1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VSI7kHXpKBndynBIrvbA"/>
</p:tagLst>
</file>

<file path=ppt/tags/tag1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TeuIfz4xdUWgVM0uWUOg"/>
</p:tagLst>
</file>

<file path=ppt/tags/tag1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ffSkIxVs142Lxo9JCodA"/>
</p:tagLst>
</file>

<file path=ppt/tags/tag1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dQJgruKaiLr9N.yXhYuQ"/>
</p:tagLst>
</file>

<file path=ppt/tags/tag1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nQLJSpnn2wGizChR6wMg"/>
</p:tagLst>
</file>

<file path=ppt/tags/tag1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uQipHYKASgxSo8v76m7A"/>
</p:tagLst>
</file>

<file path=ppt/tags/tag1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vcYwdnibUmIx5uRPNXQA"/>
</p:tagLst>
</file>

<file path=ppt/tags/tag1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DbXoMlvk790wRNnVSaww"/>
</p:tagLst>
</file>

<file path=ppt/tags/tag1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GPDWIF8q36jHED_RgC4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5MMXFsFWf5Qy24qKRr9Q"/>
</p:tagLst>
</file>

<file path=ppt/tags/tag1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2shEu3wXedZOTbO91DMw"/>
</p:tagLst>
</file>

<file path=ppt/tags/tag1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kTDeOLmNGvM3RrzxJfDg"/>
</p:tagLst>
</file>

<file path=ppt/tags/tag1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6Qw7Qz.fRH2.NbaUhOxQ"/>
</p:tagLst>
</file>

<file path=ppt/tags/tag1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a_vpLaujnQgjz...VJEQ"/>
</p:tagLst>
</file>

<file path=ppt/tags/tag1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q4qMxkbTmlHF2viAKtVw"/>
</p:tagLst>
</file>

<file path=ppt/tags/tag1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peBLPSKz2Ltpaz.ZDpBw"/>
</p:tagLst>
</file>

<file path=ppt/tags/tag1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Ejij85lgVMotZ7e9HcWw"/>
</p:tagLst>
</file>

<file path=ppt/tags/tag1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HVmpWGfpSMJtpHAv3zIg"/>
</p:tagLst>
</file>

<file path=ppt/tags/tag1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HCFVbQS0Gtgu.leedHlg"/>
</p:tagLst>
</file>

<file path=ppt/tags/tag1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mFxKlwBFC0Bwz_OEjIb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PqyFaxyYdzn5ohIyRWhg"/>
</p:tagLst>
</file>

<file path=ppt/tags/tag1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WDnyoT20LanHJ.bFwNxw"/>
</p:tagLst>
</file>

<file path=ppt/tags/tag1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eUb7yPQhVsadL2zAQjpw"/>
</p:tagLst>
</file>

<file path=ppt/tags/tag1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XEG5GB9y1.6QuaToOrqg"/>
</p:tagLst>
</file>

<file path=ppt/tags/tag1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SPBifS_WNetY2aTRJbaw"/>
</p:tagLst>
</file>

<file path=ppt/tags/tag1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YjYBAeOQvrtUY7.hI4tA"/>
</p:tagLst>
</file>

<file path=ppt/tags/tag1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vZqVWqnt6wg33t.UW_fQ"/>
</p:tagLst>
</file>

<file path=ppt/tags/tag1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XQS1uq5NG_VlyatyN7Mw"/>
</p:tagLst>
</file>

<file path=ppt/tags/tag1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Igq7KhNZpMMhLW2wtadw"/>
</p:tagLst>
</file>

<file path=ppt/tags/tag1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6qqK6SmvjfYmVTSX0ekg"/>
</p:tagLst>
</file>

<file path=ppt/tags/tag1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1hdlzJthiWdVvSlySKj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Yrmlq6TRBtfgf.0.5Vcg"/>
</p:tagLst>
</file>

<file path=ppt/tags/tag1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.q.nryh4ODoIr_A07Y2A"/>
</p:tagLst>
</file>

<file path=ppt/tags/tag1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dB0lU9gVpjS.LOI.5P5w"/>
</p:tagLst>
</file>

<file path=ppt/tags/tag1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kiqt1A1m_b_5TKIfWLRA"/>
</p:tagLst>
</file>

<file path=ppt/tags/tag1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b34kNu6mlF97NpX.fO7g"/>
</p:tagLst>
</file>

<file path=ppt/tags/tag1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MU78hg1gVCt.57JotwrQ"/>
</p:tagLst>
</file>

<file path=ppt/tags/tag1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B4bysF0iApjY3b1asKYg"/>
</p:tagLst>
</file>

<file path=ppt/tags/tag1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dAPqiVjR5Yy7Fn6EYPng"/>
</p:tagLst>
</file>

<file path=ppt/tags/tag1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zGV3QcEGz3cew8lT9WrQ"/>
</p:tagLst>
</file>

<file path=ppt/tags/tag1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xHWl9LP4yWgHcHKkJW7Q"/>
</p:tagLst>
</file>

<file path=ppt/tags/tag1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YodH9fg24vX4Ja1aGbH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VSI7kHXpKBndynBIrvbA"/>
</p:tagLst>
</file>

<file path=ppt/tags/tag1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MCTWhX1m.Dy6EfLStbmw"/>
</p:tagLst>
</file>

<file path=ppt/tags/tag1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nIzt2P1SOEdvfLGohXMA"/>
</p:tagLst>
</file>

<file path=ppt/tags/tag1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in8sbIotXAxZ_9ubVsNg"/>
</p:tagLst>
</file>

<file path=ppt/tags/tag1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vNO0YaMZ9U88StxzQ2kQ"/>
</p:tagLst>
</file>

<file path=ppt/tags/tag1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VgAPGnHxsgy.mJVgyQNQ"/>
</p:tagLst>
</file>

<file path=ppt/tags/tag1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jUp_cq_jHbmt5_fwaEmA"/>
</p:tagLst>
</file>

<file path=ppt/tags/tag1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Qyx6MwJtpb6IIKZx2AtQ"/>
</p:tagLst>
</file>

<file path=ppt/tags/tag1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Lz9J0PxsiWFZs4Se3uXg"/>
</p:tagLst>
</file>

<file path=ppt/tags/tag1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40dpltZgtxhIIiv1VHfg"/>
</p:tagLst>
</file>

<file path=ppt/tags/tag1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72VAkUdjddwGIVEWMJES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TeuIfz4xdUWgVM0uWUOg"/>
</p:tagLst>
</file>

<file path=ppt/tags/tag1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OxO8QaBZHAal_iviXfwQ"/>
</p:tagLst>
</file>

<file path=ppt/tags/tag1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KwO2aJk8RQPcjLSzEZOw"/>
</p:tagLst>
</file>

<file path=ppt/tags/tag1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mNIsQA9iIPqAv3Nmi1dA"/>
</p:tagLst>
</file>

<file path=ppt/tags/tag1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3HV.lTEWhYsoYbc91rOQ"/>
</p:tagLst>
</file>

<file path=ppt/tags/tag1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mlhyreX.AvOZ5LFvrIAw"/>
</p:tagLst>
</file>

<file path=ppt/tags/tag1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MlY0e5mSP9x_TU54UkfA"/>
</p:tagLst>
</file>

<file path=ppt/tags/tag1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dmvesR3LbPXqOWj1wLLg"/>
</p:tagLst>
</file>

<file path=ppt/tags/tag1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Fmd3Y349Q9T_tKc7KI9A"/>
</p:tagLst>
</file>

<file path=ppt/tags/tag1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CEWqc0nmfflV351ZsfOQ"/>
</p:tagLst>
</file>

<file path=ppt/tags/tag1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_h7O6b2aX.tU5k4ZDR3g"/>
</p:tagLst>
</file>

<file path=ppt/tags/tag1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4ajkOBY4SEf.DjXrAYvw"/>
</p:tagLst>
</file>

<file path=ppt/tags/tag1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mX7eVLp6hBNLsEjFic5A"/>
</p:tagLst>
</file>

<file path=ppt/tags/tag1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1WzCqqRcslniYrP6goDg"/>
</p:tagLst>
</file>

<file path=ppt/tags/tag1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JLJjF0WPwpgZJ2d7Lz6w"/>
</p:tagLst>
</file>

<file path=ppt/tags/tag1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cjnYrQkhiW2.3lhKBN5Q"/>
</p:tagLst>
</file>

<file path=ppt/tags/tag1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T7_TNvYkOgP0zw.X9zpA"/>
</p:tagLst>
</file>

<file path=ppt/tags/tag1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fK95NWPhVzCBYKy0Oj4g"/>
</p:tagLst>
</file>

<file path=ppt/tags/tag1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B4q7L7p1EHUlafLbfE1Q"/>
</p:tagLst>
</file>

<file path=ppt/tags/tag1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ltjVGMP5_u6mL4UJm_Uw"/>
</p:tagLst>
</file>

<file path=ppt/tags/tag1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NhhzldKc_6ym5lqfB0m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DbXoMlvk790wRNnVSaww"/>
</p:tagLst>
</file>

<file path=ppt/tags/tag1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bygPnu.bH5AufKuuvQWA"/>
</p:tagLst>
</file>

<file path=ppt/tags/tag1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NgRPao9UU23sI5fk_XDg"/>
</p:tagLst>
</file>

<file path=ppt/tags/tag1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aoBPQeKtzWPVCuw0mz7g"/>
</p:tagLst>
</file>

<file path=ppt/tags/tag1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0eIycx1qxBIvVcJM44ug"/>
</p:tagLst>
</file>

<file path=ppt/tags/tag1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Z62P01GFx_u6vxDFxFxA"/>
</p:tagLst>
</file>

<file path=ppt/tags/tag1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JBRtRzICMk2Fcqntja4w"/>
</p:tagLst>
</file>

<file path=ppt/tags/tag1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yas4CFMNxnOCx.9Ar.OA"/>
</p:tagLst>
</file>

<file path=ppt/tags/tag1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71zdAkqSW8QqkQZxvpbA"/>
</p:tagLst>
</file>

<file path=ppt/tags/tag1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ranu0y9DJuxBKpgq8_jg"/>
</p:tagLst>
</file>

<file path=ppt/tags/tag1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kmG1bXgGj9c784beUSM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GPDWIF8q36jHED_RgC4A"/>
</p:tagLst>
</file>

<file path=ppt/tags/tag1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LkxB51wyDj3QsRwzmj1A"/>
</p:tagLst>
</file>

<file path=ppt/tags/tag1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sjxx_kc0KQiW_.JYiL8w"/>
</p:tagLst>
</file>

<file path=ppt/tags/tag1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2PQNqzogsVtkwIZcuhmw"/>
</p:tagLst>
</file>

<file path=ppt/tags/tag1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jUsLSYIi7pREOAcEkE4A"/>
</p:tagLst>
</file>

<file path=ppt/tags/tag1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YkEbghpo5dDD1JhQJv9w"/>
</p:tagLst>
</file>

<file path=ppt/tags/tag1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eKIz17FD4bi.K4DrgDsA"/>
</p:tagLst>
</file>

<file path=ppt/tags/tag1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cZJCA314EM4T3K0T5mWQ"/>
</p:tagLst>
</file>

<file path=ppt/tags/tag1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uwCEAfP_YkTHaVx8Qslw"/>
</p:tagLst>
</file>

<file path=ppt/tags/tag1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gEZuIfmi29vY8hTVTN0w"/>
</p:tagLst>
</file>

<file path=ppt/tags/tag1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UKKLH38Oo1jKFV6.rf.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vcYwdnibUmIx5uRPNXQA"/>
</p:tagLst>
</file>

<file path=ppt/tags/tag1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Edb0YV3igPFieyzCl0lA"/>
</p:tagLst>
</file>

<file path=ppt/tags/tag1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Ee0GiIh2M2oZWRM7Jnhw"/>
</p:tagLst>
</file>

<file path=ppt/tags/tag1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z7IobY8x2Lr_1pO4IcSA"/>
</p:tagLst>
</file>

<file path=ppt/tags/tag1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OXk_mP98O_mstE5ns9Zw"/>
</p:tagLst>
</file>

<file path=ppt/tags/tag1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aQXElktBQ2boMcu_PJ7A"/>
</p:tagLst>
</file>

<file path=ppt/tags/tag1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7EecZfEWhtfZXzWGi8IQQ"/>
</p:tagLst>
</file>

<file path=ppt/tags/tag1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QuMaZ5_FtLBKIgy7I_Cw"/>
</p:tagLst>
</file>

<file path=ppt/tags/tag1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iyfLUH_n4nAJ8IYo05_Q"/>
</p:tagLst>
</file>

<file path=ppt/tags/tag1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0QQdwRsZKLKqW8U9s88w"/>
</p:tagLst>
</file>

<file path=ppt/tags/tag1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8OdzFQbVX3XeHJJIt_j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ffSkIxVs142Lxo9JCodA"/>
</p:tagLst>
</file>

<file path=ppt/tags/tag1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go2ba5gUHxEDZQtSEx1Q"/>
</p:tagLst>
</file>

<file path=ppt/tags/tag1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GsblrnR7LIhgIjlpkXsQ"/>
</p:tagLst>
</file>

<file path=ppt/tags/tag1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r4fz.Vx5X9PIAYH469fg"/>
</p:tagLst>
</file>

<file path=ppt/tags/tag1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otwXIuOJegAnypzRJGSw"/>
</p:tagLst>
</file>

<file path=ppt/tags/tag1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i7iMLFTgq1Rbs04ZfY3g"/>
</p:tagLst>
</file>

<file path=ppt/tags/tag1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V4K1bISAEPqwzqv9qMew"/>
</p:tagLst>
</file>

<file path=ppt/tags/tag1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qu7iJ8G4JpxeS_7x_3Jw"/>
</p:tagLst>
</file>

<file path=ppt/tags/tag1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GFnHVB5ibdvxz18vJ6Uw"/>
</p:tagLst>
</file>

<file path=ppt/tags/tag1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0eOx2HesyadIdMgp0nJA"/>
</p:tagLst>
</file>

<file path=ppt/tags/tag1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2V8OROOxML7sDsDdbWw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uQipHYKASgxSo8v76m7A"/>
</p:tagLst>
</file>

<file path=ppt/tags/tag1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qbp75uxbDfNDyFfuoI0g"/>
</p:tagLst>
</file>

<file path=ppt/tags/tag1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_g2J2LWgW82VtkYfaCFw"/>
</p:tagLst>
</file>

<file path=ppt/tags/tag1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Bbs1s43QU8dq_FMNDNiQ"/>
</p:tagLst>
</file>

<file path=ppt/tags/tag1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0irfeTrd26_fdmaoz4Rg"/>
</p:tagLst>
</file>

<file path=ppt/tags/tag1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PiJ9cfBfcZ_7SqiFf0qg"/>
</p:tagLst>
</file>

<file path=ppt/tags/tag1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UlF2I2OCcLQjNL6UIctg"/>
</p:tagLst>
</file>

<file path=ppt/tags/tag1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L77srfoBsL32sa1h5RAg"/>
</p:tagLst>
</file>

<file path=ppt/tags/tag1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ifwDPv9IvjH6AL5ylO1g"/>
</p:tagLst>
</file>

<file path=ppt/tags/tag1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J07BxDcCi1DJGOR.utiA"/>
</p:tagLst>
</file>

<file path=ppt/tags/tag1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RcbCnfb8ManRd93qurH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dQJgruKaiLr9N.yXhYuQ"/>
</p:tagLst>
</file>

<file path=ppt/tags/tag1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ceDrs6T4Eo1KIKsM68Q"/>
</p:tagLst>
</file>

<file path=ppt/tags/tag1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XLuXysWPtaILQlzrBzyw"/>
</p:tagLst>
</file>

<file path=ppt/tags/tag1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S710Omv5.Oke3bdKwNBQ"/>
</p:tagLst>
</file>

<file path=ppt/tags/tag1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t0eGigH9rf9Euv8SoB9Q"/>
</p:tagLst>
</file>

<file path=ppt/tags/tag1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Ot2xLcWhEtV7DSk7DjMQ"/>
</p:tagLst>
</file>

<file path=ppt/tags/tag1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39OjHbwe5cqYIemRDfSA"/>
</p:tagLst>
</file>

<file path=ppt/tags/tag1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f0psr0GfnzAcDy0RZ2rw"/>
</p:tagLst>
</file>

<file path=ppt/tags/tag1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jhDMrEjM7vNE_qnssDjA"/>
</p:tagLst>
</file>

<file path=ppt/tags/tag1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S23swiDV2H5mpsKWSsBw"/>
</p:tagLst>
</file>

<file path=ppt/tags/tag1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4h.yMoYLwdYQXsOcov0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nQLJSpnn2wGizChR6wMg"/>
</p:tagLst>
</file>

<file path=ppt/tags/tag1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IMMCaLufYF_09FpFprCQ"/>
</p:tagLst>
</file>

<file path=ppt/tags/tag1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L22FbSh5r57rMtnO3Ncg"/>
</p:tagLst>
</file>

<file path=ppt/tags/tag1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MOvAJABjJjzLIK85EPNQ"/>
</p:tagLst>
</file>

<file path=ppt/tags/tag1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8Quh24XSacyVfpDzGo9Q"/>
</p:tagLst>
</file>

<file path=ppt/tags/tag1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HNKy7HoUfUecEVnwUGQg"/>
</p:tagLst>
</file>

<file path=ppt/tags/tag1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w3Rz8qpvh3Sc_iGSC.qQ"/>
</p:tagLst>
</file>

<file path=ppt/tags/tag1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es_Yj7K_bJmda2Js81IQ"/>
</p:tagLst>
</file>

<file path=ppt/tags/tag1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RLrkzgoXZUs7DUARsRUg"/>
</p:tagLst>
</file>

<file path=ppt/tags/tag1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GOy87FKhtUqwvrmbDd1A"/>
</p:tagLst>
</file>

<file path=ppt/tags/tag1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7QzSzNSr2gupO9tQjvG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HCFVbQS0Gtgu.leedHlg"/>
</p:tagLst>
</file>

<file path=ppt/tags/tag1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7A3lPCNGLGQwB.k19yIQ"/>
</p:tagLst>
</file>

<file path=ppt/tags/tag1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kPRGcmBWD49d2bhVFKiA"/>
</p:tagLst>
</file>

<file path=ppt/tags/tag1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yKCDiHddhwrrZG2cE37A"/>
</p:tagLst>
</file>

<file path=ppt/tags/tag1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qRR0P5GRFWl00OJvHVAg"/>
</p:tagLst>
</file>

<file path=ppt/tags/tag1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iP4wlkthqJ3Mo9NSVNTw"/>
</p:tagLst>
</file>

<file path=ppt/tags/tag1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i.WDgxnGEybIIPJ1Lv0A"/>
</p:tagLst>
</file>

<file path=ppt/tags/tag1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WZoaMpkauVlnePwjfSaw"/>
</p:tagLst>
</file>

<file path=ppt/tags/tag1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TPe1ZF1aMYLLD3LS5tnA"/>
</p:tagLst>
</file>

<file path=ppt/tags/tag1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mAEWp1pBSYmoA.verqZg"/>
</p:tagLst>
</file>

<file path=ppt/tags/tag1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Q3r8hOlcQWhAuLhQexZ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2shEu3wXedZOTbO91DMw"/>
</p:tagLst>
</file>

<file path=ppt/tags/tag1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wGxT3ncZiwSutiJcS8AA"/>
</p:tagLst>
</file>

<file path=ppt/tags/tag1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A2WaAprZwXIRHAp8L.Ew"/>
</p:tagLst>
</file>

<file path=ppt/tags/tag1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Ri_.BQXpCqKVWlGrCNMA"/>
</p:tagLst>
</file>

<file path=ppt/tags/tag1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q.lhX5fYKCZsmSQzB._g"/>
</p:tagLst>
</file>

<file path=ppt/tags/tag1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PKxBYOfEo.Jdg.PYn6gw"/>
</p:tagLst>
</file>

<file path=ppt/tags/tag1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PADlZnhSTx7rvhJKJ9iA"/>
</p:tagLst>
</file>

<file path=ppt/tags/tag1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Z_.G8wmAHUi2s1L7Mo5g"/>
</p:tagLst>
</file>

<file path=ppt/tags/tag1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aApdOYn092a1FqqVThvQ"/>
</p:tagLst>
</file>

<file path=ppt/tags/tag1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Jpqi7j7deUeauWdYCAjA"/>
</p:tagLst>
</file>

<file path=ppt/tags/tag1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maLlNuZxQkwpgVcJNi1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Ejij85lgVMotZ7e9HcWw"/>
</p:tagLst>
</file>

<file path=ppt/tags/tag1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lnIhCAIJBGeQExn5C3Bw"/>
</p:tagLst>
</file>

<file path=ppt/tags/tag1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g.0579RoI7iBf.GYa3bg"/>
</p:tagLst>
</file>

<file path=ppt/tags/tag1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1c2SxQNXt3MXZ9h0VE.A"/>
</p:tagLst>
</file>

<file path=ppt/tags/tag1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azuqCpbZfhAiDbcFmxrQ"/>
</p:tagLst>
</file>

<file path=ppt/tags/tag1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pTGNwwGAy32qu60PjWlQ"/>
</p:tagLst>
</file>

<file path=ppt/tags/tag1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akEZuvd0BdXJ_2Jxh.iw"/>
</p:tagLst>
</file>

<file path=ppt/tags/tag1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4Sw3FdProW4kEcXMCOfQ"/>
</p:tagLst>
</file>

<file path=ppt/tags/tag1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.j0V8DACGUXHiCUrOScA"/>
</p:tagLst>
</file>

<file path=ppt/tags/tag1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6Pvqfkg8ef0Vz7u_2BzA"/>
</p:tagLst>
</file>

<file path=ppt/tags/tag1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0afyV4EYmPbC.uE0St5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peBLPSKz2Ltpaz.ZDpBw"/>
</p:tagLst>
</file>

<file path=ppt/tags/tag1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yXK9F00u1.FpCJzulcJA"/>
</p:tagLst>
</file>

<file path=ppt/tags/tag1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pPzwiyhwH.R_jcYBeHTw"/>
</p:tagLst>
</file>

<file path=ppt/tags/tag1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kX4ApEyRKduy6I1pvUNQ"/>
</p:tagLst>
</file>

<file path=ppt/tags/tag1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ZXQt9IysQ9bWLbia9SqQ"/>
</p:tagLst>
</file>

<file path=ppt/tags/tag1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T9E07LGdDA8Yr9DMoGVA"/>
</p:tagLst>
</file>

<file path=ppt/tags/tag1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4FgZyWJD3QP7oepemo2Q"/>
</p:tagLst>
</file>

<file path=ppt/tags/tag1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5MMXFsFWf5Qy24qKRr9Q"/>
</p:tagLst>
</file>

<file path=ppt/tags/tag1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PqyFaxyYdzn5ohIyRWhg"/>
</p:tagLst>
</file>

<file path=ppt/tags/tag1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Yrmlq6TRBtfgf.0.5Vcg"/>
</p:tagLst>
</file>

<file path=ppt/tags/tag1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_h7O6b2aX.tU5k4ZDR3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a_vpLaujnQgjz...VJEQ"/>
</p:tagLst>
</file>

<file path=ppt/tags/tag1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VSI7kHXpKBndynBIrvbA"/>
</p:tagLst>
</file>

<file path=ppt/tags/tag1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TeuIfz4xdUWgVM0uWUOg"/>
</p:tagLst>
</file>

<file path=ppt/tags/tag1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ffSkIxVs142Lxo9JCodA"/>
</p:tagLst>
</file>

<file path=ppt/tags/tag1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dQJgruKaiLr9N.yXhYuQ"/>
</p:tagLst>
</file>

<file path=ppt/tags/tag1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nQLJSpnn2wGizChR6wMg"/>
</p:tagLst>
</file>

<file path=ppt/tags/tag1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uQipHYKASgxSo8v76m7A"/>
</p:tagLst>
</file>

<file path=ppt/tags/tag1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vcYwdnibUmIx5uRPNXQA"/>
</p:tagLst>
</file>

<file path=ppt/tags/tag1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DbXoMlvk790wRNnVSaww"/>
</p:tagLst>
</file>

<file path=ppt/tags/tag1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GPDWIF8q36jHED_RgC4A"/>
</p:tagLst>
</file>

<file path=ppt/tags/tag1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2shEu3wXedZOTbO91DM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HVmpWGfpSMJtpHAv3zIg"/>
</p:tagLst>
</file>

<file path=ppt/tags/tag1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kTDeOLmNGvM3RrzxJfDg"/>
</p:tagLst>
</file>

<file path=ppt/tags/tag1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6Qw7Qz.fRH2.NbaUhOxQ"/>
</p:tagLst>
</file>

<file path=ppt/tags/tag1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a_vpLaujnQgjz...VJEQ"/>
</p:tagLst>
</file>

<file path=ppt/tags/tag1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q4qMxkbTmlHF2viAKtVw"/>
</p:tagLst>
</file>

<file path=ppt/tags/tag1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peBLPSKz2Ltpaz.ZDpBw"/>
</p:tagLst>
</file>

<file path=ppt/tags/tag1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Ejij85lgVMotZ7e9HcWw"/>
</p:tagLst>
</file>

<file path=ppt/tags/tag1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HVmpWGfpSMJtpHAv3zIg"/>
</p:tagLst>
</file>

<file path=ppt/tags/tag1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HCFVbQS0Gtgu.leedHlg"/>
</p:tagLst>
</file>

<file path=ppt/tags/tag1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mFxKlwBFC0Bwz_OEjIbw"/>
</p:tagLst>
</file>

<file path=ppt/tags/tag1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WDnyoT20LanHJ.bFwNx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q4qMxkbTmlHF2viAKtVw"/>
</p:tagLst>
</file>

<file path=ppt/tags/tag1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eUb7yPQhVsadL2zAQjpw"/>
</p:tagLst>
</file>

<file path=ppt/tags/tag1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XEG5GB9y1.6QuaToOrqg"/>
</p:tagLst>
</file>

<file path=ppt/tags/tag1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SPBifS_WNetY2aTRJbaw"/>
</p:tagLst>
</file>

<file path=ppt/tags/tag1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YjYBAeOQvrtUY7.hI4tA"/>
</p:tagLst>
</file>

<file path=ppt/tags/tag1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vZqVWqnt6wg33t.UW_fQ"/>
</p:tagLst>
</file>

<file path=ppt/tags/tag1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XQS1uq5NG_VlyatyN7Mw"/>
</p:tagLst>
</file>

<file path=ppt/tags/tag1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Igq7KhNZpMMhLW2wtadw"/>
</p:tagLst>
</file>

<file path=ppt/tags/tag1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6qqK6SmvjfYmVTSX0ekg"/>
</p:tagLst>
</file>

<file path=ppt/tags/tag1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1hdlzJthiWdVvSlySKjw"/>
</p:tagLst>
</file>

<file path=ppt/tags/tag1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.q.nryh4ODoIr_A07Y2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kTDeOLmNGvM3RrzxJfDg"/>
</p:tagLst>
</file>

<file path=ppt/tags/tag1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dB0lU9gVpjS.LOI.5P5w"/>
</p:tagLst>
</file>

<file path=ppt/tags/tag1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kiqt1A1m_b_5TKIfWLRA"/>
</p:tagLst>
</file>

<file path=ppt/tags/tag1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b34kNu6mlF97NpX.fO7g"/>
</p:tagLst>
</file>

<file path=ppt/tags/tag1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MU78hg1gVCt.57JotwrQ"/>
</p:tagLst>
</file>

<file path=ppt/tags/tag1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B4bysF0iApjY3b1asKYg"/>
</p:tagLst>
</file>

<file path=ppt/tags/tag1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dAPqiVjR5Yy7Fn6EYPng"/>
</p:tagLst>
</file>

<file path=ppt/tags/tag1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zGV3QcEGz3cew8lT9WrQ"/>
</p:tagLst>
</file>

<file path=ppt/tags/tag1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xHWl9LP4yWgHcHKkJW7Q"/>
</p:tagLst>
</file>

<file path=ppt/tags/tag1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YodH9fg24vX4Ja1aGbHQ"/>
</p:tagLst>
</file>

<file path=ppt/tags/tag1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MCTWhX1m.Dy6EfLStbm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6Qw7Qz.fRH2.NbaUhOxQ"/>
</p:tagLst>
</file>

<file path=ppt/tags/tag1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nIzt2P1SOEdvfLGohXMA"/>
</p:tagLst>
</file>

<file path=ppt/tags/tag1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in8sbIotXAxZ_9ubVsNg"/>
</p:tagLst>
</file>

<file path=ppt/tags/tag1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vNO0YaMZ9U88StxzQ2kQ"/>
</p:tagLst>
</file>

<file path=ppt/tags/tag1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VgAPGnHxsgy.mJVgyQNQ"/>
</p:tagLst>
</file>

<file path=ppt/tags/tag1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jUp_cq_jHbmt5_fwaEmA"/>
</p:tagLst>
</file>

<file path=ppt/tags/tag1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Qyx6MwJtpb6IIKZx2AtQ"/>
</p:tagLst>
</file>

<file path=ppt/tags/tag1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Lz9J0PxsiWFZs4Se3uXg"/>
</p:tagLst>
</file>

<file path=ppt/tags/tag1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40dpltZgtxhIIiv1VHfg"/>
</p:tagLst>
</file>

<file path=ppt/tags/tag1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72VAkUdjddwGIVEWMJESQ"/>
</p:tagLst>
</file>

<file path=ppt/tags/tag1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OxO8QaBZHAal_iviXfw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mFxKlwBFC0Bwz_OEjIbw"/>
</p:tagLst>
</file>

<file path=ppt/tags/tag1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KwO2aJk8RQPcjLSzEZOw"/>
</p:tagLst>
</file>

<file path=ppt/tags/tag1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mNIsQA9iIPqAv3Nmi1dA"/>
</p:tagLst>
</file>

<file path=ppt/tags/tag1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3HV.lTEWhYsoYbc91rOQ"/>
</p:tagLst>
</file>

<file path=ppt/tags/tag1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mlhyreX.AvOZ5LFvrIAw"/>
</p:tagLst>
</file>

<file path=ppt/tags/tag1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MlY0e5mSP9x_TU54UkfA"/>
</p:tagLst>
</file>

<file path=ppt/tags/tag1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dmvesR3LbPXqOWj1wLLg"/>
</p:tagLst>
</file>

<file path=ppt/tags/tag1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Fmd3Y349Q9T_tKc7KI9A"/>
</p:tagLst>
</file>

<file path=ppt/tags/tag1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CEWqc0nmfflV351ZsfOQ"/>
</p:tagLst>
</file>

<file path=ppt/tags/tag1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1ac5629-1082-48fc-97b2-c721530aa77b"/>
  <p:tag name="MIO_STRING_IGNORE_CHECKSUM_FOR_NEXT_SAVE" val="False"/>
  <p:tag name="MIO_CONTENTTAG" val="P3Ox1YlBIEiQ6R3ChoUjuY/wZYv1pCZNgqF9W6zdW2k="/>
</p:tagLst>
</file>

<file path=ppt/tags/tag1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LEVEL_STRING" val="6"/>
  <p:tag name="MIO_AGENDA_ELEMENTNAME" val="Next Steps"/>
  <p:tag name="MIO_AGENDA_EXPLICIT_ITEM_LEVEL_TAG" val="0"/>
  <p:tag name="MIO_AGENDA_NUMBER_STRING_TAG" val="06"/>
  <p:tag name="MIO_AGENDA_SCALEMODE_FIT_TO_SLIDE_TAG" val="True"/>
  <p:tag name="MIO_EKGUID" val="8bb094a3-79dd-4d1a-b521-2b831b4fdc01"/>
  <p:tag name="MIO_GUID" val="eca77e4a-126e-448e-b441-1d0d36de20c9"/>
  <p:tag name="MIO_VERSION" val="31.12.9999 23:59:59"/>
  <p:tag name="MIO_DBID" val="F91B0394-2DB4-4D5E-A007-7612FA556223"/>
  <p:tag name="MIO_LASTDOWNLOADED" val="21.09.2025 16:00:26.674"/>
  <p:tag name="MIO_UPDATE" val="Fals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YjYBAeOQvrtUY7.hI4tA"/>
</p:tagLst>
</file>

<file path=ppt/tags/tag1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</p:tagLst>
</file>

<file path=ppt/tags/tag1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1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1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1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1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1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1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1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1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XEG5GB9y1.6QuaToOrqg"/>
</p:tagLst>
</file>

<file path=ppt/tags/tag1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1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1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1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WDnyoT20LanHJ.bFwNx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1hdlzJthiWdVvSlySKj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XQS1uq5NG_VlyatyN7M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Igq7KhNZpMMhLW2wtad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SPBifS_WNetY2aTRJba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.q.nryh4ODoIr_A07Y2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eUb7yPQhVsadL2zAQjp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vNO0YaMZ9U88StxzQ2k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YodH9fg24vX4Ja1aGbH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MCTWhX1m.Dy6EfLStbm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in8sbIotXAxZ_9ubVs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VgAPGnHxsgy.mJVgyQN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jUp_cq_jHbmt5_fwaEm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dmvesR3LbPXqOWj1wLL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dAPqiVjR5Yy7Fn6EYPn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Fmd3Y349Q9T_tKc7KI9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3HV.lTEWhYsoYbc91rO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KwO2aJk8RQPcjLSzEZO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OxO8QaBZHAal_iviXfw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nIzt2P1SOEdvfLGohXM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dB0lU9gVpjS.LOI.5P5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Lz9J0PxsiWFZs4Se3uX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Qyx6MwJtpb6IIKZx2At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MlY0e5mSP9x_TU54Ukf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mNIsQA9iIPqAv3Nmi1d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xHWl9LP4yWgHcHKkJW7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B4bysF0iApjY3b1asKY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CEWqc0nmfflV351ZsfO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40dpltZgtxhIIiv1VHf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kiqt1A1m_b_5TKIfWLR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b34kNu6mlF97NpX.fO7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mlhyreX.AvOZ5LFvrIA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MU78hg1gVCt.57Jotwr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72VAkUdjddwGIVEWMJES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1ac5629-1082-48fc-97b2-c721530aa77b"/>
  <p:tag name="MIO_STRING_IGNORE_CHECKSUM_FOR_NEXT_SAVE" val="False"/>
  <p:tag name="MIO_CONTENTTAG" val="P3Ox1YlBIEiQ6R3ChoUjuY/wZYv1pCZNgqF9W6zdW2k=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LEVEL_STRING" val="4"/>
  <p:tag name="MIO_AGENDA_ELEMENTNAME" val="Installation Plan Quadru-Poles (Status 09.2025)"/>
  <p:tag name="MIO_AGENDA_EXPLICIT_ITEM_LEVEL_TAG" val="0"/>
  <p:tag name="MIO_AGENDA_NUMBER_STRING_TAG" val="04"/>
  <p:tag name="MIO_AGENDA_SCALEMODE_FIT_TO_SLIDE_TAG" val="True"/>
  <p:tag name="MIO_EKGUID" val="8bb094a3-79dd-4d1a-b521-2b831b4fdc01"/>
  <p:tag name="MIO_GUID" val="27f083cd-d429-435c-a9a7-a8b5c88aac87"/>
  <p:tag name="MIO_VERSION" val="31.12.9999 23:59:59"/>
  <p:tag name="MIO_DBID" val="F91B0394-2DB4-4D5E-A007-7612FA556223"/>
  <p:tag name="MIO_LASTDOWNLOADED" val="21.09.2025 16:00:26.257"/>
  <p:tag name="MIO_UPDATE" val="Fals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4ajkOBY4SEf.DjXrAYv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JLJjF0WPwpgZJ2d7Lz6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mX7eVLp6hBNLsEjFic5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1WzCqqRcslniYrP6goD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cjnYrQkhiW2.3lhKBN5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T7_TNvYkOgP0zw.X9zp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fK95NWPhVzCBYKy0Oj4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B4q7L7p1EHUlafLbfE1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ltjVGMP5_u6mL4UJm_U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NhhzldKc_6ym5lqfB0m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1ac5629-1082-48fc-97b2-c721530aa77b"/>
  <p:tag name="MIO_STRING_IGNORE_CHECKSUM_FOR_NEXT_SAVE" val="False"/>
  <p:tag name="MIO_CONTENTTAG" val="P3Ox1YlBIEiQ6R3ChoUjuY/wZYv1pCZNgqF9W6zdW2k=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bygPnu.bH5AufKuuvQW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NgRPao9UU23sI5fk_XD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aoBPQeKtzWPVCuw0mz7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0eIycx1qxBIvVcJM44u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Z62P01GFx_u6vxDFxFx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JBRtRzICMk2Fcqntja4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yas4CFMNxnOCx.9Ar.O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71zdAkqSW8QqkQZxvpb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ranu0y9DJuxBKpgq8_j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kmG1bXgGj9c784beUSM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LEVEL_STRING" val="2"/>
  <p:tag name="MIO_AGENDA_ELEMENTNAME" val="Status Quo Installation (Status 2024)"/>
  <p:tag name="MIO_AGENDA_EXPLICIT_ITEM_LEVEL_TAG" val="0"/>
  <p:tag name="MIO_AGENDA_NUMBER_STRING_TAG" val="02"/>
  <p:tag name="MIO_AGENDA_SCALEMODE_FIT_TO_SLIDE_TAG" val="True"/>
  <p:tag name="MIO_EKGUID" val="8bb094a3-79dd-4d1a-b521-2b831b4fdc01"/>
  <p:tag name="MIO_GUID" val="a0c3c7f8-04be-4dc4-98b2-afe0bf21da50"/>
  <p:tag name="MIO_VERSION" val="31.12.9999 23:59:59"/>
  <p:tag name="MIO_DBID" val="F91B0394-2DB4-4D5E-A007-7612FA556223"/>
  <p:tag name="MIO_LASTDOWNLOADED" val="21.09.2025 16:00:25.865"/>
  <p:tag name="MIO_UPDATE" val="Fals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LkxB51wyDj3QsRwzmj1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sjxx_kc0KQiW_.JYiL8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2PQNqzogsVtkwIZcuhm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jUsLSYIi7pREOAcEkE4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YkEbghpo5dDD1JhQJv9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eKIz17FD4bi.K4DrgDs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cZJCA314EM4T3K0T5mW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uwCEAfP_YkTHaVx8Qsl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gEZuIfmi29vY8hTVTN0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UKKLH38Oo1jKFV6.rf.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Edb0YV3igPFieyzCl0l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Ee0GiIh2M2oZWRM7Jnh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z7IobY8x2Lr_1pO4IcS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OXk_mP98O_mstE5ns9Z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aQXElktBQ2boMcu_PJ7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7EecZfEWhtfZXzWGi8IQ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QuMaZ5_FtLBKIgy7I_C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iyfLUH_n4nAJ8IYo05_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0QQdwRsZKLKqW8U9s88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8OdzFQbVX3XeHJJIt_j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go2ba5gUHxEDZQtSEx1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GsblrnR7LIhgIjlpkXs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r4fz.Vx5X9PIAYH469f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otwXIuOJegAnypzRJGS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i7iMLFTgq1Rbs04ZfY3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V4K1bISAEPqwzqv9qMe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qu7iJ8G4JpxeS_7x_3J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GFnHVB5ibdvxz18vJ6U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0eOx2HesyadIdMgp0nJ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2V8OROOxML7sDsDdbWw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qbp75uxbDfNDyFfuoI0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_g2J2LWgW82VtkYfaCF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Bbs1s43QU8dq_FMNDNi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0irfeTrd26_fdmaoz4R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PiJ9cfBfcZ_7SqiFf0q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UlF2I2OCcLQjNL6UIct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L77srfoBsL32sa1h5RA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ifwDPv9IvjH6AL5ylO1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J07BxDcCi1DJGOR.uti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RcbCnfb8ManRd93qurH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ceDrs6T4Eo1KIKsM68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XLuXysWPtaILQlzrBzy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S710Omv5.Oke3bdKwNB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t0eGigH9rf9Euv8SoB9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Ot2xLcWhEtV7DSk7DjM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39OjHbwe5cqYIemRDfS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IMMCaLufYF_09FpFprC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jhDMrEjM7vNE_qnssDj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f0psr0GfnzAcDy0RZ2r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S23swiDV2H5mpsKWSsB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4h.yMoYLwdYQXsOcov0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8Quh24XSacyVfpDzGo9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7A3lPCNGLGQwB.k19yI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7QzSzNSr2gupO9tQjvG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RLrkzgoXZUs7DUARsRU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w3Rz8qpvh3Sc_iGSC.q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L22FbSh5r57rMtnO3Ncg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MOvAJABjJjzLIK85EPN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es_Yj7K_bJmda2Js81I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HNKy7HoUfUecEVnwUGQ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SHOW_DATE" val="False"/>
  <p:tag name="MIO_SHOW_FOOTER" val="True"/>
  <p:tag name="MIO_SHOW_PAGENUMBER" val="True"/>
  <p:tag name="MIO_AVOID_BLANK_LAYOUT" val="True"/>
  <p:tag name="MIO_CD_LAYOUT_VALID_AREA" val="False"/>
  <p:tag name="MIO_HDS" val="True"/>
  <p:tag name="MIO_SKIPVERSION" val="01.01.0001 00:00:00"/>
  <p:tag name="MIO_UPDATE" val="True"/>
  <p:tag name="MIO_DBID" val="F91B0394-2DB4-4D5E-A007-7612FA556223"/>
  <p:tag name="MIO_LASTEDITORNAME" val="Tatjana Hänsch"/>
  <p:tag name="MIO_FALLBACK_LAYOUT" val="10"/>
  <p:tag name="MIO_OBJECTNAME" val="16:9 Drees &amp; Sommer"/>
  <p:tag name="MIO_EKGUID" val="73a10be0-471b-4457-a6de-dfc3d29123e5"/>
  <p:tag name="MIO_MATCH_COLOR_SCHEME" val="True"/>
  <p:tag name="MIO_EMBED_FONT" val="False"/>
  <p:tag name="MIO_NUMBER_OF_VALID_LAYOUTS" val="31"/>
  <p:tag name="MIO_VERSION" val="08.05.2025 14:38:10"/>
  <p:tag name="MIO_LASTDOWNLOADED" val="12.05.2025 10:08:47.236"/>
  <p:tag name="MIO_CONTENTTAG" val="ntWX9qr/nU2xLMnKzeLegw=="/>
  <p:tag name="MIO_CDID" val="aa9e26f0-d14d-40a1-920e-6bb861640638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GOy87FKhtUqwvrmbDd1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kPRGcmBWD49d2bhVFKi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yKCDiHddhwrrZG2cE37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qRR0P5GRFWl00OJvHVA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iP4wlkthqJ3Mo9NSVNT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i.WDgxnGEybIIPJ1Lv0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Z_.G8wmAHUi2s1L7Mo5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mAEWp1pBSYmoA.verqZ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Q3r8hOlcQWhAuLhQexZ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wGxT3ncZiwSutiJcS8A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Ri_.BQXpCqKVWlGrCNM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A2WaAprZwXIRHAp8L.E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TPe1ZF1aMYLLD3LS5tn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WZoaMpkauVlnePwjfSa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aApdOYn092a1FqqVThvQ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PKxBYOfEo.Jdg.PYn6g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PADlZnhSTx7rvhJKJ9i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q.lhX5fYKCZsmSQzB._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0afyV4EYmPbC.uE0St5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6Pvqfkg8ef0Vz7u_2Bz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kX4ApEyRKduy6I1pvUNQ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pPzwiyhwH.R_jcYBeHT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ZXQt9IysQ9bWLbia9Sq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yXK9F00u1.FpCJzulcJ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4FgZyWJD3QP7oepemo2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PqyFaxyYdzn5ohIyRWhg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5MMXFsFWf5Qy24qKRr9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T9E07LGdDA8Yr9DMoGVA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_h7O6b2aX.tU5k4ZDR3g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VSI7kHXpKBndynBIrvb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TeuIfz4xdUWgVM0uWUO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Yrmlq6TRBtfgf.0.5Vc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GPDWIF8q36jHED_RgC4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DbXoMlvk790wRNnVSaw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dQJgruKaiLr9N.yXhYu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uQipHYKASgxSo8v76m7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ffSkIxVs142Lxo9JCo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nQLJSpnn2wGizChR6wM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vcYwdnibUmIx5uRPNXQ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Ejij85lgVMotZ7e9HcW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HVmpWGfpSMJtpHAv3zI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peBLPSKz2Ltpaz.ZDpBw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a_vpLaujnQgjz...VJE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2shEu3wXedZOTbO91DMw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q4qMxkbTmlHF2viAKtV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mFxKlwBFC0Bwz_OEjIb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kTDeOLmNGvM3RrzxJfD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6Qw7Qz.fRH2.NbaUhOx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HCFVbQS0Gtgu.leedHl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SPBifS_WNetY2aTRJba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WDnyoT20LanHJ.bFwNxw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Igq7KhNZpMMhLW2wtadw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XQS1uq5NG_VlyatyN7M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YjYBAeOQvrtUY7.hI4t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6qqK6SmvjfYmVTSX0ekg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eUb7yPQhVsadL2zAQjpw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XEG5GB9y1.6QuaToOrq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vZqVWqnt6wg33t.UW_f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.q.nryh4ODoIr_A07Y2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1hdlzJthiWdVvSlySKj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B4bysF0iApjY3b1asKYg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jUp_cq_jHbmt5_fwaEmA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VgAPGnHxsgy.mJVgyQN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in8sbIotXAxZ_9ubVsN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b34kNu6mlF97NpX.fO7g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MlY0e5mSP9x_TU54Ukf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mNIsQA9iIPqAv3Nmi1d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40dpltZgtxhIIiv1VHf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kiqt1A1m_b_5TKIfWLRA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YodH9fg24vX4Ja1aGbH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MCTWhX1m.Dy6EfLStbmw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dmvesR3LbPXqOWj1wLL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dB0lU9gVpjS.LOI.5P5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MU78hg1gVCt.57JotwrQ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CEWqc0nmfflV351ZsfO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dAPqiVjR5Yy7Fn6EYPn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Qyx6MwJtpb6IIKZx2AtQ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Lz9J0PxsiWFZs4Se3uXg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72VAkUdjddwGIVEWMJESQ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vNO0YaMZ9U88StxzQ2k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zGV3QcEGz3cew8lT9WrQ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KwO2aJk8RQPcjLSzEZO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3HV.lTEWhYsoYbc91rOQ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OxO8QaBZHAal_iviXfwQ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mlhyreX.AvOZ5LFvrIAw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nIzt2P1SOEdvfLGohXMA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Fmd3Y349Q9T_tKc7KI9A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xHWl9LP4yWgHcHKkJW7Q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4ajkOBY4SEf.DjXrAYv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1ac5629-1082-48fc-97b2-c721530aa77b"/>
  <p:tag name="MIO_STRING_IGNORE_CHECKSUM_FOR_NEXT_SAVE" val="False"/>
  <p:tag name="MIO_CONTENTTAG" val="P3Ox1YlBIEiQ6R3ChoUjuY/wZYv1pCZNgqF9W6zdW2k=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mX7eVLp6hBNLsEjFic5A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1WzCqqRcslniYrP6goDg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JLJjF0WPwpgZJ2d7Lz6w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cjnYrQkhiW2.3lhKBN5Q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T7_TNvYkOgP0zw.X9zpA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fK95NWPhVzCBYKy0Oj4g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B4q7L7p1EHUlafLbfE1Q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ltjVGMP5_u6mL4UJm_U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NhhzldKc_6ym5lqfB0mA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bygPnu.bH5AufKuuvQW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1_Drees &amp; SommerMIOPlaceholderMapping.CV_6 project picturesMIOPlaceholderMapping.26MIOPlaceholderMapping.first name last nameMIOPlaceholderMapping.0MIOPlaceholderMapping-Drees &amp; Sommer 2023MIOPlaceholderMapping.CV_6 project picturesMIOPlaceholderMapping.28MIOPlaceholderMapping.first name last nameMIOPlaceholderMapping.0MIOPlaceholderMapping;1_Drees &amp; SommerMIOPlaceholderMapping.CV_6 project picturesMIOPlaceholderMapping.26MIOPlaceholderMapping.title of profession positionMIOPlaceholderMapping.18MIOPlaceholderMapping-Drees &amp; Sommer 2023MIOPlaceholderMapping.CV_6 project picturesMIOPlaceholderMapping.28MIOPlaceholderMapping.title of profession positionMIOPlaceholderMapping.18MIOPlaceholderMapping;1_Drees &amp; SommerMIOPlaceholderMapping.CV_6 project picturesMIOPlaceholderMapping.26MIOPlaceholderMapping.text contact detailsMIOPlaceholderMapping.27MIOPlaceholderMapping-Drees &amp; Sommer 2023MIOPlaceholderMapping.CV_6 project picturesMIOPlaceholderMapping.28MIOPlaceholderMapping.text contact detailsMIOPlaceholderMapping.27MIOPlaceholderMapping;1_Drees &amp; SommerMIOPlaceholderMapping.CV_6 project picturesMIOPlaceholderMapping.26MIOPlaceholderMapping.header work historyMIOPlaceholderMapping.26MIOPlaceholderMapping-Drees &amp; Sommer 2023MIOPlaceholderMapping.CV_6 project picturesMIOPlaceholderMapping.28MIOPlaceholderMapping.header work historyMIOPlaceholderMapping.26MIOPlaceholderMapping;1_Drees &amp; SommerMIOPlaceholderMapping.CV_6 project picturesMIOPlaceholderMapping.26MIOPlaceholderMapping.text work historyMIOPlaceholderMapping.28MIOPlaceholderMapping-Drees &amp; Sommer 2023MIOPlaceholderMapping.CV_6 project picturesMIOPlaceholderMapping.28MIOPlaceholderMapping.text work historyMIOPlaceholderMapping.28MIOPlaceholderMapping;1_Drees &amp; SommerMIOPlaceholderMapping.CV_6 project picturesMIOPlaceholderMapping.26MIOPlaceholderMapping.header functionsMIOPlaceholderMapping.42MIOPlaceholderMapping-Drees &amp; Sommer 2023MIOPlaceholderMapping.CV_6 project picturesMIOPlaceholderMapping.28MIOPlaceholderMapping.header functionsMIOPlaceholderMapping.42MIOPlaceholderMapping;1_Drees &amp; SommerMIOPlaceholderMapping.CV_6 project picturesMIOPlaceholderMapping.26MIOPlaceholderMapping.text functionsMIOPlaceholderMapping.43MIOPlaceholderMapping-Drees &amp; Sommer 2023MIOPlaceholderMapping.CV_6 project picturesMIOPlaceholderMapping.28MIOPlaceholderMapping.text functionsMIOPlaceholderMapping.43MIOPlaceholderMapping;1_Drees &amp; SommerMIOPlaceholderMapping.CV_6 project picturesMIOPlaceholderMapping.26MIOPlaceholderMapping.header referenceMIOPlaceholderMapping.44MIOPlaceholderMapping-Drees &amp; Sommer 2023MIOPlaceholderMapping.CV_6 project picturesMIOPlaceholderMapping.28MIOPlaceholderMapping.header referenceMIOPlaceholderMapping.44MIOPlaceholderMapping;1_Drees &amp; SommerMIOPlaceholderMapping.CV_6 project picturesMIOPlaceholderMapping.26MIOPlaceholderMapping.text referenceMIOPlaceholderMapping.45MIOPlaceholderMapping-Drees &amp; Sommer 2023MIOPlaceholderMapping.CV_6 project picturesMIOPlaceholderMapping.28MIOPlaceholderMapping.text referenceMIOPlaceholderMapping.4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LEVEL_STRING" val="3"/>
  <p:tag name="MIO_AGENDA_ELEMENTNAME" val="Status Quo delivery dates Quadru-Poles"/>
  <p:tag name="MIO_AGENDA_EXPLICIT_ITEM_LEVEL_TAG" val="0"/>
  <p:tag name="MIO_AGENDA_NUMBER_STRING_TAG" val="03"/>
  <p:tag name="MIO_AGENDA_SCALEMODE_FIT_TO_SLIDE_TAG" val="True"/>
  <p:tag name="MIO_EKGUID" val="8bb094a3-79dd-4d1a-b521-2b831b4fdc01"/>
  <p:tag name="MIO_GUID" val="411989a9-4ed4-44b9-944f-51f3c540c8ee"/>
  <p:tag name="MIO_VERSION" val="31.12.9999 23:59:59"/>
  <p:tag name="MIO_DBID" val="F91B0394-2DB4-4D5E-A007-7612FA556223"/>
  <p:tag name="MIO_LASTDOWNLOADED" val="21.09.2025 16:00:26.058"/>
  <p:tag name="MIO_UPDATE" val="Fals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NgRPao9UU23sI5fk_XDg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aoBPQeKtzWPVCuw0mz7g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0eIycx1qxBIvVcJM44ug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Z62P01GFx_u6vxDFxFxA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JBRtRzICMk2Fcqntja4w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yas4CFMNxnOCx.9Ar.OA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71zdAkqSW8QqkQZxvpbA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ranu0y9DJuxBKpgq8_jg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kmG1bXgGj9c784beUSMg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LkxB51wyDj3QsRwzmj1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sjxx_kc0KQiW_.JYiL8w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2PQNqzogsVtkwIZcuhmw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jUsLSYIi7pREOAcEkE4A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YkEbghpo5dDD1JhQJv9w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eKIz17FD4bi.K4DrgDsA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cZJCA314EM4T3K0T5mWQ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uwCEAfP_YkTHaVx8Qslw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gEZuIfmi29vY8hTVTN0w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UKKLH38Oo1jKFV6.rf.A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Edb0YV3igPFieyzCl0l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Ee0GiIh2M2oZWRM7Jnhw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z7IobY8x2Lr_1pO4IcSA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OXk_mP98O_mstE5ns9Zw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aQXElktBQ2boMcu_PJ7A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7EecZfEWhtfZXzWGi8IQQ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QuMaZ5_FtLBKIgy7I_Cw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iyfLUH_n4nAJ8IYo05_Q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0QQdwRsZKLKqW8U9s88w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8OdzFQbVX3XeHJJIt_jA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go2ba5gUHxEDZQtSEx1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GsblrnR7LIhgIjlpkXsQ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r4fz.Vx5X9PIAYH469fg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otwXIuOJegAnypzRJGSw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i7iMLFTgq1Rbs04ZfY3g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V4K1bISAEPqwzqv9qMe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qu7iJ8G4JpxeS_7x_3Jw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GFnHVB5ibdvxz18vJ6Uw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0eOx2HesyadIdMgp0nJA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2V8OROOxML7sDsDdbWww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qbp75uxbDfNDyFfuoI0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_g2J2LWgW82VtkYfaCFw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Bbs1s43QU8dq_FMNDNiQ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0irfeTrd26_fdmaoz4Rg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PiJ9cfBfcZ_7SqiFf0qg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UlF2I2OCcLQjNL6UIctg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L77srfoBsL32sa1h5RAg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ifwDPv9IvjH6AL5ylO1g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J07BxDcCi1DJGOR.utiA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RcbCnfb8ManRd93qurHg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ceDrs6T4Eo1KIKsM68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XLuXysWPtaILQlzrBzyw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S710Omv5.Oke3bdKwNBQ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t0eGigH9rf9Euv8SoB9Q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Ot2xLcWhEtV7DSk7DjMQ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39OjHbwe5cqYIemRDfSA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f0psr0GfnzAcDy0RZ2rw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jhDMrEjM7vNE_qnssDjA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S23swiDV2H5mpsKWSsBw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4h.yMoYLwdYQXsOcov0w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IMMCaLufYF_09FpFprC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L22FbSh5r57rMtnO3Ncg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MOvAJABjJjzLIK85EPNQ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8Quh24XSacyVfpDzGo9Q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HNKy7HoUfUecEVnwUGQg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w3Rz8qpvh3Sc_iGSC.qQ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es_Yj7K_bJmda2Js81IQ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RLrkzgoXZUs7DUARsRUg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GOy87FKhtUqwvrmbDd1A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7QzSzNSr2gupO9tQjvGg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7A3lPCNGLGQwB.k19yI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kPRGcmBWD49d2bhVFKiA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yKCDiHddhwrrZG2cE37A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qRR0P5GRFWl00OJvHVAg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iP4wlkthqJ3Mo9NSVNTw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i.WDgxnGEybIIPJ1Lv0A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WZoaMpkauVlnePwjfSaw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TPe1ZF1aMYLLD3LS5tnA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mAEWp1pBSYmoA.verqZg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Q3r8hOlcQWhAuLhQexZQ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wGxT3ncZiwSutiJcS8A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A2WaAprZwXIRHAp8L.Ew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Ri_.BQXpCqKVWlGrCNMA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q.lhX5fYKCZsmSQzB._g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PKxBYOfEo.Jdg.PYn6gw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PADlZnhSTx7rvhJKJ9iA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Z_.G8wmAHUi2s1L7Mo5g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aApdOYn092a1FqqVThvQ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Jpqi7j7deUeauWdYCAjA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maLlNuZxQkwpgVcJNi1A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lnIhCAIJBGeQExn5C3B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g.0579RoI7iBf.GYa3bg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1c2SxQNXt3MXZ9h0VE.A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azuqCpbZfhAiDbcFmxrQ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pTGNwwGAy32qu60PjWlQ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akEZuvd0BdXJ_2Jxh.iw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4Sw3FdProW4kEcXMCOfQ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.j0V8DACGUXHiCUrOScA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6Pvqfkg8ef0Vz7u_2BzA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0afyV4EYmPbC.uE0St5w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yXK9F00u1.FpCJzulc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0d45b9d-1ee5-4f39-b9ae-174447f46109"/>
  <p:tag name="MIO_EKGUID" val="56803f72-a3d7-4aa3-b870-c8902c344449"/>
  <p:tag name="MIO_UPDATE" val="True"/>
  <p:tag name="MIO_VERSION" val="18.08.2017 10:02:12"/>
  <p:tag name="MIO_DBID" val="BB8D94EB-1BD7-4333-896B-DA4F68E4364E"/>
  <p:tag name="MIO_LASTDOWNLOADED" val="04.10.2017 15:15:36"/>
  <p:tag name="MIO_OBJECTNAME" val="MIO_VALID_LAYOUT -für individuelle Layouts"/>
  <p:tag name="MIO_LASTEDITORNAME" val="Sinja Gies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pPzwiyhwH.R_jcYBeHTw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kX4ApEyRKduy6I1pvUNQ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ZXQt9IysQ9bWLbia9SqQ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T9E07LGdDA8Yr9DMoGVA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4FgZyWJD3QP7oepemo2Q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5MMXFsFWf5Qy24qKRr9Q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PqyFaxyYdzn5ohIyRWhg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Yrmlq6TRBtfgf.0.5Vcg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_h7O6b2aX.tU5k4ZDR3g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VSI7kHXpKBndynBIrvb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TeuIfz4xdUWgVM0uWUOg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ffSkIxVs142Lxo9JCodA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dQJgruKaiLr9N.yXhYuQ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nQLJSpnn2wGizChR6wMg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uQipHYKASgxSo8v76m7A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vcYwdnibUmIx5uRPNXQA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DbXoMlvk790wRNnVSaww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GPDWIF8q36jHED_RgC4A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2shEu3wXedZOTbO91DMw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kTDeOLmNGvM3RrzxJfD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6Qw7Qz.fRH2.NbaUhOxQ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a_vpLaujnQgjz...VJEQ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q4qMxkbTmlHF2viAKtVw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peBLPSKz2Ltpaz.ZDpBw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Ejij85lgVMotZ7e9HcWw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HVmpWGfpSMJtpHAv3zIg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HCFVbQS0Gtgu.leedHlg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mFxKlwBFC0Bwz_OEjIbw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WDnyoT20LanHJ.bFwNxw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eUb7yPQhVsadL2zAQjp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XEG5GB9y1.6QuaToOrqg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SPBifS_WNetY2aTRJbaw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YjYBAeOQvrtUY7.hI4tA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vZqVWqnt6wg33t.UW_fQ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XQS1uq5NG_VlyatyN7Mw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Igq7KhNZpMMhLW2wtadw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6qqK6SmvjfYmVTSX0ekg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1hdlzJthiWdVvSlySKjw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.q.nryh4ODoIr_A07Y2A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dB0lU9gVpjS.LOI.5P5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kiqt1A1m_b_5TKIfWLRA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b34kNu6mlF97NpX.fO7g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MU78hg1gVCt.57JotwrQ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B4bysF0iApjY3b1asKYg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dAPqiVjR5Yy7Fn6EYPng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zGV3QcEGz3cew8lT9WrQ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xHWl9LP4yWgHcHKkJW7Q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YodH9fg24vX4Ja1aGbHQ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MCTWhX1m.Dy6EfLStbmw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nIzt2P1SOEdvfLGohXM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in8sbIotXAxZ_9ubVsNg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vNO0YaMZ9U88StxzQ2kQ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VgAPGnHxsgy.mJVgyQNQ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jUp_cq_jHbmt5_fwaEmA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Qyx6MwJtpb6IIKZx2AtQ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Lz9J0PxsiWFZs4Se3uXg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40dpltZgtxhIIiv1VHfg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72VAkUdjddwGIVEWMJESQ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OxO8QaBZHAal_iviXfwQ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KwO2aJk8RQPcjLSzEZO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jRiAlghnubhf7N0BrCIw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mNIsQA9iIPqAv3Nmi1dA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3HV.lTEWhYsoYbc91rOQ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mlhyreX.AvOZ5LFvrIAw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MlY0e5mSP9x_TU54UkfA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dmvesR3LbPXqOWj1wLLg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Fmd3Y349Q9T_tKc7KI9A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CEWqc0nmfflV351ZsfOQ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1ac5629-1082-48fc-97b2-c721530aa77b"/>
  <p:tag name="MIO_STRING_IGNORE_CHECKSUM_FOR_NEXT_SAVE" val="False"/>
  <p:tag name="MIO_CONTENTTAG" val="P3Ox1YlBIEiQ6R3ChoUjuY/wZYv1pCZNgqF9W6zdW2k=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LEVEL_STRING" val="5"/>
  <p:tag name="MIO_AGENDA_ELEMENTNAME" val="Open Issues / to clarify"/>
  <p:tag name="MIO_AGENDA_EXPLICIT_ITEM_LEVEL_TAG" val="0"/>
  <p:tag name="MIO_AGENDA_NUMBER_STRING_TAG" val="05"/>
  <p:tag name="MIO_AGENDA_SCALEMODE_FIT_TO_SLIDE_TAG" val="True"/>
  <p:tag name="MIO_EKGUID" val="8bb094a3-79dd-4d1a-b521-2b831b4fdc01"/>
  <p:tag name="MIO_GUID" val="278c134e-7b4e-420c-acfb-08e2514c9a0a"/>
  <p:tag name="MIO_VERSION" val="31.12.9999 23:59:59"/>
  <p:tag name="MIO_DBID" val="F91B0394-2DB4-4D5E-A007-7612FA556223"/>
  <p:tag name="MIO_LASTDOWNLOADED" val="21.09.2025 16:00:26.432"/>
  <p:tag name="MIO_UPDATE" val="False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dAfBZen2HlYVvKlEcYoA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66vcDBEC7v.bxHtpb7ow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mX7eVLp6hBNLsEjFic5A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1WzCqqRcslniYrP6goDg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JLJjF0WPwpgZJ2d7Lz6w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4ajkOBY4SEf.DjXrAYvw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cjnYrQkhiW2.3lhKBN5Q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T7_TNvYkOgP0zw.X9zpA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fK95NWPhVzCBYKy0Oj4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OTWBt.lsWvNDvmgxLbbQ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B4q7L7p1EHUlafLbfE1Q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qp52lM2rQe4xaUOAW1BQ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BdFhYahXbD_Wc38uhMXg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ltjVGMP5_u6mL4UJm_Uw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NhhzldKc_6ym5lqfB0mA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bygPnu.bH5AufKuuvQWA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NgRPao9UU23sI5fk_XDg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aoBPQeKtzWPVCuw0mz7g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0eIycx1qxBIvVcJM44ug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Z62P01GFx_u6vxDFxFx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cjnYrQkhiW2.3lhKBN5Q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JBRtRzICMk2Fcqntja4w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yas4CFMNxnOCx.9Ar.OA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71zdAkqSW8QqkQZxvpbA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ranu0y9DJuxBKpgq8_jg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kmG1bXgGj9c784beUSMg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LkxB51wyDj3QsRwzmj1A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sjxx_kc0KQiW_.JYiL8w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aPjnHDe7mkpVLlKyWWgQ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ST68OHJcpoSfyzWECXdQ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5ugmNkthBaycfxK85sD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T7_TNvYkOgP0zw.X9zpA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GgnAkvxyNoY4Fezjh_UQ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IVv4oAdATvI4sz0D8VjA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ivCDspXW_8KZ4nxyT.UA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2PQNqzogsVtkwIZcuhmw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jUsLSYIi7pREOAcEkE4A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YkEbghpo5dDD1JhQJv9w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eKIz17FD4bi.K4DrgDsA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cZJCA314EM4T3K0T5mWQ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uwCEAfP_YkTHaVx8Qslw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gEZuIfmi29vY8hTVTN0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fK95NWPhVzCBYKy0Oj4g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UKKLH38Oo1jKFV6.rf.A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Edb0YV3igPFieyzCl0lA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Ee0GiIh2M2oZWRM7Jnhw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z7IobY8x2Lr_1pO4IcSA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OXk_mP98O_mstE5ns9Zw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aQXElktBQ2boMcu_PJ7A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7EecZfEWhtfZXzWGi8IQQ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QuMaZ5_FtLBKIgy7I_Cw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iyfLUH_n4nAJ8IYo05_Q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0QQdwRsZKLKqW8U9s88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B4q7L7p1EHUlafLbfE1Q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8OdzFQbVX3XeHJJIt_jA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go2ba5gUHxEDZQtSEx1Q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GsblrnR7LIhgIjlpkXsQ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r4fz.Vx5X9PIAYH469fg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otwXIuOJegAnypzRJGSw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i7iMLFTgq1Rbs04ZfY3g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V4K1bISAEPqwzqv9qMew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qu7iJ8G4JpxeS_7x_3Jw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GFnHVB5ibdvxz18vJ6Uw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0eOx2HesyadIdMgp0nJ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NhhzldKc_6ym5lqfB0mA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2V8OROOxML7sDsDdbWww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qbp75uxbDfNDyFfuoI0g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_g2J2LWgW82VtkYfaCFw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Bbs1s43QU8dq_FMNDNiQ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0irfeTrd26_fdmaoz4Rg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PiJ9cfBfcZ_7SqiFf0qg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UlF2I2OCcLQjNL6UIctg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L77srfoBsL32sa1h5RAg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ifwDPv9IvjH6AL5ylO1g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J07BxDcCi1DJGOR.uti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bygPnu.bH5AufKuuvQWA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RcbCnfb8ManRd93qurHg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ceDrs6T4Eo1KIKsM68Q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XLuXysWPtaILQlzrBzyw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S710Omv5.Oke3bdKwNBQ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t0eGigH9rf9Euv8SoB9Q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4h.yMoYLwdYQXsOcov0w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S23swiDV2H5mpsKWSsBw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jhDMrEjM7vNE_qnssDjA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f0psr0GfnzAcDy0RZ2rw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39OjHbwe5cqYIemRDfS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NgRPao9UU23sI5fk_XDg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IMMCaLufYF_09FpFprCQ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Ot2xLcWhEtV7DSk7DjMQ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8Quh24XSacyVfpDzGo9Q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HNKy7HoUfUecEVnwUGQg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GOy87FKhtUqwvrmbDd1A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SRsbxc0Sr9A.XtF8VBIw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bZXQbOOgX.omOCzf7fUg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L22FbSh5r57rMtnO3Ncg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7A3lPCNGLGQwB.k19yIQ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7QzSzNSr2gupO9tQjvG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aoBPQeKtzWPVCuw0mz7g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RLrkzgoXZUs7DUARsRUg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w3Rz8qpvh3Sc_iGSC.qQ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MOvAJABjJjzLIK85EPNQ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es_Yj7K_bJmda2Js81IQ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yKCDiHddhwrrZG2cE37A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kPRGcmBWD49d2bhVFKiA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qRR0P5GRFWl00OJvHVAg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iP4wlkthqJ3Mo9NSVNTw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i.WDgxnGEybIIPJ1Lv0A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wGxT3ncZiwSutiJcS8A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0eIycx1qxBIvVcJM44ug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Q3r8hOlcQWhAuLhQexZQ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q.lhX5fYKCZsmSQzB._g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Ri_.BQXpCqKVWlGrCNMA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WZoaMpkauVlnePwjfSaw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TPe1ZF1aMYLLD3LS5tnA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PADlZnhSTx7rvhJKJ9iA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A2WaAprZwXIRHAp8L.Ew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mAEWp1pBSYmoA.verqZg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PKxBYOfEo.Jdg.PYn6gw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Z_.G8wmAHUi2s1L7Mo5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Z62P01GFx_u6vxDFxFxA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aApdOYn092a1FqqVThvQ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Jpqi7j7deUeauWdYCAjA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1c2SxQNXt3MXZ9h0VE.A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maLlNuZxQkwpgVcJNi1A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azuqCpbZfhAiDbcFmxrQ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akEZuvd0BdXJ_2Jxh.iw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g.0579RoI7iBf.GYa3bg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pTGNwwGAy32qu60PjWlQ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4Sw3FdProW4kEcXMCOfQ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.j0V8DACGUXHiCUrOSc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1ac5629-1082-48fc-97b2-c721530aa77b"/>
  <p:tag name="MIO_STRING_IGNORE_CHECKSUM_FOR_NEXT_SAVE" val="False"/>
  <p:tag name="MIO_CONTENTTAG" val="P3Ox1YlBIEiQ6R3ChoUjuY/wZYv1pCZNgqF9W6zdW2k=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JBRtRzICMk2Fcqntja4w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lnIhCAIJBGeQExn5C3Bw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Q0LM.HuSgD6nLiCzUs6g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Smxw4frZcICXKrkj.jyw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6Pvqfkg8ef0Vz7u_2BzA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0afyV4EYmPbC.uE0St5w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kX4ApEyRKduy6I1pvUNQ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yXK9F00u1.FpCJzulcJA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pPzwiyhwH.R_jcYBeHTw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ZXQt9IysQ9bWLbia9SqQ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T9E07LGdDA8Yr9DMoGV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yas4CFMNxnOCx.9Ar.OA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5MMXFsFWf5Qy24qKRr9Q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PqyFaxyYdzn5ohIyRWhg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4FgZyWJD3QP7oepemo2Q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VSI7kHXpKBndynBIrvbA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TeuIfz4xdUWgVM0uWUOg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_h7O6b2aX.tU5k4ZDR3g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Yrmlq6TRBtfgf.0.5Vcg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dQJgruKaiLr9N.yXhYuQ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nQLJSpnn2wGizChR6wMg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DbXoMlvk790wRNnVSaw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71zdAkqSW8QqkQZxvpbA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GPDWIF8q36jHED_RgC4A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uQipHYKASgxSo8v76m7A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ffSkIxVs142Lxo9JCodA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vcYwdnibUmIx5uRPNXQA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HVmpWGfpSMJtpHAv3zIg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Ejij85lgVMotZ7e9HcWw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a_vpLaujnQgjz...VJEQ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6Qw7Qz.fRH2.NbaUhOxQ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peBLPSKz2Ltpaz.ZDpBw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2shEu3wXedZOTbO91DM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ranu0y9DJuxBKpgq8_jg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HCFVbQS0Gtgu.leedHlg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q4qMxkbTmlHF2viAKtVw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mFxKlwBFC0Bwz_OEjIbw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kTDeOLmNGvM3RrzxJfDg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XEG5GB9y1.6QuaToOrqg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vZqVWqnt6wg33t.UW_fQ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6qqK6SmvjfYmVTSX0ekg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Igq7KhNZpMMhLW2wtadw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XQS1uq5NG_VlyatyN7Mw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1hdlzJthiWdVvSlySKj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kmG1bXgGj9c784beUSMg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WDnyoT20LanHJ.bFwNxw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YjYBAeOQvrtUY7.hI4tA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eUb7yPQhVsadL2zAQjpw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.q.nryh4ODoIr_A07Y2A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SPBifS_WNetY2aTRJbaw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zGV3QcEGz3cew8lT9WrQ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YodH9fg24vX4Ja1aGbHQ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MCTWhX1m.Dy6EfLStbmw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nIzt2P1SOEdvfLGohXMA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CEWqc0nmfflV351ZsfO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LkxB51wyDj3QsRwzmj1A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in8sbIotXAxZ_9ubVsNg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dB0lU9gVpjS.LOI.5P5w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VgAPGnHxsgy.mJVgyQNQ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jUp_cq_jHbmt5_fwaEmA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dAPqiVjR5Yy7Fn6EYPng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Fmd3Y349Q9T_tKc7KI9A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xHWl9LP4yWgHcHKkJW7Q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3HV.lTEWhYsoYbc91rOQ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MlY0e5mSP9x_TU54UkfA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mNIsQA9iIPqAv3Nmi1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sjxx_kc0KQiW_.JYiL8w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MU78hg1gVCt.57JotwrQ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72VAkUdjddwGIVEWMJESQ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vNO0YaMZ9U88StxzQ2kQ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OxO8QaBZHAal_iviXfwQ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B4bysF0iApjY3b1asKYg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KwO2aJk8RQPcjLSzEZOw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Lz9J0PxsiWFZs4Se3uXg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40dpltZgtxhIIiv1VHfg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mlhyreX.AvOZ5LFvrIAw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dmvesR3LbPXqOWj1wLL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eKIz17FD4bi.K4DrgDsA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kiqt1A1m_b_5TKIfWLRA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Qyx6MwJtpb6IIKZx2AtQ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b34kNu6mlF97NpX.fO7g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4ajkOBY4SEf.DjXrAYvw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mX7eVLp6hBNLsEjFic5A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1WzCqqRcslniYrP6goDg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JLJjF0WPwpgZJ2d7Lz6w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cjnYrQkhiW2.3lhKBN5Q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T7_TNvYkOgP0zw.X9zp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cZJCA314EM4T3K0T5mWQ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fK95NWPhVzCBYKy0Oj4g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B4q7L7p1EHUlafLbfE1Q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ltjVGMP5_u6mL4UJm_Uw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NhhzldKc_6ym5lqfB0mA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bygPnu.bH5AufKuuvQWA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NgRPao9UU23sI5fk_XDg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aoBPQeKtzWPVCuw0mz7g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0eIycx1qxBIvVcJM44ug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Z62P01GFx_u6vxDFxFxA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JBRtRzICMk2Fcqntja4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uwCEAfP_YkTHaVx8Qslw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yas4CFMNxnOCx.9Ar.OA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71zdAkqSW8QqkQZxvpbA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ranu0y9DJuxBKpgq8_jg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kmG1bXgGj9c784beUSMg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LkxB51wyDj3QsRwzmj1A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sjxx_kc0KQiW_.JYiL8w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2PQNqzogsVtkwIZcuhmw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jUsLSYIi7pREOAcEkE4A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YkEbghpo5dDD1JhQJv9w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eKIz17FD4bi.K4DrgDs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LEVEL_STRING" val="1"/>
  <p:tag name="MIO_AGENDA_ELEMENTNAME" val="Content"/>
  <p:tag name="MIO_AGENDA_EXPLICIT_ITEM_LEVEL_TAG" val="0"/>
  <p:tag name="MIO_AGENDA_NUMBER_STRING_TAG" val="01"/>
  <p:tag name="MIO_AGENDA_SCALEMODE_FIT_TO_SLIDE_TAG" val="True"/>
  <p:tag name="MIO_EKGUID" val="8bb094a3-79dd-4d1a-b521-2b831b4fdc01"/>
  <p:tag name="MIO_GUID" val="596adf1c-0069-4703-9f61-96523e779937"/>
  <p:tag name="MIO_VERSION" val="31.12.9999 23:59:59"/>
  <p:tag name="MIO_DBID" val="F91B0394-2DB4-4D5E-A007-7612FA556223"/>
  <p:tag name="MIO_LASTDOWNLOADED" val="21.09.2025 16:00:25.621"/>
  <p:tag name="MIO_UPDATE" val="Fals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gEZuIfmi29vY8hTVTN0w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cZJCA314EM4T3K0T5mWQ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uwCEAfP_YkTHaVx8Qslw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gEZuIfmi29vY8hTVTN0w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UKKLH38Oo1jKFV6.rf.A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Edb0YV3igPFieyzCl0lA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Ee0GiIh2M2oZWRM7Jnhw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z7IobY8x2Lr_1pO4IcSA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OXk_mP98O_mstE5ns9Zw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aQXElktBQ2boMcu_PJ7A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7EecZfEWhtfZXzWGi8IQ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UKKLH38Oo1jKFV6.rf.A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QuMaZ5_FtLBKIgy7I_Cw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iyfLUH_n4nAJ8IYo05_Q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0QQdwRsZKLKqW8U9s88w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8OdzFQbVX3XeHJJIt_jA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go2ba5gUHxEDZQtSEx1Q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GsblrnR7LIhgIjlpkXsQ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r4fz.Vx5X9PIAYH469fg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otwXIuOJegAnypzRJGSw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i7iMLFTgq1Rbs04ZfY3g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V4K1bISAEPqwzqv9qMe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Edb0YV3igPFieyzCl0lA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qu7iJ8G4JpxeS_7x_3Jw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GFnHVB5ibdvxz18vJ6Uw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0eOx2HesyadIdMgp0nJA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2V8OROOxML7sDsDdbWww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qbp75uxbDfNDyFfuoI0g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_g2J2LWgW82VtkYfaCFw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Bbs1s43QU8dq_FMNDNiQ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0irfeTrd26_fdmaoz4Rg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PiJ9cfBfcZ_7SqiFf0qg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UlF2I2OCcLQjNL6UIct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Ee0GiIh2M2oZWRM7Jnhw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L77srfoBsL32sa1h5RAg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ifwDPv9IvjH6AL5ylO1g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J07BxDcCi1DJGOR.utiA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RcbCnfb8ManRd93qurHg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ceDrs6T4Eo1KIKsM68Q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XLuXysWPtaILQlzrBzyw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S710Omv5.Oke3bdKwNBQ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t0eGigH9rf9Euv8SoB9Q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Ot2xLcWhEtV7DSk7DjMQ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39OjHbwe5cqYIemRDfS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z7IobY8x2Lr_1pO4IcSA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f0psr0GfnzAcDy0RZ2rw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jhDMrEjM7vNE_qnssDjA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S23swiDV2H5mpsKWSsBw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4h.yMoYLwdYQXsOcov0w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IMMCaLufYF_09FpFprCQ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L22FbSh5r57rMtnO3Ncg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MOvAJABjJjzLIK85EPNQ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8Quh24XSacyVfpDzGo9Q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HNKy7HoUfUecEVnwUGQg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w3Rz8qpvh3Sc_iGSC.q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OXk_mP98O_mstE5ns9Zw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es_Yj7K_bJmda2Js81IQ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RLrkzgoXZUs7DUARsRUg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GOy87FKhtUqwvrmbDd1A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7QzSzNSr2gupO9tQjvGg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7A3lPCNGLGQwB.k19yIQ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kPRGcmBWD49d2bhVFKiA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yKCDiHddhwrrZG2cE37A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qRR0P5GRFWl00OJvHVAg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iP4wlkthqJ3Mo9NSVNTw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i.WDgxnGEybIIPJ1Lv0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aQXElktBQ2boMcu_PJ7A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WZoaMpkauVlnePwjfSaw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TPe1ZF1aMYLLD3LS5tnA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mAEWp1pBSYmoA.verqZg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Q3r8hOlcQWhAuLhQexZQ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wGxT3ncZiwSutiJcS8AA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A2WaAprZwXIRHAp8L.Ew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Ri_.BQXpCqKVWlGrCNMA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q.lhX5fYKCZsmSQzB._g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PKxBYOfEo.Jdg.PYn6gw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PADlZnhSTx7rvhJKJ9i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7EecZfEWhtfZXzWGi8IQQ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Z_.G8wmAHUi2s1L7Mo5g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aApdOYn092a1FqqVThvQ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Jpqi7j7deUeauWdYCAjA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maLlNuZxQkwpgVcJNi1A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lnIhCAIJBGeQExn5C3Bw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g.0579RoI7iBf.GYa3bg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1c2SxQNXt3MXZ9h0VE.A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azuqCpbZfhAiDbcFmxrQ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pTGNwwGAy32qu60PjWlQ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akEZuvd0BdXJ_2Jxh.i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QuMaZ5_FtLBKIgy7I_Cw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4Sw3FdProW4kEcXMCOfQ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.j0V8DACGUXHiCUrOScA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6Pvqfkg8ef0Vz7u_2BzA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0afyV4EYmPbC.uE0St5w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yXK9F00u1.FpCJzulcJA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pPzwiyhwH.R_jcYBeHTw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kX4ApEyRKduy6I1pvUNQ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ZXQt9IysQ9bWLbia9SqQ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T9E07LGdDA8Yr9DMoGVA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4FgZyWJD3QP7oepemo2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iyfLUH_n4nAJ8IYo05_Q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5MMXFsFWf5Qy24qKRr9Q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PqyFaxyYdzn5ohIyRWhg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Yrmlq6TRBtfgf.0.5Vcg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_h7O6b2aX.tU5k4ZDR3g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VSI7kHXpKBndynBIrvbA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TeuIfz4xdUWgVM0uWUOg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ffSkIxVs142Lxo9JCodA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dQJgruKaiLr9N.yXhYuQ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nQLJSpnn2wGizChR6wMg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uQipHYKASgxSo8v76m7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0QQdwRsZKLKqW8U9s88w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vcYwdnibUmIx5uRPNXQA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DbXoMlvk790wRNnVSaww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GPDWIF8q36jHED_RgC4A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2shEu3wXedZOTbO91DMw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kTDeOLmNGvM3RrzxJfDg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6Qw7Qz.fRH2.NbaUhOxQ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a_vpLaujnQgjz...VJEQ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q4qMxkbTmlHF2viAKtVw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peBLPSKz2Ltpaz.ZDpBw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Ejij85lgVMotZ7e9HcW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8OdzFQbVX3XeHJJIt_jA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HVmpWGfpSMJtpHAv3zIg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HCFVbQS0Gtgu.leedHlg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mFxKlwBFC0Bwz_OEjIbw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WDnyoT20LanHJ.bFwNxw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eUb7yPQhVsadL2zAQjpw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XEG5GB9y1.6QuaToOrqg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SPBifS_WNetY2aTRJbaw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YjYBAeOQvrtUY7.hI4tA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vZqVWqnt6wg33t.UW_fQ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XQS1uq5NG_VlyatyN7M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go2ba5gUHxEDZQtSEx1Q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Igq7KhNZpMMhLW2wtadw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6qqK6SmvjfYmVTSX0ekg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1hdlzJthiWdVvSlySKjw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.q.nryh4ODoIr_A07Y2A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dB0lU9gVpjS.LOI.5P5w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kiqt1A1m_b_5TKIfWLRA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b34kNu6mlF97NpX.fO7g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MU78hg1gVCt.57JotwrQ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B4bysF0iApjY3b1asKYg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dAPqiVjR5Yy7Fn6EYPn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GsblrnR7LIhgIjlpkXsQ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zGV3QcEGz3cew8lT9WrQ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xHWl9LP4yWgHcHKkJW7Q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YodH9fg24vX4Ja1aGbHQ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MCTWhX1m.Dy6EfLStbmw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nIzt2P1SOEdvfLGohXMA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in8sbIotXAxZ_9ubVsNg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vNO0YaMZ9U88StxzQ2kQ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VgAPGnHxsgy.mJVgyQNQ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jUp_cq_jHbmt5_fwaEmA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Qyx6MwJtpb6IIKZx2At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r4fz.Vx5X9PIAYH469fg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Lz9J0PxsiWFZs4Se3uXg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40dpltZgtxhIIiv1VHfg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72VAkUdjddwGIVEWMJESQ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OxO8QaBZHAal_iviXfwQ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KwO2aJk8RQPcjLSzEZOw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mNIsQA9iIPqAv3Nmi1dA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3HV.lTEWhYsoYbc91rOQ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mlhyreX.AvOZ5LFvrIAw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MlY0e5mSP9x_TU54UkfA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dmvesR3LbPXqOWj1wLL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otwXIuOJegAnypzRJGSw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Fmd3Y349Q9T_tKc7KI9A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CEWqc0nmfflV351ZsfOQ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4ajkOBY4SEf.DjXrAYvw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mX7eVLp6hBNLsEjFic5A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1WzCqqRcslniYrP6goDg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JLJjF0WPwpgZJ2d7Lz6w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cjnYrQkhiW2.3lhKBN5Q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T7_TNvYkOgP0zw.X9zpA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fK95NWPhVzCBYKy0Oj4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i7iMLFTgq1Rbs04ZfY3g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B4q7L7p1EHUlafLbfE1Q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ltjVGMP5_u6mL4UJm_Uw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NhhzldKc_6ym5lqfB0mA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bygPnu.bH5AufKuuvQWA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NgRPao9UU23sI5fk_XDg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aoBPQeKtzWPVCuw0mz7g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0eIycx1qxBIvVcJM44ug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Z62P01GFx_u6vxDFxFxA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JBRtRzICMk2Fcqntja4w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yas4CFMNxnOCx.9Ar.O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V4K1bISAEPqwzqv9qMew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71zdAkqSW8QqkQZxvpbA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ranu0y9DJuxBKpgq8_jg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kmG1bXgGj9c784beUSMg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LkxB51wyDj3QsRwzmj1A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sjxx_kc0KQiW_.JYiL8w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2PQNqzogsVtkwIZcuhmw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jUsLSYIi7pREOAcEkE4A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YkEbghpo5dDD1JhQJv9w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eKIz17FD4bi.K4DrgDsA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cZJCA314EM4T3K0T5mW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qu7iJ8G4JpxeS_7x_3Jw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uwCEAfP_YkTHaVx8Qslw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gEZuIfmi29vY8hTVTN0w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UKKLH38Oo1jKFV6.rf.A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Edb0YV3igPFieyzCl0lA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Ee0GiIh2M2oZWRM7Jnhw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z7IobY8x2Lr_1pO4IcSA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OXk_mP98O_mstE5ns9Zw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aQXElktBQ2boMcu_PJ7A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7EecZfEWhtfZXzWGi8IQQ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QuMaZ5_FtLBKIgy7I_C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GFnHVB5ibdvxz18vJ6Uw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iyfLUH_n4nAJ8IYo05_Q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0QQdwRsZKLKqW8U9s88w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8OdzFQbVX3XeHJJIt_jA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go2ba5gUHxEDZQtSEx1Q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GsblrnR7LIhgIjlpkXsQ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r4fz.Vx5X9PIAYH469fg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otwXIuOJegAnypzRJGSw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i7iMLFTgq1Rbs04ZfY3g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V4K1bISAEPqwzqv9qMew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qu7iJ8G4JpxeS_7x_3Jw"/>
</p:tagLst>
</file>

<file path=ppt/theme/theme1.xml><?xml version="1.0" encoding="utf-8"?>
<a:theme xmlns:a="http://schemas.openxmlformats.org/drawingml/2006/main" name="Drees &amp; Sommer 2023">
  <a:themeElements>
    <a:clrScheme name="dreso 2023">
      <a:dk1>
        <a:srgbClr val="404040"/>
      </a:dk1>
      <a:lt1>
        <a:srgbClr val="FFFFFF"/>
      </a:lt1>
      <a:dk2>
        <a:srgbClr val="66FFFF"/>
      </a:dk2>
      <a:lt2>
        <a:srgbClr val="99FF02"/>
      </a:lt2>
      <a:accent1>
        <a:srgbClr val="005AA7"/>
      </a:accent1>
      <a:accent2>
        <a:srgbClr val="00CCFF"/>
      </a:accent2>
      <a:accent3>
        <a:srgbClr val="009FE3"/>
      </a:accent3>
      <a:accent4>
        <a:srgbClr val="95C11F"/>
      </a:accent4>
      <a:accent5>
        <a:srgbClr val="D7DF23"/>
      </a:accent5>
      <a:accent6>
        <a:srgbClr val="F27899"/>
      </a:accent6>
      <a:hlink>
        <a:srgbClr val="005AA7"/>
      </a:hlink>
      <a:folHlink>
        <a:srgbClr val="404040"/>
      </a:folHlink>
    </a:clrScheme>
    <a:fontScheme name="dreso 2023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ctr"/>
      <a:lstStyle>
        <a:defPPr algn="ctr">
          <a:spcBef>
            <a:spcPts val="400"/>
          </a:spcBef>
          <a:spcAft>
            <a:spcPts val="400"/>
          </a:spcAft>
          <a:defRPr sz="14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 algn="l">
          <a:spcBef>
            <a:spcPts val="400"/>
          </a:spcBef>
          <a:spcAft>
            <a:spcPts val="400"/>
          </a:spcAft>
          <a:defRPr sz="140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fault Theme.pptx" id="{7DD3BEB6-D0AE-4507-82F4-4EA9A609B289}" vid="{C978DBF5-B1C0-471C-8173-B680537EFFC2}"/>
    </a:ext>
  </a:extLst>
</a:theme>
</file>

<file path=ppt/theme/theme2.xml><?xml version="1.0" encoding="utf-8"?>
<a:theme xmlns:a="http://schemas.openxmlformats.org/drawingml/2006/main" name="Office">
  <a:themeElements>
    <a:clrScheme name="Drees &amp; Sommer">
      <a:dk1>
        <a:srgbClr val="404040"/>
      </a:dk1>
      <a:lt1>
        <a:srgbClr val="FFFFFF"/>
      </a:lt1>
      <a:dk2>
        <a:srgbClr val="002965"/>
      </a:dk2>
      <a:lt2>
        <a:srgbClr val="FFEE00"/>
      </a:lt2>
      <a:accent1>
        <a:srgbClr val="003DA6"/>
      </a:accent1>
      <a:accent2>
        <a:srgbClr val="B3D3EF"/>
      </a:accent2>
      <a:accent3>
        <a:srgbClr val="009FE3"/>
      </a:accent3>
      <a:accent4>
        <a:srgbClr val="007CC0"/>
      </a:accent4>
      <a:accent5>
        <a:srgbClr val="B2B2B2"/>
      </a:accent5>
      <a:accent6>
        <a:srgbClr val="95C11F"/>
      </a:accent6>
      <a:hlink>
        <a:srgbClr val="003DA6"/>
      </a:hlink>
      <a:folHlink>
        <a:srgbClr val="404040"/>
      </a:folHlink>
    </a:clrScheme>
    <a:fontScheme name="Drees &amp; Sommer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42FDA1F09BC4649BF4848B412AE995C" ma:contentTypeVersion="17" ma:contentTypeDescription="Create a new document." ma:contentTypeScope="" ma:versionID="0ca910024599a796f2c179361b709ff8">
  <xsd:schema xmlns:xsd="http://www.w3.org/2001/XMLSchema" xmlns:xs="http://www.w3.org/2001/XMLSchema" xmlns:p="http://schemas.microsoft.com/office/2006/metadata/properties" xmlns:ns2="7d0cf1f5-f06c-4a0a-8d00-425a2e1c36e5" xmlns:ns3="c7bb33f4-32b8-49ab-9e00-6b6960391529" targetNamespace="http://schemas.microsoft.com/office/2006/metadata/properties" ma:root="true" ma:fieldsID="dc181757c90eb9a608a80f2a95b59523" ns2:_="" ns3:_="">
    <xsd:import namespace="7d0cf1f5-f06c-4a0a-8d00-425a2e1c36e5"/>
    <xsd:import namespace="c7bb33f4-32b8-49ab-9e00-6b696039152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3:SharedWithUsers" minOccurs="0"/>
                <xsd:element ref="ns3:SharedWithDetail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0cf1f5-f06c-4a0a-8d00-425a2e1c36e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b0a2ce1a-3622-485d-a8b2-e26fba77705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bb33f4-32b8-49ab-9e00-6b6960391529" elementFormDefault="qualified">
    <xsd:import namespace="http://schemas.microsoft.com/office/2006/documentManagement/types"/>
    <xsd:import namespace="http://schemas.microsoft.com/office/infopath/2007/PartnerControls"/>
    <xsd:element name="TaxCatchAll" ma:index="21" nillable="true" ma:displayName="Taxonomy Catch All Column" ma:hidden="true" ma:list="{55061bd5-5fdc-4e26-969c-1a348b1d799f}" ma:internalName="TaxCatchAll" ma:showField="CatchAllData" ma:web="c7bb33f4-32b8-49ab-9e00-6b696039152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7bb33f4-32b8-49ab-9e00-6b6960391529" xsi:nil="true"/>
    <lcf76f155ced4ddcb4097134ff3c332f xmlns="7d0cf1f5-f06c-4a0a-8d00-425a2e1c36e5">
      <Terms xmlns="http://schemas.microsoft.com/office/infopath/2007/PartnerControls"/>
    </lcf76f155ced4ddcb4097134ff3c332f>
    <MediaLengthInSeconds xmlns="7d0cf1f5-f06c-4a0a-8d00-425a2e1c36e5" xsi:nil="true"/>
    <SharedWithUsers xmlns="c7bb33f4-32b8-49ab-9e00-6b6960391529">
      <UserInfo>
        <DisplayName/>
        <AccountId xsi:nil="true"/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E34C721B-68B4-49F3-AA35-98ECFAC2E62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d0cf1f5-f06c-4a0a-8d00-425a2e1c36e5"/>
    <ds:schemaRef ds:uri="c7bb33f4-32b8-49ab-9e00-6b696039152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5F431E8-B679-4A01-9C4B-46A300CF21A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41D489C-41F9-4B00-8DF8-0DDD14F732F3}">
  <ds:schemaRefs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purl.org/dc/dcmitype/"/>
    <ds:schemaRef ds:uri="7d0cf1f5-f06c-4a0a-8d00-425a2e1c36e5"/>
    <ds:schemaRef ds:uri="c7bb33f4-32b8-49ab-9e00-6b6960391529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2125</Words>
  <Application>Microsoft Office PowerPoint</Application>
  <PresentationFormat>Breitbild</PresentationFormat>
  <Paragraphs>1023</Paragraphs>
  <Slides>22</Slides>
  <Notes>2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2</vt:i4>
      </vt:variant>
    </vt:vector>
  </HeadingPairs>
  <TitlesOfParts>
    <vt:vector size="28" baseType="lpstr">
      <vt:lpstr>Arial</vt:lpstr>
      <vt:lpstr>Calibri</vt:lpstr>
      <vt:lpstr>Symbol</vt:lpstr>
      <vt:lpstr>Wingdings</vt:lpstr>
      <vt:lpstr>Drees &amp; Sommer 2023</vt:lpstr>
      <vt:lpstr>think-cell Folie</vt:lpstr>
      <vt:lpstr>SIS100 Workshop </vt:lpstr>
      <vt:lpstr>AGENDA</vt:lpstr>
      <vt:lpstr>SIS100 Workshop – Installation Plan Dipole and quadrupole</vt:lpstr>
      <vt:lpstr>AGENDA</vt:lpstr>
      <vt:lpstr>SIS100 Workshop – Installation Plan Dipole and quadrupole</vt:lpstr>
      <vt:lpstr>AGENDA</vt:lpstr>
      <vt:lpstr>SIS100 Workshop – Installation Plan Dipole and quadrupole</vt:lpstr>
      <vt:lpstr>SIS100 Workshop – Installation Plan Dipole and quadrupole</vt:lpstr>
      <vt:lpstr>AGENDA</vt:lpstr>
      <vt:lpstr>SIS100 Workshop – Installation Plan Dipole and quadrupole</vt:lpstr>
      <vt:lpstr>SIS100 Workshop – Installation Plan Dipole and quadrupole</vt:lpstr>
      <vt:lpstr>SIS100 Workshop – Installation Plan Dipole and quadrupole</vt:lpstr>
      <vt:lpstr>AGENDA</vt:lpstr>
      <vt:lpstr>SIS100 Workshop – Installation Plan Dipole and quadrupole</vt:lpstr>
      <vt:lpstr>SIS100 Workshop – Installation Plan Dipole and quadrupole</vt:lpstr>
      <vt:lpstr>SIS100 Workshop – Installation Plan Dipole and quadrupole</vt:lpstr>
      <vt:lpstr>SIS100 Workshop – Installation Plan Dipole and quadrupole</vt:lpstr>
      <vt:lpstr>SIS100 Workshop – Installation Plan Dipole and quadrupole</vt:lpstr>
      <vt:lpstr>SIS100 Workshop – Installation Plan Dipole and quadrupole</vt:lpstr>
      <vt:lpstr>AGENDA</vt:lpstr>
      <vt:lpstr>SIS100 Workshop – Installation Plan Dipole and quadrupole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Löcker, Hans Jürgen</dc:creator>
  <cp:lastModifiedBy>Löcker, Hans Jürgen</cp:lastModifiedBy>
  <cp:revision>1</cp:revision>
  <dcterms:created xsi:type="dcterms:W3CDTF">2025-09-20T08:38:31Z</dcterms:created>
  <dcterms:modified xsi:type="dcterms:W3CDTF">2025-09-22T13:12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642FDA1F09BC4649BF4848B412AE995C</vt:lpwstr>
  </property>
  <property fmtid="{D5CDD505-2E9C-101B-9397-08002B2CF9AE}" pid="4" name="ComplianceAssetId">
    <vt:lpwstr/>
  </property>
  <property fmtid="{D5CDD505-2E9C-101B-9397-08002B2CF9AE}" pid="5" name="_ExtendedDescription">
    <vt:lpwstr/>
  </property>
  <property fmtid="{D5CDD505-2E9C-101B-9397-08002B2CF9AE}" pid="6" name="TriggerFlowInfo">
    <vt:lpwstr/>
  </property>
</Properties>
</file>